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4229" r:id="rId1"/>
    <p:sldMasterId id="2147484475" r:id="rId2"/>
    <p:sldMasterId id="2147484495" r:id="rId3"/>
  </p:sldMasterIdLst>
  <p:notesMasterIdLst>
    <p:notesMasterId r:id="rId29"/>
  </p:notesMasterIdLst>
  <p:handoutMasterIdLst>
    <p:handoutMasterId r:id="rId30"/>
  </p:handoutMasterIdLst>
  <p:sldIdLst>
    <p:sldId id="1485" r:id="rId4"/>
    <p:sldId id="1856" r:id="rId5"/>
    <p:sldId id="1857" r:id="rId6"/>
    <p:sldId id="1858" r:id="rId7"/>
    <p:sldId id="1852" r:id="rId8"/>
    <p:sldId id="1851" r:id="rId9"/>
    <p:sldId id="1765" r:id="rId10"/>
    <p:sldId id="1551" r:id="rId11"/>
    <p:sldId id="1552" r:id="rId12"/>
    <p:sldId id="1792" r:id="rId13"/>
    <p:sldId id="1768" r:id="rId14"/>
    <p:sldId id="1770" r:id="rId15"/>
    <p:sldId id="1772" r:id="rId16"/>
    <p:sldId id="1771" r:id="rId17"/>
    <p:sldId id="1773" r:id="rId18"/>
    <p:sldId id="1774" r:id="rId19"/>
    <p:sldId id="1776" r:id="rId20"/>
    <p:sldId id="1777" r:id="rId21"/>
    <p:sldId id="1778" r:id="rId22"/>
    <p:sldId id="1855" r:id="rId23"/>
    <p:sldId id="1779" r:id="rId24"/>
    <p:sldId id="1853" r:id="rId25"/>
    <p:sldId id="1854" r:id="rId26"/>
    <p:sldId id="1554" r:id="rId27"/>
    <p:sldId id="1532" r:id="rId28"/>
  </p:sldIdLst>
  <p:sldSz cx="12436475" cy="6994525"/>
  <p:notesSz cx="6858000" cy="9144000"/>
  <p:defaultTextStyle>
    <a:defPPr>
      <a:defRPr lang="en-US"/>
    </a:defPPr>
    <a:lvl1pPr marL="0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66371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32742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99113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65484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33185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Author" initials="A" lastIdx="0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737373"/>
    <a:srgbClr val="000000"/>
    <a:srgbClr val="D83B01"/>
    <a:srgbClr val="353535"/>
    <a:srgbClr val="0078D7"/>
    <a:srgbClr val="FF8C00"/>
    <a:srgbClr val="FFB900"/>
    <a:srgbClr val="107C10"/>
    <a:srgbClr val="FF5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4390" autoAdjust="0"/>
    <p:restoredTop sz="86768" autoAdjust="0"/>
  </p:normalViewPr>
  <p:slideViewPr>
    <p:cSldViewPr>
      <p:cViewPr>
        <p:scale>
          <a:sx n="50" d="100"/>
          <a:sy n="50" d="100"/>
        </p:scale>
        <p:origin x="2340" y="115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howGuides="1">
      <p:cViewPr varScale="1">
        <p:scale>
          <a:sx n="60" d="100"/>
          <a:sy n="60" d="100"/>
        </p:scale>
        <p:origin x="3187" y="34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commentAuthors" Target="commentAuthor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D0CB2F-F0BF-435A-A27A-2EC15087F634}" type="datetime8">
              <a:rPr lang="en-US" smtClean="0">
                <a:latin typeface="Segoe UI" pitchFamily="34" charset="0"/>
              </a:rPr>
              <a:t>4/20/2018 10:05 A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D18B56EA-E28F-4F92-9F16-7A6F2501B303}" type="datetime8">
              <a:rPr lang="en-US" smtClean="0"/>
              <a:t>4/20/2018 10:05 AM</a:t>
            </a:fld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32742" rtl="0" eaLnBrk="1" latinLnBrk="0" hangingPunct="1">
      <a:lnSpc>
        <a:spcPct val="90000"/>
      </a:lnSpc>
      <a:spcAft>
        <a:spcPts val="340"/>
      </a:spcAft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7262" indent="-107956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34664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92551" indent="-149789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27496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33185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88B44C4B-E218-4158-810E-47EF8FD635FD}" type="datetime8">
              <a:rPr lang="en-US" smtClean="0"/>
              <a:t>4/20/2018 10:05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83795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6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266E11-2D6E-47D1-9B0E-710511962C2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053341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Inspir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82359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0/2018 10:05 A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1716775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6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266E11-2D6E-47D1-9B0E-710511962C2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837892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6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266E11-2D6E-47D1-9B0E-710511962C2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958165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7B9D4F-5F19-438C-92E8-037C6AE8F87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427477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6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266E11-2D6E-47D1-9B0E-710511962C2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007011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4/20/2018 10:05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388945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4/20/2018 10:05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138175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E2F5416D-752F-4A27-A7A5-0CB5FC0CFE2E}" type="datetime8">
              <a:rPr lang="en-US" smtClean="0">
                <a:solidFill>
                  <a:prstClr val="black"/>
                </a:solidFill>
              </a:rPr>
              <a:t>4/20/2018 10:05 A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C87E0CF-87F6-4B58-B8B8-DCAB2DAAF3CA}" type="slidenum">
              <a:rPr lang="en-US" smtClean="0">
                <a:solidFill>
                  <a:prstClr val="black"/>
                </a:solidFill>
              </a:rPr>
              <a:pPr/>
              <a:t>25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55107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4/20/2018 10:05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48094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4/20/2018 10:05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25490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4/20/2018 10:05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84897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4/20/2018 10:05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02871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4/20/2018 10:05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788397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6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266E11-2D6E-47D1-9B0E-710511962C2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042814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F46881-0CD0-4730-B19B-096431EF232C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268693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F46881-0CD0-4730-B19B-096431EF232C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67802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Freeform: Shape 104"/>
          <p:cNvSpPr>
            <a:spLocks/>
          </p:cNvSpPr>
          <p:nvPr userDrawn="1"/>
        </p:nvSpPr>
        <p:spPr bwMode="gray">
          <a:xfrm>
            <a:off x="352" y="4251226"/>
            <a:ext cx="12436123" cy="2743300"/>
          </a:xfrm>
          <a:custGeom>
            <a:avLst/>
            <a:gdLst>
              <a:gd name="connsiteX0" fmla="*/ 5679089 w 12449404"/>
              <a:gd name="connsiteY0" fmla="*/ 0 h 2048448"/>
              <a:gd name="connsiteX1" fmla="*/ 6408130 w 12449404"/>
              <a:gd name="connsiteY1" fmla="*/ 0 h 2048448"/>
              <a:gd name="connsiteX2" fmla="*/ 6408130 w 12449404"/>
              <a:gd name="connsiteY2" fmla="*/ 578198 h 2048448"/>
              <a:gd name="connsiteX3" fmla="*/ 6867090 w 12449404"/>
              <a:gd name="connsiteY3" fmla="*/ 606386 h 2048448"/>
              <a:gd name="connsiteX4" fmla="*/ 7118635 w 12449404"/>
              <a:gd name="connsiteY4" fmla="*/ 606386 h 2048448"/>
              <a:gd name="connsiteX5" fmla="*/ 7118635 w 12449404"/>
              <a:gd name="connsiteY5" fmla="*/ 483901 h 2048448"/>
              <a:gd name="connsiteX6" fmla="*/ 7128240 w 12449404"/>
              <a:gd name="connsiteY6" fmla="*/ 483901 h 2048448"/>
              <a:gd name="connsiteX7" fmla="*/ 7128240 w 12449404"/>
              <a:gd name="connsiteY7" fmla="*/ 225552 h 2048448"/>
              <a:gd name="connsiteX8" fmla="*/ 7501176 w 12449404"/>
              <a:gd name="connsiteY8" fmla="*/ 225552 h 2048448"/>
              <a:gd name="connsiteX9" fmla="*/ 7501176 w 12449404"/>
              <a:gd name="connsiteY9" fmla="*/ 339268 h 2048448"/>
              <a:gd name="connsiteX10" fmla="*/ 7539643 w 12449404"/>
              <a:gd name="connsiteY10" fmla="*/ 339268 h 2048448"/>
              <a:gd name="connsiteX11" fmla="*/ 7539643 w 12449404"/>
              <a:gd name="connsiteY11" fmla="*/ 483901 h 2048448"/>
              <a:gd name="connsiteX12" fmla="*/ 7646440 w 12449404"/>
              <a:gd name="connsiteY12" fmla="*/ 483901 h 2048448"/>
              <a:gd name="connsiteX13" fmla="*/ 7646440 w 12449404"/>
              <a:gd name="connsiteY13" fmla="*/ 643969 h 2048448"/>
              <a:gd name="connsiteX14" fmla="*/ 8043905 w 12449404"/>
              <a:gd name="connsiteY14" fmla="*/ 643969 h 2048448"/>
              <a:gd name="connsiteX15" fmla="*/ 8043905 w 12449404"/>
              <a:gd name="connsiteY15" fmla="*/ 744644 h 2048448"/>
              <a:gd name="connsiteX16" fmla="*/ 8497281 w 12449404"/>
              <a:gd name="connsiteY16" fmla="*/ 744644 h 2048448"/>
              <a:gd name="connsiteX17" fmla="*/ 8497281 w 12449404"/>
              <a:gd name="connsiteY17" fmla="*/ 777377 h 2048448"/>
              <a:gd name="connsiteX18" fmla="*/ 8516897 w 12449404"/>
              <a:gd name="connsiteY18" fmla="*/ 777377 h 2048448"/>
              <a:gd name="connsiteX19" fmla="*/ 8516897 w 12449404"/>
              <a:gd name="connsiteY19" fmla="*/ 965361 h 2048448"/>
              <a:gd name="connsiteX20" fmla="*/ 8865577 w 12449404"/>
              <a:gd name="connsiteY20" fmla="*/ 965361 h 2048448"/>
              <a:gd name="connsiteX21" fmla="*/ 8865577 w 12449404"/>
              <a:gd name="connsiteY21" fmla="*/ 525721 h 2048448"/>
              <a:gd name="connsiteX22" fmla="*/ 8968665 w 12449404"/>
              <a:gd name="connsiteY22" fmla="*/ 525721 h 2048448"/>
              <a:gd name="connsiteX23" fmla="*/ 8968665 w 12449404"/>
              <a:gd name="connsiteY23" fmla="*/ 386248 h 2048448"/>
              <a:gd name="connsiteX24" fmla="*/ 9271866 w 12449404"/>
              <a:gd name="connsiteY24" fmla="*/ 386248 h 2048448"/>
              <a:gd name="connsiteX25" fmla="*/ 9271866 w 12449404"/>
              <a:gd name="connsiteY25" fmla="*/ 525721 h 2048448"/>
              <a:gd name="connsiteX26" fmla="*/ 9368890 w 12449404"/>
              <a:gd name="connsiteY26" fmla="*/ 525721 h 2048448"/>
              <a:gd name="connsiteX27" fmla="*/ 9368890 w 12449404"/>
              <a:gd name="connsiteY27" fmla="*/ 58792 h 2048448"/>
              <a:gd name="connsiteX28" fmla="*/ 10072314 w 12449404"/>
              <a:gd name="connsiteY28" fmla="*/ 58792 h 2048448"/>
              <a:gd name="connsiteX29" fmla="*/ 10072314 w 12449404"/>
              <a:gd name="connsiteY29" fmla="*/ 616681 h 2048448"/>
              <a:gd name="connsiteX30" fmla="*/ 10514986 w 12449404"/>
              <a:gd name="connsiteY30" fmla="*/ 255872 h 2048448"/>
              <a:gd name="connsiteX31" fmla="*/ 10514986 w 12449404"/>
              <a:gd name="connsiteY31" fmla="*/ 643969 h 2048448"/>
              <a:gd name="connsiteX32" fmla="*/ 10757546 w 12449404"/>
              <a:gd name="connsiteY32" fmla="*/ 643969 h 2048448"/>
              <a:gd name="connsiteX33" fmla="*/ 10757546 w 12449404"/>
              <a:gd name="connsiteY33" fmla="*/ 525721 h 2048448"/>
              <a:gd name="connsiteX34" fmla="*/ 10860634 w 12449404"/>
              <a:gd name="connsiteY34" fmla="*/ 525721 h 2048448"/>
              <a:gd name="connsiteX35" fmla="*/ 10860634 w 12449404"/>
              <a:gd name="connsiteY35" fmla="*/ 386248 h 2048448"/>
              <a:gd name="connsiteX36" fmla="*/ 11163835 w 12449404"/>
              <a:gd name="connsiteY36" fmla="*/ 386248 h 2048448"/>
              <a:gd name="connsiteX37" fmla="*/ 11163835 w 12449404"/>
              <a:gd name="connsiteY37" fmla="*/ 525721 h 2048448"/>
              <a:gd name="connsiteX38" fmla="*/ 11266923 w 12449404"/>
              <a:gd name="connsiteY38" fmla="*/ 525721 h 2048448"/>
              <a:gd name="connsiteX39" fmla="*/ 11266923 w 12449404"/>
              <a:gd name="connsiteY39" fmla="*/ 965361 h 2048448"/>
              <a:gd name="connsiteX40" fmla="*/ 11612572 w 12449404"/>
              <a:gd name="connsiteY40" fmla="*/ 965361 h 2048448"/>
              <a:gd name="connsiteX41" fmla="*/ 11612572 w 12449404"/>
              <a:gd name="connsiteY41" fmla="*/ 777377 h 2048448"/>
              <a:gd name="connsiteX42" fmla="*/ 12088596 w 12449404"/>
              <a:gd name="connsiteY42" fmla="*/ 777377 h 2048448"/>
              <a:gd name="connsiteX43" fmla="*/ 12088596 w 12449404"/>
              <a:gd name="connsiteY43" fmla="*/ 1374681 h 2048448"/>
              <a:gd name="connsiteX44" fmla="*/ 12449404 w 12449404"/>
              <a:gd name="connsiteY44" fmla="*/ 1374681 h 2048448"/>
              <a:gd name="connsiteX45" fmla="*/ 12449404 w 12449404"/>
              <a:gd name="connsiteY45" fmla="*/ 1677881 h 2048448"/>
              <a:gd name="connsiteX46" fmla="*/ 12436715 w 12449404"/>
              <a:gd name="connsiteY46" fmla="*/ 1677881 h 2048448"/>
              <a:gd name="connsiteX47" fmla="*/ 12436715 w 12449404"/>
              <a:gd name="connsiteY47" fmla="*/ 2048448 h 2048448"/>
              <a:gd name="connsiteX48" fmla="*/ 0 w 12449404"/>
              <a:gd name="connsiteY48" fmla="*/ 2048448 h 2048448"/>
              <a:gd name="connsiteX49" fmla="*/ 0 w 12449404"/>
              <a:gd name="connsiteY49" fmla="*/ 1406374 h 2048448"/>
              <a:gd name="connsiteX50" fmla="*/ 45352 w 12449404"/>
              <a:gd name="connsiteY50" fmla="*/ 1406374 h 2048448"/>
              <a:gd name="connsiteX51" fmla="*/ 45352 w 12449404"/>
              <a:gd name="connsiteY51" fmla="*/ 1140624 h 2048448"/>
              <a:gd name="connsiteX52" fmla="*/ 657888 w 12449404"/>
              <a:gd name="connsiteY52" fmla="*/ 1140624 h 2048448"/>
              <a:gd name="connsiteX53" fmla="*/ 657888 w 12449404"/>
              <a:gd name="connsiteY53" fmla="*/ 879713 h 2048448"/>
              <a:gd name="connsiteX54" fmla="*/ 1116848 w 12449404"/>
              <a:gd name="connsiteY54" fmla="*/ 879713 h 2048448"/>
              <a:gd name="connsiteX55" fmla="*/ 1116848 w 12449404"/>
              <a:gd name="connsiteY55" fmla="*/ 1197168 h 2048448"/>
              <a:gd name="connsiteX56" fmla="*/ 1597874 w 12449404"/>
              <a:gd name="connsiteY56" fmla="*/ 1197168 h 2048448"/>
              <a:gd name="connsiteX57" fmla="*/ 1597874 w 12449404"/>
              <a:gd name="connsiteY57" fmla="*/ 807564 h 2048448"/>
              <a:gd name="connsiteX58" fmla="*/ 1701140 w 12449404"/>
              <a:gd name="connsiteY58" fmla="*/ 807564 h 2048448"/>
              <a:gd name="connsiteX59" fmla="*/ 1701140 w 12449404"/>
              <a:gd name="connsiteY59" fmla="*/ 662931 h 2048448"/>
              <a:gd name="connsiteX60" fmla="*/ 2018881 w 12449404"/>
              <a:gd name="connsiteY60" fmla="*/ 662931 h 2048448"/>
              <a:gd name="connsiteX61" fmla="*/ 2018881 w 12449404"/>
              <a:gd name="connsiteY61" fmla="*/ 807564 h 2048448"/>
              <a:gd name="connsiteX62" fmla="*/ 2122148 w 12449404"/>
              <a:gd name="connsiteY62" fmla="*/ 807564 h 2048448"/>
              <a:gd name="connsiteX63" fmla="*/ 2122148 w 12449404"/>
              <a:gd name="connsiteY63" fmla="*/ 939446 h 2048448"/>
              <a:gd name="connsiteX64" fmla="*/ 2484020 w 12449404"/>
              <a:gd name="connsiteY64" fmla="*/ 939446 h 2048448"/>
              <a:gd name="connsiteX65" fmla="*/ 2484020 w 12449404"/>
              <a:gd name="connsiteY65" fmla="*/ 744644 h 2048448"/>
              <a:gd name="connsiteX66" fmla="*/ 2549333 w 12449404"/>
              <a:gd name="connsiteY66" fmla="*/ 744644 h 2048448"/>
              <a:gd name="connsiteX67" fmla="*/ 2976519 w 12449404"/>
              <a:gd name="connsiteY67" fmla="*/ 744644 h 2048448"/>
              <a:gd name="connsiteX68" fmla="*/ 3008294 w 12449404"/>
              <a:gd name="connsiteY68" fmla="*/ 744644 h 2048448"/>
              <a:gd name="connsiteX69" fmla="*/ 3008294 w 12449404"/>
              <a:gd name="connsiteY69" fmla="*/ 879713 h 2048448"/>
              <a:gd name="connsiteX70" fmla="*/ 3356927 w 12449404"/>
              <a:gd name="connsiteY70" fmla="*/ 879713 h 2048448"/>
              <a:gd name="connsiteX71" fmla="*/ 3356927 w 12449404"/>
              <a:gd name="connsiteY71" fmla="*/ 172822 h 2048448"/>
              <a:gd name="connsiteX72" fmla="*/ 3743513 w 12449404"/>
              <a:gd name="connsiteY72" fmla="*/ 172822 h 2048448"/>
              <a:gd name="connsiteX73" fmla="*/ 3743513 w 12449404"/>
              <a:gd name="connsiteY73" fmla="*/ 606386 h 2048448"/>
              <a:gd name="connsiteX74" fmla="*/ 4305739 w 12449404"/>
              <a:gd name="connsiteY74" fmla="*/ 606386 h 2048448"/>
              <a:gd name="connsiteX75" fmla="*/ 4305739 w 12449404"/>
              <a:gd name="connsiteY75" fmla="*/ 744644 h 2048448"/>
              <a:gd name="connsiteX76" fmla="*/ 4796473 w 12449404"/>
              <a:gd name="connsiteY76" fmla="*/ 744644 h 2048448"/>
              <a:gd name="connsiteX77" fmla="*/ 4796473 w 12449404"/>
              <a:gd name="connsiteY77" fmla="*/ 907753 h 2048448"/>
              <a:gd name="connsiteX78" fmla="*/ 4966423 w 12449404"/>
              <a:gd name="connsiteY78" fmla="*/ 907753 h 2048448"/>
              <a:gd name="connsiteX79" fmla="*/ 4966423 w 12449404"/>
              <a:gd name="connsiteY79" fmla="*/ 939446 h 2048448"/>
              <a:gd name="connsiteX80" fmla="*/ 5157463 w 12449404"/>
              <a:gd name="connsiteY80" fmla="*/ 939446 h 2048448"/>
              <a:gd name="connsiteX81" fmla="*/ 5157463 w 12449404"/>
              <a:gd name="connsiteY81" fmla="*/ 483901 h 2048448"/>
              <a:gd name="connsiteX82" fmla="*/ 5264259 w 12449404"/>
              <a:gd name="connsiteY82" fmla="*/ 483901 h 2048448"/>
              <a:gd name="connsiteX83" fmla="*/ 5264259 w 12449404"/>
              <a:gd name="connsiteY83" fmla="*/ 339268 h 2048448"/>
              <a:gd name="connsiteX84" fmla="*/ 5578471 w 12449404"/>
              <a:gd name="connsiteY84" fmla="*/ 339268 h 2048448"/>
              <a:gd name="connsiteX85" fmla="*/ 5578471 w 12449404"/>
              <a:gd name="connsiteY85" fmla="*/ 483901 h 2048448"/>
              <a:gd name="connsiteX86" fmla="*/ 5679089 w 12449404"/>
              <a:gd name="connsiteY86" fmla="*/ 483901 h 2048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</a:cxnLst>
            <a:rect l="l" t="t" r="r" b="b"/>
            <a:pathLst>
              <a:path w="12449404" h="2048448">
                <a:moveTo>
                  <a:pt x="5679089" y="0"/>
                </a:moveTo>
                <a:lnTo>
                  <a:pt x="6408130" y="0"/>
                </a:lnTo>
                <a:lnTo>
                  <a:pt x="6408130" y="578198"/>
                </a:lnTo>
                <a:lnTo>
                  <a:pt x="6867090" y="606386"/>
                </a:lnTo>
                <a:lnTo>
                  <a:pt x="7118635" y="606386"/>
                </a:lnTo>
                <a:lnTo>
                  <a:pt x="7118635" y="483901"/>
                </a:lnTo>
                <a:lnTo>
                  <a:pt x="7128240" y="483901"/>
                </a:lnTo>
                <a:lnTo>
                  <a:pt x="7128240" y="225552"/>
                </a:lnTo>
                <a:lnTo>
                  <a:pt x="7501176" y="225552"/>
                </a:lnTo>
                <a:lnTo>
                  <a:pt x="7501176" y="339268"/>
                </a:lnTo>
                <a:lnTo>
                  <a:pt x="7539643" y="339268"/>
                </a:lnTo>
                <a:lnTo>
                  <a:pt x="7539643" y="483901"/>
                </a:lnTo>
                <a:lnTo>
                  <a:pt x="7646440" y="483901"/>
                </a:lnTo>
                <a:lnTo>
                  <a:pt x="7646440" y="643969"/>
                </a:lnTo>
                <a:lnTo>
                  <a:pt x="8043905" y="643969"/>
                </a:lnTo>
                <a:lnTo>
                  <a:pt x="8043905" y="744644"/>
                </a:lnTo>
                <a:lnTo>
                  <a:pt x="8497281" y="744644"/>
                </a:lnTo>
                <a:lnTo>
                  <a:pt x="8497281" y="777377"/>
                </a:lnTo>
                <a:lnTo>
                  <a:pt x="8516897" y="777377"/>
                </a:lnTo>
                <a:lnTo>
                  <a:pt x="8516897" y="965361"/>
                </a:lnTo>
                <a:lnTo>
                  <a:pt x="8865577" y="965361"/>
                </a:lnTo>
                <a:lnTo>
                  <a:pt x="8865577" y="525721"/>
                </a:lnTo>
                <a:lnTo>
                  <a:pt x="8968665" y="525721"/>
                </a:lnTo>
                <a:lnTo>
                  <a:pt x="8968665" y="386248"/>
                </a:lnTo>
                <a:lnTo>
                  <a:pt x="9271866" y="386248"/>
                </a:lnTo>
                <a:lnTo>
                  <a:pt x="9271866" y="525721"/>
                </a:lnTo>
                <a:lnTo>
                  <a:pt x="9368890" y="525721"/>
                </a:lnTo>
                <a:lnTo>
                  <a:pt x="9368890" y="58792"/>
                </a:lnTo>
                <a:lnTo>
                  <a:pt x="10072314" y="58792"/>
                </a:lnTo>
                <a:lnTo>
                  <a:pt x="10072314" y="616681"/>
                </a:lnTo>
                <a:lnTo>
                  <a:pt x="10514986" y="255872"/>
                </a:lnTo>
                <a:lnTo>
                  <a:pt x="10514986" y="643969"/>
                </a:lnTo>
                <a:lnTo>
                  <a:pt x="10757546" y="643969"/>
                </a:lnTo>
                <a:lnTo>
                  <a:pt x="10757546" y="525721"/>
                </a:lnTo>
                <a:lnTo>
                  <a:pt x="10860634" y="525721"/>
                </a:lnTo>
                <a:lnTo>
                  <a:pt x="10860634" y="386248"/>
                </a:lnTo>
                <a:lnTo>
                  <a:pt x="11163835" y="386248"/>
                </a:lnTo>
                <a:lnTo>
                  <a:pt x="11163835" y="525721"/>
                </a:lnTo>
                <a:lnTo>
                  <a:pt x="11266923" y="525721"/>
                </a:lnTo>
                <a:lnTo>
                  <a:pt x="11266923" y="965361"/>
                </a:lnTo>
                <a:lnTo>
                  <a:pt x="11612572" y="965361"/>
                </a:lnTo>
                <a:lnTo>
                  <a:pt x="11612572" y="777377"/>
                </a:lnTo>
                <a:lnTo>
                  <a:pt x="12088596" y="777377"/>
                </a:lnTo>
                <a:lnTo>
                  <a:pt x="12088596" y="1374681"/>
                </a:lnTo>
                <a:lnTo>
                  <a:pt x="12449404" y="1374681"/>
                </a:lnTo>
                <a:lnTo>
                  <a:pt x="12449404" y="1677881"/>
                </a:lnTo>
                <a:lnTo>
                  <a:pt x="12436715" y="1677881"/>
                </a:lnTo>
                <a:lnTo>
                  <a:pt x="12436715" y="2048448"/>
                </a:lnTo>
                <a:lnTo>
                  <a:pt x="0" y="2048448"/>
                </a:lnTo>
                <a:lnTo>
                  <a:pt x="0" y="1406374"/>
                </a:lnTo>
                <a:lnTo>
                  <a:pt x="45352" y="1406374"/>
                </a:lnTo>
                <a:lnTo>
                  <a:pt x="45352" y="1140624"/>
                </a:lnTo>
                <a:lnTo>
                  <a:pt x="657888" y="1140624"/>
                </a:lnTo>
                <a:lnTo>
                  <a:pt x="657888" y="879713"/>
                </a:lnTo>
                <a:lnTo>
                  <a:pt x="1116848" y="879713"/>
                </a:lnTo>
                <a:lnTo>
                  <a:pt x="1116848" y="1197168"/>
                </a:lnTo>
                <a:lnTo>
                  <a:pt x="1597874" y="1197168"/>
                </a:lnTo>
                <a:lnTo>
                  <a:pt x="1597874" y="807564"/>
                </a:lnTo>
                <a:lnTo>
                  <a:pt x="1701140" y="807564"/>
                </a:lnTo>
                <a:lnTo>
                  <a:pt x="1701140" y="662931"/>
                </a:lnTo>
                <a:lnTo>
                  <a:pt x="2018881" y="662931"/>
                </a:lnTo>
                <a:lnTo>
                  <a:pt x="2018881" y="807564"/>
                </a:lnTo>
                <a:lnTo>
                  <a:pt x="2122148" y="807564"/>
                </a:lnTo>
                <a:lnTo>
                  <a:pt x="2122148" y="939446"/>
                </a:lnTo>
                <a:lnTo>
                  <a:pt x="2484020" y="939446"/>
                </a:lnTo>
                <a:lnTo>
                  <a:pt x="2484020" y="744644"/>
                </a:lnTo>
                <a:lnTo>
                  <a:pt x="2549333" y="744644"/>
                </a:lnTo>
                <a:lnTo>
                  <a:pt x="2976519" y="744644"/>
                </a:lnTo>
                <a:lnTo>
                  <a:pt x="3008294" y="744644"/>
                </a:lnTo>
                <a:lnTo>
                  <a:pt x="3008294" y="879713"/>
                </a:lnTo>
                <a:lnTo>
                  <a:pt x="3356927" y="879713"/>
                </a:lnTo>
                <a:lnTo>
                  <a:pt x="3356927" y="172822"/>
                </a:lnTo>
                <a:lnTo>
                  <a:pt x="3743513" y="172822"/>
                </a:lnTo>
                <a:lnTo>
                  <a:pt x="3743513" y="606386"/>
                </a:lnTo>
                <a:lnTo>
                  <a:pt x="4305739" y="606386"/>
                </a:lnTo>
                <a:lnTo>
                  <a:pt x="4305739" y="744644"/>
                </a:lnTo>
                <a:lnTo>
                  <a:pt x="4796473" y="744644"/>
                </a:lnTo>
                <a:lnTo>
                  <a:pt x="4796473" y="907753"/>
                </a:lnTo>
                <a:lnTo>
                  <a:pt x="4966423" y="907753"/>
                </a:lnTo>
                <a:lnTo>
                  <a:pt x="4966423" y="939446"/>
                </a:lnTo>
                <a:lnTo>
                  <a:pt x="5157463" y="939446"/>
                </a:lnTo>
                <a:lnTo>
                  <a:pt x="5157463" y="483901"/>
                </a:lnTo>
                <a:lnTo>
                  <a:pt x="5264259" y="483901"/>
                </a:lnTo>
                <a:lnTo>
                  <a:pt x="5264259" y="339268"/>
                </a:lnTo>
                <a:lnTo>
                  <a:pt x="5578471" y="339268"/>
                </a:lnTo>
                <a:lnTo>
                  <a:pt x="5578471" y="483901"/>
                </a:lnTo>
                <a:lnTo>
                  <a:pt x="5679089" y="483901"/>
                </a:lnTo>
                <a:close/>
              </a:path>
            </a:pathLst>
          </a:custGeom>
          <a:solidFill>
            <a:srgbClr val="409AE1">
              <a:alpha val="4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1211264"/>
            <a:ext cx="9143936" cy="1828800"/>
          </a:xfrm>
          <a:noFill/>
        </p:spPr>
        <p:txBody>
          <a:bodyPr lIns="146304" tIns="91440" rIns="146304" bIns="91440" anchor="b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040063"/>
            <a:ext cx="9143937" cy="730183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639" y="3770246"/>
            <a:ext cx="9144000" cy="461665"/>
          </a:xfrm>
        </p:spPr>
        <p:txBody>
          <a:bodyPr/>
          <a:lstStyle>
            <a:lvl1pPr marL="0" indent="0">
              <a:buNone/>
              <a:defRPr lang="en-US" sz="2000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Optional (City, State or venue)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  <p:grpSp>
        <p:nvGrpSpPr>
          <p:cNvPr id="141" name="Group 140"/>
          <p:cNvGrpSpPr>
            <a:grpSpLocks noChangeAspect="1"/>
          </p:cNvGrpSpPr>
          <p:nvPr userDrawn="1"/>
        </p:nvGrpSpPr>
        <p:grpSpPr bwMode="gray">
          <a:xfrm>
            <a:off x="7462446" y="3200401"/>
            <a:ext cx="4577461" cy="3539940"/>
            <a:chOff x="8496600" y="3495586"/>
            <a:chExt cx="3009906" cy="2327684"/>
          </a:xfrm>
        </p:grpSpPr>
        <p:sp>
          <p:nvSpPr>
            <p:cNvPr id="142" name="Freeform 9"/>
            <p:cNvSpPr>
              <a:spLocks/>
            </p:cNvSpPr>
            <p:nvPr/>
          </p:nvSpPr>
          <p:spPr bwMode="gray">
            <a:xfrm>
              <a:off x="8496600" y="5501008"/>
              <a:ext cx="646113" cy="82550"/>
            </a:xfrm>
            <a:custGeom>
              <a:avLst/>
              <a:gdLst>
                <a:gd name="T0" fmla="*/ 437 w 467"/>
                <a:gd name="T1" fmla="*/ 60 h 60"/>
                <a:gd name="T2" fmla="*/ 30 w 467"/>
                <a:gd name="T3" fmla="*/ 60 h 60"/>
                <a:gd name="T4" fmla="*/ 0 w 467"/>
                <a:gd name="T5" fmla="*/ 30 h 60"/>
                <a:gd name="T6" fmla="*/ 30 w 467"/>
                <a:gd name="T7" fmla="*/ 0 h 60"/>
                <a:gd name="T8" fmla="*/ 437 w 467"/>
                <a:gd name="T9" fmla="*/ 0 h 60"/>
                <a:gd name="T10" fmla="*/ 467 w 467"/>
                <a:gd name="T11" fmla="*/ 30 h 60"/>
                <a:gd name="T12" fmla="*/ 437 w 467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7" h="60">
                  <a:moveTo>
                    <a:pt x="437" y="60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13" y="60"/>
                    <a:pt x="0" y="46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37" y="0"/>
                    <a:pt x="437" y="0"/>
                    <a:pt x="437" y="0"/>
                  </a:cubicBezTo>
                  <a:cubicBezTo>
                    <a:pt x="453" y="0"/>
                    <a:pt x="467" y="13"/>
                    <a:pt x="467" y="30"/>
                  </a:cubicBezTo>
                  <a:cubicBezTo>
                    <a:pt x="467" y="46"/>
                    <a:pt x="453" y="60"/>
                    <a:pt x="437" y="6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10"/>
            <p:cNvSpPr>
              <a:spLocks/>
            </p:cNvSpPr>
            <p:nvPr/>
          </p:nvSpPr>
          <p:spPr bwMode="gray">
            <a:xfrm>
              <a:off x="10804831" y="3495586"/>
              <a:ext cx="701675" cy="371475"/>
            </a:xfrm>
            <a:custGeom>
              <a:avLst/>
              <a:gdLst>
                <a:gd name="T0" fmla="*/ 440 w 507"/>
                <a:gd name="T1" fmla="*/ 127 h 271"/>
                <a:gd name="T2" fmla="*/ 306 w 507"/>
                <a:gd name="T3" fmla="*/ 0 h 271"/>
                <a:gd name="T4" fmla="*/ 174 w 507"/>
                <a:gd name="T5" fmla="*/ 106 h 271"/>
                <a:gd name="T6" fmla="*/ 99 w 507"/>
                <a:gd name="T7" fmla="*/ 72 h 271"/>
                <a:gd name="T8" fmla="*/ 0 w 507"/>
                <a:gd name="T9" fmla="*/ 171 h 271"/>
                <a:gd name="T10" fmla="*/ 99 w 507"/>
                <a:gd name="T11" fmla="*/ 271 h 271"/>
                <a:gd name="T12" fmla="*/ 435 w 507"/>
                <a:gd name="T13" fmla="*/ 271 h 271"/>
                <a:gd name="T14" fmla="*/ 507 w 507"/>
                <a:gd name="T15" fmla="*/ 199 h 271"/>
                <a:gd name="T16" fmla="*/ 440 w 507"/>
                <a:gd name="T17" fmla="*/ 127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7" h="271">
                  <a:moveTo>
                    <a:pt x="440" y="127"/>
                  </a:moveTo>
                  <a:cubicBezTo>
                    <a:pt x="436" y="56"/>
                    <a:pt x="378" y="0"/>
                    <a:pt x="306" y="0"/>
                  </a:cubicBezTo>
                  <a:cubicBezTo>
                    <a:pt x="241" y="0"/>
                    <a:pt x="187" y="46"/>
                    <a:pt x="174" y="106"/>
                  </a:cubicBezTo>
                  <a:cubicBezTo>
                    <a:pt x="156" y="85"/>
                    <a:pt x="129" y="72"/>
                    <a:pt x="99" y="72"/>
                  </a:cubicBezTo>
                  <a:cubicBezTo>
                    <a:pt x="44" y="72"/>
                    <a:pt x="0" y="116"/>
                    <a:pt x="0" y="171"/>
                  </a:cubicBezTo>
                  <a:cubicBezTo>
                    <a:pt x="0" y="226"/>
                    <a:pt x="44" y="271"/>
                    <a:pt x="99" y="271"/>
                  </a:cubicBezTo>
                  <a:cubicBezTo>
                    <a:pt x="99" y="271"/>
                    <a:pt x="434" y="271"/>
                    <a:pt x="435" y="271"/>
                  </a:cubicBezTo>
                  <a:cubicBezTo>
                    <a:pt x="475" y="271"/>
                    <a:pt x="507" y="238"/>
                    <a:pt x="507" y="199"/>
                  </a:cubicBezTo>
                  <a:cubicBezTo>
                    <a:pt x="507" y="161"/>
                    <a:pt x="478" y="130"/>
                    <a:pt x="440" y="1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11"/>
            <p:cNvSpPr>
              <a:spLocks/>
            </p:cNvSpPr>
            <p:nvPr/>
          </p:nvSpPr>
          <p:spPr bwMode="gray">
            <a:xfrm>
              <a:off x="10001550" y="5497833"/>
              <a:ext cx="1504950" cy="82550"/>
            </a:xfrm>
            <a:custGeom>
              <a:avLst/>
              <a:gdLst>
                <a:gd name="T0" fmla="*/ 1059 w 1089"/>
                <a:gd name="T1" fmla="*/ 60 h 60"/>
                <a:gd name="T2" fmla="*/ 30 w 1089"/>
                <a:gd name="T3" fmla="*/ 60 h 60"/>
                <a:gd name="T4" fmla="*/ 0 w 1089"/>
                <a:gd name="T5" fmla="*/ 30 h 60"/>
                <a:gd name="T6" fmla="*/ 30 w 1089"/>
                <a:gd name="T7" fmla="*/ 0 h 60"/>
                <a:gd name="T8" fmla="*/ 1059 w 1089"/>
                <a:gd name="T9" fmla="*/ 0 h 60"/>
                <a:gd name="T10" fmla="*/ 1089 w 1089"/>
                <a:gd name="T11" fmla="*/ 30 h 60"/>
                <a:gd name="T12" fmla="*/ 1059 w 1089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9" h="60">
                  <a:moveTo>
                    <a:pt x="1059" y="60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14" y="60"/>
                    <a:pt x="0" y="46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1059" y="0"/>
                    <a:pt x="1059" y="0"/>
                    <a:pt x="1059" y="0"/>
                  </a:cubicBezTo>
                  <a:cubicBezTo>
                    <a:pt x="1076" y="0"/>
                    <a:pt x="1089" y="13"/>
                    <a:pt x="1089" y="30"/>
                  </a:cubicBezTo>
                  <a:cubicBezTo>
                    <a:pt x="1089" y="46"/>
                    <a:pt x="1076" y="60"/>
                    <a:pt x="1059" y="6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12"/>
            <p:cNvSpPr>
              <a:spLocks/>
            </p:cNvSpPr>
            <p:nvPr/>
          </p:nvSpPr>
          <p:spPr bwMode="gray">
            <a:xfrm>
              <a:off x="9110962" y="5713733"/>
              <a:ext cx="1012825" cy="109537"/>
            </a:xfrm>
            <a:custGeom>
              <a:avLst/>
              <a:gdLst>
                <a:gd name="T0" fmla="*/ 692 w 732"/>
                <a:gd name="T1" fmla="*/ 80 h 80"/>
                <a:gd name="T2" fmla="*/ 40 w 732"/>
                <a:gd name="T3" fmla="*/ 80 h 80"/>
                <a:gd name="T4" fmla="*/ 0 w 732"/>
                <a:gd name="T5" fmla="*/ 40 h 80"/>
                <a:gd name="T6" fmla="*/ 40 w 732"/>
                <a:gd name="T7" fmla="*/ 0 h 80"/>
                <a:gd name="T8" fmla="*/ 692 w 732"/>
                <a:gd name="T9" fmla="*/ 0 h 80"/>
                <a:gd name="T10" fmla="*/ 732 w 732"/>
                <a:gd name="T11" fmla="*/ 40 h 80"/>
                <a:gd name="T12" fmla="*/ 692 w 732"/>
                <a:gd name="T13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2" h="80">
                  <a:moveTo>
                    <a:pt x="692" y="80"/>
                  </a:moveTo>
                  <a:cubicBezTo>
                    <a:pt x="40" y="80"/>
                    <a:pt x="40" y="80"/>
                    <a:pt x="40" y="80"/>
                  </a:cubicBezTo>
                  <a:cubicBezTo>
                    <a:pt x="18" y="80"/>
                    <a:pt x="0" y="62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692" y="0"/>
                    <a:pt x="692" y="0"/>
                    <a:pt x="692" y="0"/>
                  </a:cubicBezTo>
                  <a:cubicBezTo>
                    <a:pt x="714" y="0"/>
                    <a:pt x="732" y="18"/>
                    <a:pt x="732" y="40"/>
                  </a:cubicBezTo>
                  <a:cubicBezTo>
                    <a:pt x="732" y="62"/>
                    <a:pt x="714" y="80"/>
                    <a:pt x="692" y="8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13"/>
            <p:cNvSpPr>
              <a:spLocks/>
            </p:cNvSpPr>
            <p:nvPr/>
          </p:nvSpPr>
          <p:spPr bwMode="gray">
            <a:xfrm>
              <a:off x="8910937" y="4935858"/>
              <a:ext cx="33338" cy="77787"/>
            </a:xfrm>
            <a:custGeom>
              <a:avLst/>
              <a:gdLst>
                <a:gd name="T0" fmla="*/ 0 w 21"/>
                <a:gd name="T1" fmla="*/ 0 h 49"/>
                <a:gd name="T2" fmla="*/ 1 w 21"/>
                <a:gd name="T3" fmla="*/ 10 h 49"/>
                <a:gd name="T4" fmla="*/ 0 w 21"/>
                <a:gd name="T5" fmla="*/ 49 h 49"/>
                <a:gd name="T6" fmla="*/ 12 w 21"/>
                <a:gd name="T7" fmla="*/ 49 h 49"/>
                <a:gd name="T8" fmla="*/ 21 w 21"/>
                <a:gd name="T9" fmla="*/ 11 h 49"/>
                <a:gd name="T10" fmla="*/ 21 w 21"/>
                <a:gd name="T11" fmla="*/ 0 h 49"/>
                <a:gd name="T12" fmla="*/ 0 w 21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49">
                  <a:moveTo>
                    <a:pt x="0" y="0"/>
                  </a:moveTo>
                  <a:lnTo>
                    <a:pt x="1" y="10"/>
                  </a:lnTo>
                  <a:lnTo>
                    <a:pt x="0" y="49"/>
                  </a:lnTo>
                  <a:lnTo>
                    <a:pt x="12" y="49"/>
                  </a:lnTo>
                  <a:lnTo>
                    <a:pt x="21" y="11"/>
                  </a:lnTo>
                  <a:lnTo>
                    <a:pt x="2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14"/>
            <p:cNvSpPr>
              <a:spLocks/>
            </p:cNvSpPr>
            <p:nvPr/>
          </p:nvSpPr>
          <p:spPr bwMode="gray">
            <a:xfrm>
              <a:off x="8929987" y="4935858"/>
              <a:ext cx="14288" cy="77787"/>
            </a:xfrm>
            <a:custGeom>
              <a:avLst/>
              <a:gdLst>
                <a:gd name="T0" fmla="*/ 5 w 9"/>
                <a:gd name="T1" fmla="*/ 0 h 49"/>
                <a:gd name="T2" fmla="*/ 5 w 9"/>
                <a:gd name="T3" fmla="*/ 11 h 49"/>
                <a:gd name="T4" fmla="*/ 0 w 9"/>
                <a:gd name="T5" fmla="*/ 49 h 49"/>
                <a:gd name="T6" fmla="*/ 9 w 9"/>
                <a:gd name="T7" fmla="*/ 11 h 49"/>
                <a:gd name="T8" fmla="*/ 9 w 9"/>
                <a:gd name="T9" fmla="*/ 0 h 49"/>
                <a:gd name="T10" fmla="*/ 5 w 9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49">
                  <a:moveTo>
                    <a:pt x="5" y="0"/>
                  </a:moveTo>
                  <a:lnTo>
                    <a:pt x="5" y="11"/>
                  </a:lnTo>
                  <a:lnTo>
                    <a:pt x="0" y="49"/>
                  </a:lnTo>
                  <a:lnTo>
                    <a:pt x="9" y="11"/>
                  </a:lnTo>
                  <a:lnTo>
                    <a:pt x="9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99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15"/>
            <p:cNvSpPr>
              <a:spLocks/>
            </p:cNvSpPr>
            <p:nvPr/>
          </p:nvSpPr>
          <p:spPr bwMode="gray">
            <a:xfrm>
              <a:off x="8910937" y="4935858"/>
              <a:ext cx="6350" cy="77787"/>
            </a:xfrm>
            <a:custGeom>
              <a:avLst/>
              <a:gdLst>
                <a:gd name="T0" fmla="*/ 0 w 4"/>
                <a:gd name="T1" fmla="*/ 0 h 49"/>
                <a:gd name="T2" fmla="*/ 1 w 4"/>
                <a:gd name="T3" fmla="*/ 10 h 49"/>
                <a:gd name="T4" fmla="*/ 0 w 4"/>
                <a:gd name="T5" fmla="*/ 49 h 49"/>
                <a:gd name="T6" fmla="*/ 4 w 4"/>
                <a:gd name="T7" fmla="*/ 10 h 49"/>
                <a:gd name="T8" fmla="*/ 4 w 4"/>
                <a:gd name="T9" fmla="*/ 0 h 49"/>
                <a:gd name="T10" fmla="*/ 0 w 4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9">
                  <a:moveTo>
                    <a:pt x="0" y="0"/>
                  </a:moveTo>
                  <a:lnTo>
                    <a:pt x="1" y="10"/>
                  </a:lnTo>
                  <a:lnTo>
                    <a:pt x="0" y="49"/>
                  </a:lnTo>
                  <a:lnTo>
                    <a:pt x="4" y="1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16"/>
            <p:cNvSpPr>
              <a:spLocks/>
            </p:cNvSpPr>
            <p:nvPr/>
          </p:nvSpPr>
          <p:spPr bwMode="gray">
            <a:xfrm>
              <a:off x="8912525" y="4997770"/>
              <a:ext cx="33338" cy="47625"/>
            </a:xfrm>
            <a:custGeom>
              <a:avLst/>
              <a:gdLst>
                <a:gd name="T0" fmla="*/ 0 w 24"/>
                <a:gd name="T1" fmla="*/ 0 h 34"/>
                <a:gd name="T2" fmla="*/ 0 w 24"/>
                <a:gd name="T3" fmla="*/ 34 h 34"/>
                <a:gd name="T4" fmla="*/ 22 w 24"/>
                <a:gd name="T5" fmla="*/ 34 h 34"/>
                <a:gd name="T6" fmla="*/ 24 w 24"/>
                <a:gd name="T7" fmla="*/ 32 h 34"/>
                <a:gd name="T8" fmla="*/ 24 w 24"/>
                <a:gd name="T9" fmla="*/ 27 h 34"/>
                <a:gd name="T10" fmla="*/ 22 w 24"/>
                <a:gd name="T11" fmla="*/ 24 h 34"/>
                <a:gd name="T12" fmla="*/ 15 w 24"/>
                <a:gd name="T13" fmla="*/ 16 h 34"/>
                <a:gd name="T14" fmla="*/ 15 w 24"/>
                <a:gd name="T15" fmla="*/ 0 h 34"/>
                <a:gd name="T16" fmla="*/ 0 w 24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34">
                  <a:moveTo>
                    <a:pt x="0" y="0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4" y="34"/>
                    <a:pt x="24" y="32"/>
                  </a:cubicBezTo>
                  <a:cubicBezTo>
                    <a:pt x="24" y="30"/>
                    <a:pt x="24" y="27"/>
                    <a:pt x="24" y="27"/>
                  </a:cubicBezTo>
                  <a:cubicBezTo>
                    <a:pt x="24" y="27"/>
                    <a:pt x="24" y="26"/>
                    <a:pt x="22" y="24"/>
                  </a:cubicBezTo>
                  <a:cubicBezTo>
                    <a:pt x="20" y="23"/>
                    <a:pt x="16" y="18"/>
                    <a:pt x="15" y="16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17"/>
            <p:cNvSpPr>
              <a:spLocks/>
            </p:cNvSpPr>
            <p:nvPr/>
          </p:nvSpPr>
          <p:spPr bwMode="gray">
            <a:xfrm>
              <a:off x="8912525" y="5042220"/>
              <a:ext cx="33338" cy="4762"/>
            </a:xfrm>
            <a:custGeom>
              <a:avLst/>
              <a:gdLst>
                <a:gd name="T0" fmla="*/ 24 w 24"/>
                <a:gd name="T1" fmla="*/ 0 h 4"/>
                <a:gd name="T2" fmla="*/ 24 w 24"/>
                <a:gd name="T3" fmla="*/ 2 h 4"/>
                <a:gd name="T4" fmla="*/ 22 w 24"/>
                <a:gd name="T5" fmla="*/ 4 h 4"/>
                <a:gd name="T6" fmla="*/ 0 w 24"/>
                <a:gd name="T7" fmla="*/ 4 h 4"/>
                <a:gd name="T8" fmla="*/ 0 w 24"/>
                <a:gd name="T9" fmla="*/ 2 h 4"/>
                <a:gd name="T10" fmla="*/ 22 w 24"/>
                <a:gd name="T11" fmla="*/ 2 h 4"/>
                <a:gd name="T12" fmla="*/ 24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4" y="0"/>
                  </a:moveTo>
                  <a:cubicBezTo>
                    <a:pt x="24" y="0"/>
                    <a:pt x="24" y="1"/>
                    <a:pt x="24" y="2"/>
                  </a:cubicBezTo>
                  <a:cubicBezTo>
                    <a:pt x="24" y="4"/>
                    <a:pt x="22" y="4"/>
                    <a:pt x="22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2"/>
                    <a:pt x="24" y="2"/>
                    <a:pt x="24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18"/>
            <p:cNvSpPr>
              <a:spLocks/>
            </p:cNvSpPr>
            <p:nvPr/>
          </p:nvSpPr>
          <p:spPr bwMode="gray">
            <a:xfrm>
              <a:off x="8933162" y="5019995"/>
              <a:ext cx="12700" cy="25400"/>
            </a:xfrm>
            <a:custGeom>
              <a:avLst/>
              <a:gdLst>
                <a:gd name="T0" fmla="*/ 7 w 9"/>
                <a:gd name="T1" fmla="*/ 18 h 18"/>
                <a:gd name="T2" fmla="*/ 9 w 9"/>
                <a:gd name="T3" fmla="*/ 16 h 18"/>
                <a:gd name="T4" fmla="*/ 9 w 9"/>
                <a:gd name="T5" fmla="*/ 11 h 18"/>
                <a:gd name="T6" fmla="*/ 7 w 9"/>
                <a:gd name="T7" fmla="*/ 8 h 18"/>
                <a:gd name="T8" fmla="*/ 0 w 9"/>
                <a:gd name="T9" fmla="*/ 0 h 18"/>
                <a:gd name="T10" fmla="*/ 0 w 9"/>
                <a:gd name="T11" fmla="*/ 18 h 18"/>
                <a:gd name="T12" fmla="*/ 7 w 9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8">
                  <a:moveTo>
                    <a:pt x="7" y="18"/>
                  </a:moveTo>
                  <a:cubicBezTo>
                    <a:pt x="7" y="18"/>
                    <a:pt x="9" y="18"/>
                    <a:pt x="9" y="16"/>
                  </a:cubicBezTo>
                  <a:cubicBezTo>
                    <a:pt x="9" y="14"/>
                    <a:pt x="9" y="11"/>
                    <a:pt x="9" y="11"/>
                  </a:cubicBezTo>
                  <a:cubicBezTo>
                    <a:pt x="9" y="11"/>
                    <a:pt x="9" y="10"/>
                    <a:pt x="7" y="8"/>
                  </a:cubicBezTo>
                  <a:cubicBezTo>
                    <a:pt x="5" y="7"/>
                    <a:pt x="1" y="2"/>
                    <a:pt x="0" y="0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7" y="18"/>
                  </a:lnTo>
                  <a:close/>
                </a:path>
              </a:pathLst>
            </a:custGeom>
            <a:solidFill>
              <a:srgbClr val="3131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19"/>
            <p:cNvSpPr>
              <a:spLocks/>
            </p:cNvSpPr>
            <p:nvPr/>
          </p:nvSpPr>
          <p:spPr bwMode="gray">
            <a:xfrm>
              <a:off x="8874425" y="4935858"/>
              <a:ext cx="33338" cy="77787"/>
            </a:xfrm>
            <a:custGeom>
              <a:avLst/>
              <a:gdLst>
                <a:gd name="T0" fmla="*/ 0 w 21"/>
                <a:gd name="T1" fmla="*/ 0 h 49"/>
                <a:gd name="T2" fmla="*/ 0 w 21"/>
                <a:gd name="T3" fmla="*/ 10 h 49"/>
                <a:gd name="T4" fmla="*/ 0 w 21"/>
                <a:gd name="T5" fmla="*/ 49 h 49"/>
                <a:gd name="T6" fmla="*/ 13 w 21"/>
                <a:gd name="T7" fmla="*/ 49 h 49"/>
                <a:gd name="T8" fmla="*/ 21 w 21"/>
                <a:gd name="T9" fmla="*/ 11 h 49"/>
                <a:gd name="T10" fmla="*/ 21 w 21"/>
                <a:gd name="T11" fmla="*/ 0 h 49"/>
                <a:gd name="T12" fmla="*/ 0 w 21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49">
                  <a:moveTo>
                    <a:pt x="0" y="0"/>
                  </a:moveTo>
                  <a:lnTo>
                    <a:pt x="0" y="10"/>
                  </a:lnTo>
                  <a:lnTo>
                    <a:pt x="0" y="49"/>
                  </a:lnTo>
                  <a:lnTo>
                    <a:pt x="13" y="49"/>
                  </a:lnTo>
                  <a:lnTo>
                    <a:pt x="21" y="11"/>
                  </a:lnTo>
                  <a:lnTo>
                    <a:pt x="2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20"/>
            <p:cNvSpPr>
              <a:spLocks/>
            </p:cNvSpPr>
            <p:nvPr/>
          </p:nvSpPr>
          <p:spPr bwMode="gray">
            <a:xfrm>
              <a:off x="8895062" y="4935858"/>
              <a:ext cx="12700" cy="77787"/>
            </a:xfrm>
            <a:custGeom>
              <a:avLst/>
              <a:gdLst>
                <a:gd name="T0" fmla="*/ 4 w 8"/>
                <a:gd name="T1" fmla="*/ 0 h 49"/>
                <a:gd name="T2" fmla="*/ 4 w 8"/>
                <a:gd name="T3" fmla="*/ 11 h 49"/>
                <a:gd name="T4" fmla="*/ 0 w 8"/>
                <a:gd name="T5" fmla="*/ 49 h 49"/>
                <a:gd name="T6" fmla="*/ 8 w 8"/>
                <a:gd name="T7" fmla="*/ 11 h 49"/>
                <a:gd name="T8" fmla="*/ 8 w 8"/>
                <a:gd name="T9" fmla="*/ 0 h 49"/>
                <a:gd name="T10" fmla="*/ 4 w 8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49">
                  <a:moveTo>
                    <a:pt x="4" y="0"/>
                  </a:moveTo>
                  <a:lnTo>
                    <a:pt x="4" y="11"/>
                  </a:lnTo>
                  <a:lnTo>
                    <a:pt x="0" y="49"/>
                  </a:lnTo>
                  <a:lnTo>
                    <a:pt x="8" y="11"/>
                  </a:lnTo>
                  <a:lnTo>
                    <a:pt x="8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99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21"/>
            <p:cNvSpPr>
              <a:spLocks/>
            </p:cNvSpPr>
            <p:nvPr/>
          </p:nvSpPr>
          <p:spPr bwMode="gray">
            <a:xfrm>
              <a:off x="8874425" y="4935858"/>
              <a:ext cx="6350" cy="77787"/>
            </a:xfrm>
            <a:custGeom>
              <a:avLst/>
              <a:gdLst>
                <a:gd name="T0" fmla="*/ 0 w 4"/>
                <a:gd name="T1" fmla="*/ 0 h 49"/>
                <a:gd name="T2" fmla="*/ 0 w 4"/>
                <a:gd name="T3" fmla="*/ 10 h 49"/>
                <a:gd name="T4" fmla="*/ 0 w 4"/>
                <a:gd name="T5" fmla="*/ 49 h 49"/>
                <a:gd name="T6" fmla="*/ 4 w 4"/>
                <a:gd name="T7" fmla="*/ 10 h 49"/>
                <a:gd name="T8" fmla="*/ 4 w 4"/>
                <a:gd name="T9" fmla="*/ 0 h 49"/>
                <a:gd name="T10" fmla="*/ 0 w 4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9">
                  <a:moveTo>
                    <a:pt x="0" y="0"/>
                  </a:moveTo>
                  <a:lnTo>
                    <a:pt x="0" y="10"/>
                  </a:lnTo>
                  <a:lnTo>
                    <a:pt x="0" y="49"/>
                  </a:lnTo>
                  <a:lnTo>
                    <a:pt x="4" y="1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22"/>
            <p:cNvSpPr>
              <a:spLocks/>
            </p:cNvSpPr>
            <p:nvPr/>
          </p:nvSpPr>
          <p:spPr bwMode="gray">
            <a:xfrm>
              <a:off x="8874425" y="4997770"/>
              <a:ext cx="34925" cy="47625"/>
            </a:xfrm>
            <a:custGeom>
              <a:avLst/>
              <a:gdLst>
                <a:gd name="T0" fmla="*/ 0 w 25"/>
                <a:gd name="T1" fmla="*/ 0 h 34"/>
                <a:gd name="T2" fmla="*/ 0 w 25"/>
                <a:gd name="T3" fmla="*/ 34 h 34"/>
                <a:gd name="T4" fmla="*/ 23 w 25"/>
                <a:gd name="T5" fmla="*/ 34 h 34"/>
                <a:gd name="T6" fmla="*/ 24 w 25"/>
                <a:gd name="T7" fmla="*/ 32 h 34"/>
                <a:gd name="T8" fmla="*/ 24 w 25"/>
                <a:gd name="T9" fmla="*/ 27 h 34"/>
                <a:gd name="T10" fmla="*/ 22 w 25"/>
                <a:gd name="T11" fmla="*/ 24 h 34"/>
                <a:gd name="T12" fmla="*/ 16 w 25"/>
                <a:gd name="T13" fmla="*/ 16 h 34"/>
                <a:gd name="T14" fmla="*/ 16 w 25"/>
                <a:gd name="T15" fmla="*/ 0 h 34"/>
                <a:gd name="T16" fmla="*/ 0 w 25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34">
                  <a:moveTo>
                    <a:pt x="0" y="0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23" y="34"/>
                    <a:pt x="24" y="34"/>
                    <a:pt x="24" y="32"/>
                  </a:cubicBezTo>
                  <a:cubicBezTo>
                    <a:pt x="24" y="30"/>
                    <a:pt x="24" y="27"/>
                    <a:pt x="24" y="27"/>
                  </a:cubicBezTo>
                  <a:cubicBezTo>
                    <a:pt x="24" y="27"/>
                    <a:pt x="25" y="26"/>
                    <a:pt x="22" y="24"/>
                  </a:cubicBezTo>
                  <a:cubicBezTo>
                    <a:pt x="20" y="23"/>
                    <a:pt x="16" y="18"/>
                    <a:pt x="16" y="16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23"/>
            <p:cNvSpPr>
              <a:spLocks/>
            </p:cNvSpPr>
            <p:nvPr/>
          </p:nvSpPr>
          <p:spPr bwMode="gray">
            <a:xfrm>
              <a:off x="8874425" y="5042220"/>
              <a:ext cx="33338" cy="4762"/>
            </a:xfrm>
            <a:custGeom>
              <a:avLst/>
              <a:gdLst>
                <a:gd name="T0" fmla="*/ 24 w 24"/>
                <a:gd name="T1" fmla="*/ 0 h 4"/>
                <a:gd name="T2" fmla="*/ 24 w 24"/>
                <a:gd name="T3" fmla="*/ 2 h 4"/>
                <a:gd name="T4" fmla="*/ 23 w 24"/>
                <a:gd name="T5" fmla="*/ 4 h 4"/>
                <a:gd name="T6" fmla="*/ 0 w 24"/>
                <a:gd name="T7" fmla="*/ 4 h 4"/>
                <a:gd name="T8" fmla="*/ 0 w 24"/>
                <a:gd name="T9" fmla="*/ 2 h 4"/>
                <a:gd name="T10" fmla="*/ 23 w 24"/>
                <a:gd name="T11" fmla="*/ 2 h 4"/>
                <a:gd name="T12" fmla="*/ 24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4" y="0"/>
                  </a:moveTo>
                  <a:cubicBezTo>
                    <a:pt x="24" y="0"/>
                    <a:pt x="24" y="1"/>
                    <a:pt x="24" y="2"/>
                  </a:cubicBezTo>
                  <a:cubicBezTo>
                    <a:pt x="24" y="4"/>
                    <a:pt x="23" y="4"/>
                    <a:pt x="23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3" y="2"/>
                    <a:pt x="24" y="2"/>
                    <a:pt x="24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24"/>
            <p:cNvSpPr>
              <a:spLocks/>
            </p:cNvSpPr>
            <p:nvPr/>
          </p:nvSpPr>
          <p:spPr bwMode="gray">
            <a:xfrm>
              <a:off x="8896650" y="5019995"/>
              <a:ext cx="11113" cy="25400"/>
            </a:xfrm>
            <a:custGeom>
              <a:avLst/>
              <a:gdLst>
                <a:gd name="T0" fmla="*/ 0 w 8"/>
                <a:gd name="T1" fmla="*/ 0 h 18"/>
                <a:gd name="T2" fmla="*/ 0 w 8"/>
                <a:gd name="T3" fmla="*/ 18 h 18"/>
                <a:gd name="T4" fmla="*/ 7 w 8"/>
                <a:gd name="T5" fmla="*/ 18 h 18"/>
                <a:gd name="T6" fmla="*/ 8 w 8"/>
                <a:gd name="T7" fmla="*/ 16 h 18"/>
                <a:gd name="T8" fmla="*/ 8 w 8"/>
                <a:gd name="T9" fmla="*/ 11 h 18"/>
                <a:gd name="T10" fmla="*/ 8 w 8"/>
                <a:gd name="T11" fmla="*/ 11 h 18"/>
                <a:gd name="T12" fmla="*/ 8 w 8"/>
                <a:gd name="T13" fmla="*/ 11 h 18"/>
                <a:gd name="T14" fmla="*/ 8 w 8"/>
                <a:gd name="T15" fmla="*/ 11 h 18"/>
                <a:gd name="T16" fmla="*/ 6 w 8"/>
                <a:gd name="T17" fmla="*/ 8 h 18"/>
                <a:gd name="T18" fmla="*/ 0 w 8"/>
                <a:gd name="T1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18">
                  <a:moveTo>
                    <a:pt x="0" y="0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7" y="18"/>
                    <a:pt x="8" y="18"/>
                    <a:pt x="8" y="16"/>
                  </a:cubicBezTo>
                  <a:cubicBezTo>
                    <a:pt x="8" y="14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0"/>
                    <a:pt x="8" y="9"/>
                    <a:pt x="6" y="8"/>
                  </a:cubicBezTo>
                  <a:cubicBezTo>
                    <a:pt x="4" y="7"/>
                    <a:pt x="0" y="2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25"/>
            <p:cNvSpPr>
              <a:spLocks/>
            </p:cNvSpPr>
            <p:nvPr/>
          </p:nvSpPr>
          <p:spPr bwMode="gray">
            <a:xfrm>
              <a:off x="8929987" y="4756470"/>
              <a:ext cx="9525" cy="1587"/>
            </a:xfrm>
            <a:custGeom>
              <a:avLst/>
              <a:gdLst>
                <a:gd name="T0" fmla="*/ 0 w 6"/>
                <a:gd name="T1" fmla="*/ 0 h 1"/>
                <a:gd name="T2" fmla="*/ 6 w 6"/>
                <a:gd name="T3" fmla="*/ 1 h 1"/>
                <a:gd name="T4" fmla="*/ 6 w 6"/>
                <a:gd name="T5" fmla="*/ 1 h 1"/>
                <a:gd name="T6" fmla="*/ 0 w 6"/>
                <a:gd name="T7" fmla="*/ 0 h 1"/>
                <a:gd name="T8" fmla="*/ 0 w 6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">
                  <a:moveTo>
                    <a:pt x="0" y="0"/>
                  </a:moveTo>
                  <a:lnTo>
                    <a:pt x="6" y="1"/>
                  </a:lnTo>
                  <a:lnTo>
                    <a:pt x="6" y="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BD9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26"/>
            <p:cNvSpPr>
              <a:spLocks/>
            </p:cNvSpPr>
            <p:nvPr/>
          </p:nvSpPr>
          <p:spPr bwMode="gray">
            <a:xfrm>
              <a:off x="8917287" y="4731070"/>
              <a:ext cx="0" cy="1587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F6CA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27"/>
            <p:cNvSpPr>
              <a:spLocks/>
            </p:cNvSpPr>
            <p:nvPr/>
          </p:nvSpPr>
          <p:spPr bwMode="gray">
            <a:xfrm>
              <a:off x="8899825" y="4724720"/>
              <a:ext cx="50800" cy="57150"/>
            </a:xfrm>
            <a:custGeom>
              <a:avLst/>
              <a:gdLst>
                <a:gd name="T0" fmla="*/ 33 w 36"/>
                <a:gd name="T1" fmla="*/ 16 h 42"/>
                <a:gd name="T2" fmla="*/ 28 w 36"/>
                <a:gd name="T3" fmla="*/ 7 h 42"/>
                <a:gd name="T4" fmla="*/ 27 w 36"/>
                <a:gd name="T5" fmla="*/ 5 h 42"/>
                <a:gd name="T6" fmla="*/ 27 w 36"/>
                <a:gd name="T7" fmla="*/ 5 h 42"/>
                <a:gd name="T8" fmla="*/ 17 w 36"/>
                <a:gd name="T9" fmla="*/ 4 h 42"/>
                <a:gd name="T10" fmla="*/ 13 w 36"/>
                <a:gd name="T11" fmla="*/ 0 h 42"/>
                <a:gd name="T12" fmla="*/ 13 w 36"/>
                <a:gd name="T13" fmla="*/ 0 h 42"/>
                <a:gd name="T14" fmla="*/ 13 w 36"/>
                <a:gd name="T15" fmla="*/ 5 h 42"/>
                <a:gd name="T16" fmla="*/ 13 w 36"/>
                <a:gd name="T17" fmla="*/ 6 h 42"/>
                <a:gd name="T18" fmla="*/ 13 w 36"/>
                <a:gd name="T19" fmla="*/ 11 h 42"/>
                <a:gd name="T20" fmla="*/ 14 w 36"/>
                <a:gd name="T21" fmla="*/ 14 h 42"/>
                <a:gd name="T22" fmla="*/ 11 w 36"/>
                <a:gd name="T23" fmla="*/ 14 h 42"/>
                <a:gd name="T24" fmla="*/ 6 w 36"/>
                <a:gd name="T25" fmla="*/ 11 h 42"/>
                <a:gd name="T26" fmla="*/ 3 w 36"/>
                <a:gd name="T27" fmla="*/ 12 h 42"/>
                <a:gd name="T28" fmla="*/ 4 w 36"/>
                <a:gd name="T29" fmla="*/ 17 h 42"/>
                <a:gd name="T30" fmla="*/ 5 w 36"/>
                <a:gd name="T31" fmla="*/ 20 h 42"/>
                <a:gd name="T32" fmla="*/ 6 w 36"/>
                <a:gd name="T33" fmla="*/ 22 h 42"/>
                <a:gd name="T34" fmla="*/ 6 w 36"/>
                <a:gd name="T35" fmla="*/ 22 h 42"/>
                <a:gd name="T36" fmla="*/ 6 w 36"/>
                <a:gd name="T37" fmla="*/ 22 h 42"/>
                <a:gd name="T38" fmla="*/ 2 w 36"/>
                <a:gd name="T39" fmla="*/ 31 h 42"/>
                <a:gd name="T40" fmla="*/ 0 w 36"/>
                <a:gd name="T41" fmla="*/ 30 h 42"/>
                <a:gd name="T42" fmla="*/ 2 w 36"/>
                <a:gd name="T43" fmla="*/ 41 h 42"/>
                <a:gd name="T44" fmla="*/ 19 w 36"/>
                <a:gd name="T45" fmla="*/ 42 h 42"/>
                <a:gd name="T46" fmla="*/ 18 w 36"/>
                <a:gd name="T47" fmla="*/ 36 h 42"/>
                <a:gd name="T48" fmla="*/ 23 w 36"/>
                <a:gd name="T49" fmla="*/ 37 h 42"/>
                <a:gd name="T50" fmla="*/ 28 w 36"/>
                <a:gd name="T51" fmla="*/ 34 h 42"/>
                <a:gd name="T52" fmla="*/ 29 w 36"/>
                <a:gd name="T53" fmla="*/ 29 h 42"/>
                <a:gd name="T54" fmla="*/ 29 w 36"/>
                <a:gd name="T55" fmla="*/ 24 h 42"/>
                <a:gd name="T56" fmla="*/ 30 w 36"/>
                <a:gd name="T57" fmla="*/ 20 h 42"/>
                <a:gd name="T58" fmla="*/ 33 w 36"/>
                <a:gd name="T59" fmla="*/ 1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6" h="42">
                  <a:moveTo>
                    <a:pt x="33" y="16"/>
                  </a:moveTo>
                  <a:cubicBezTo>
                    <a:pt x="33" y="16"/>
                    <a:pt x="28" y="8"/>
                    <a:pt x="28" y="7"/>
                  </a:cubicBezTo>
                  <a:cubicBezTo>
                    <a:pt x="27" y="6"/>
                    <a:pt x="27" y="5"/>
                    <a:pt x="27" y="5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3" y="6"/>
                    <a:pt x="20" y="5"/>
                    <a:pt x="17" y="4"/>
                  </a:cubicBezTo>
                  <a:cubicBezTo>
                    <a:pt x="15" y="2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13" y="9"/>
                    <a:pt x="13" y="11"/>
                  </a:cubicBezTo>
                  <a:cubicBezTo>
                    <a:pt x="14" y="12"/>
                    <a:pt x="14" y="14"/>
                    <a:pt x="14" y="14"/>
                  </a:cubicBezTo>
                  <a:cubicBezTo>
                    <a:pt x="14" y="16"/>
                    <a:pt x="11" y="14"/>
                    <a:pt x="11" y="14"/>
                  </a:cubicBezTo>
                  <a:cubicBezTo>
                    <a:pt x="11" y="14"/>
                    <a:pt x="9" y="12"/>
                    <a:pt x="6" y="11"/>
                  </a:cubicBezTo>
                  <a:cubicBezTo>
                    <a:pt x="5" y="11"/>
                    <a:pt x="4" y="11"/>
                    <a:pt x="3" y="12"/>
                  </a:cubicBezTo>
                  <a:cubicBezTo>
                    <a:pt x="3" y="13"/>
                    <a:pt x="3" y="15"/>
                    <a:pt x="4" y="17"/>
                  </a:cubicBezTo>
                  <a:cubicBezTo>
                    <a:pt x="4" y="18"/>
                    <a:pt x="4" y="20"/>
                    <a:pt x="5" y="20"/>
                  </a:cubicBezTo>
                  <a:cubicBezTo>
                    <a:pt x="5" y="21"/>
                    <a:pt x="6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6" y="28"/>
                    <a:pt x="2" y="31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20" y="37"/>
                    <a:pt x="21" y="37"/>
                    <a:pt x="23" y="37"/>
                  </a:cubicBezTo>
                  <a:cubicBezTo>
                    <a:pt x="28" y="37"/>
                    <a:pt x="28" y="34"/>
                    <a:pt x="28" y="34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6" y="19"/>
                    <a:pt x="34" y="17"/>
                    <a:pt x="33" y="16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28"/>
            <p:cNvSpPr>
              <a:spLocks/>
            </p:cNvSpPr>
            <p:nvPr/>
          </p:nvSpPr>
          <p:spPr bwMode="gray">
            <a:xfrm>
              <a:off x="8907762" y="4772345"/>
              <a:ext cx="17463" cy="4762"/>
            </a:xfrm>
            <a:custGeom>
              <a:avLst/>
              <a:gdLst>
                <a:gd name="T0" fmla="*/ 0 w 12"/>
                <a:gd name="T1" fmla="*/ 0 h 3"/>
                <a:gd name="T2" fmla="*/ 12 w 12"/>
                <a:gd name="T3" fmla="*/ 3 h 3"/>
                <a:gd name="T4" fmla="*/ 12 w 12"/>
                <a:gd name="T5" fmla="*/ 1 h 3"/>
                <a:gd name="T6" fmla="*/ 0 w 1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3">
                  <a:moveTo>
                    <a:pt x="0" y="0"/>
                  </a:moveTo>
                  <a:cubicBezTo>
                    <a:pt x="1" y="1"/>
                    <a:pt x="4" y="3"/>
                    <a:pt x="12" y="3"/>
                  </a:cubicBezTo>
                  <a:cubicBezTo>
                    <a:pt x="12" y="2"/>
                    <a:pt x="12" y="2"/>
                    <a:pt x="12" y="1"/>
                  </a:cubicBezTo>
                  <a:cubicBezTo>
                    <a:pt x="8" y="1"/>
                    <a:pt x="4" y="1"/>
                    <a:pt x="0" y="0"/>
                  </a:cubicBezTo>
                  <a:close/>
                </a:path>
              </a:pathLst>
            </a:custGeom>
            <a:solidFill>
              <a:srgbClr val="8054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29"/>
            <p:cNvSpPr>
              <a:spLocks/>
            </p:cNvSpPr>
            <p:nvPr/>
          </p:nvSpPr>
          <p:spPr bwMode="gray">
            <a:xfrm>
              <a:off x="8934750" y="4758058"/>
              <a:ext cx="4763" cy="4762"/>
            </a:xfrm>
            <a:custGeom>
              <a:avLst/>
              <a:gdLst>
                <a:gd name="T0" fmla="*/ 4 w 4"/>
                <a:gd name="T1" fmla="*/ 3 h 4"/>
                <a:gd name="T2" fmla="*/ 2 w 4"/>
                <a:gd name="T3" fmla="*/ 0 h 4"/>
                <a:gd name="T4" fmla="*/ 0 w 4"/>
                <a:gd name="T5" fmla="*/ 0 h 4"/>
                <a:gd name="T6" fmla="*/ 4 w 4"/>
                <a:gd name="T7" fmla="*/ 4 h 4"/>
                <a:gd name="T8" fmla="*/ 4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4" y="3"/>
                  </a:moveTo>
                  <a:cubicBezTo>
                    <a:pt x="3" y="2"/>
                    <a:pt x="2" y="1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2" y="2"/>
                    <a:pt x="4" y="4"/>
                  </a:cubicBezTo>
                  <a:lnTo>
                    <a:pt x="4" y="3"/>
                  </a:lnTo>
                  <a:close/>
                </a:path>
              </a:pathLst>
            </a:custGeom>
            <a:solidFill>
              <a:srgbClr val="8054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30"/>
            <p:cNvSpPr>
              <a:spLocks/>
            </p:cNvSpPr>
            <p:nvPr/>
          </p:nvSpPr>
          <p:spPr bwMode="gray">
            <a:xfrm>
              <a:off x="8937925" y="4758058"/>
              <a:ext cx="1588" cy="3175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0 h 3"/>
                <a:gd name="T4" fmla="*/ 2 w 2"/>
                <a:gd name="T5" fmla="*/ 3 h 3"/>
                <a:gd name="T6" fmla="*/ 2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2"/>
                    <a:pt x="2" y="3"/>
                  </a:cubicBezTo>
                  <a:lnTo>
                    <a:pt x="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31"/>
            <p:cNvSpPr>
              <a:spLocks/>
            </p:cNvSpPr>
            <p:nvPr/>
          </p:nvSpPr>
          <p:spPr bwMode="gray">
            <a:xfrm>
              <a:off x="8934750" y="4739008"/>
              <a:ext cx="4763" cy="3175"/>
            </a:xfrm>
            <a:custGeom>
              <a:avLst/>
              <a:gdLst>
                <a:gd name="T0" fmla="*/ 3 w 3"/>
                <a:gd name="T1" fmla="*/ 1 h 3"/>
                <a:gd name="T2" fmla="*/ 1 w 3"/>
                <a:gd name="T3" fmla="*/ 3 h 3"/>
                <a:gd name="T4" fmla="*/ 0 w 3"/>
                <a:gd name="T5" fmla="*/ 2 h 3"/>
                <a:gd name="T6" fmla="*/ 1 w 3"/>
                <a:gd name="T7" fmla="*/ 0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3" y="2"/>
                    <a:pt x="2" y="3"/>
                    <a:pt x="1" y="3"/>
                  </a:cubicBezTo>
                  <a:cubicBezTo>
                    <a:pt x="1" y="3"/>
                    <a:pt x="0" y="3"/>
                    <a:pt x="0" y="2"/>
                  </a:cubicBezTo>
                  <a:cubicBezTo>
                    <a:pt x="0" y="1"/>
                    <a:pt x="0" y="1"/>
                    <a:pt x="1" y="0"/>
                  </a:cubicBezTo>
                  <a:cubicBezTo>
                    <a:pt x="2" y="0"/>
                    <a:pt x="2" y="1"/>
                    <a:pt x="3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32"/>
            <p:cNvSpPr>
              <a:spLocks/>
            </p:cNvSpPr>
            <p:nvPr/>
          </p:nvSpPr>
          <p:spPr bwMode="gray">
            <a:xfrm>
              <a:off x="8893475" y="4772345"/>
              <a:ext cx="34925" cy="22225"/>
            </a:xfrm>
            <a:custGeom>
              <a:avLst/>
              <a:gdLst>
                <a:gd name="T0" fmla="*/ 0 w 22"/>
                <a:gd name="T1" fmla="*/ 8 h 14"/>
                <a:gd name="T2" fmla="*/ 2 w 22"/>
                <a:gd name="T3" fmla="*/ 0 h 14"/>
                <a:gd name="T4" fmla="*/ 22 w 22"/>
                <a:gd name="T5" fmla="*/ 4 h 14"/>
                <a:gd name="T6" fmla="*/ 22 w 22"/>
                <a:gd name="T7" fmla="*/ 14 h 14"/>
                <a:gd name="T8" fmla="*/ 0 w 22"/>
                <a:gd name="T9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4">
                  <a:moveTo>
                    <a:pt x="0" y="8"/>
                  </a:moveTo>
                  <a:lnTo>
                    <a:pt x="2" y="0"/>
                  </a:lnTo>
                  <a:lnTo>
                    <a:pt x="22" y="4"/>
                  </a:lnTo>
                  <a:lnTo>
                    <a:pt x="22" y="14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33"/>
            <p:cNvSpPr>
              <a:spLocks/>
            </p:cNvSpPr>
            <p:nvPr/>
          </p:nvSpPr>
          <p:spPr bwMode="gray">
            <a:xfrm>
              <a:off x="8855375" y="4777108"/>
              <a:ext cx="103188" cy="166687"/>
            </a:xfrm>
            <a:custGeom>
              <a:avLst/>
              <a:gdLst>
                <a:gd name="T0" fmla="*/ 31 w 74"/>
                <a:gd name="T1" fmla="*/ 4 h 121"/>
                <a:gd name="T2" fmla="*/ 14 w 74"/>
                <a:gd name="T3" fmla="*/ 24 h 121"/>
                <a:gd name="T4" fmla="*/ 0 w 74"/>
                <a:gd name="T5" fmla="*/ 119 h 121"/>
                <a:gd name="T6" fmla="*/ 68 w 74"/>
                <a:gd name="T7" fmla="*/ 115 h 121"/>
                <a:gd name="T8" fmla="*/ 62 w 74"/>
                <a:gd name="T9" fmla="*/ 16 h 121"/>
                <a:gd name="T10" fmla="*/ 31 w 74"/>
                <a:gd name="T11" fmla="*/ 4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121">
                  <a:moveTo>
                    <a:pt x="31" y="4"/>
                  </a:moveTo>
                  <a:cubicBezTo>
                    <a:pt x="17" y="5"/>
                    <a:pt x="14" y="22"/>
                    <a:pt x="14" y="24"/>
                  </a:cubicBezTo>
                  <a:cubicBezTo>
                    <a:pt x="13" y="49"/>
                    <a:pt x="11" y="118"/>
                    <a:pt x="0" y="119"/>
                  </a:cubicBezTo>
                  <a:cubicBezTo>
                    <a:pt x="60" y="119"/>
                    <a:pt x="62" y="121"/>
                    <a:pt x="68" y="115"/>
                  </a:cubicBezTo>
                  <a:cubicBezTo>
                    <a:pt x="74" y="109"/>
                    <a:pt x="62" y="16"/>
                    <a:pt x="62" y="16"/>
                  </a:cubicBezTo>
                  <a:cubicBezTo>
                    <a:pt x="61" y="0"/>
                    <a:pt x="48" y="3"/>
                    <a:pt x="31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34"/>
            <p:cNvSpPr>
              <a:spLocks/>
            </p:cNvSpPr>
            <p:nvPr/>
          </p:nvSpPr>
          <p:spPr bwMode="gray">
            <a:xfrm>
              <a:off x="8855375" y="4780283"/>
              <a:ext cx="69850" cy="160337"/>
            </a:xfrm>
            <a:custGeom>
              <a:avLst/>
              <a:gdLst>
                <a:gd name="T0" fmla="*/ 31 w 50"/>
                <a:gd name="T1" fmla="*/ 1 h 116"/>
                <a:gd name="T2" fmla="*/ 14 w 50"/>
                <a:gd name="T3" fmla="*/ 21 h 116"/>
                <a:gd name="T4" fmla="*/ 0 w 50"/>
                <a:gd name="T5" fmla="*/ 116 h 116"/>
                <a:gd name="T6" fmla="*/ 9 w 50"/>
                <a:gd name="T7" fmla="*/ 116 h 116"/>
                <a:gd name="T8" fmla="*/ 8 w 50"/>
                <a:gd name="T9" fmla="*/ 116 h 116"/>
                <a:gd name="T10" fmla="*/ 22 w 50"/>
                <a:gd name="T11" fmla="*/ 31 h 116"/>
                <a:gd name="T12" fmla="*/ 40 w 50"/>
                <a:gd name="T13" fmla="*/ 2 h 116"/>
                <a:gd name="T14" fmla="*/ 49 w 50"/>
                <a:gd name="T15" fmla="*/ 0 h 116"/>
                <a:gd name="T16" fmla="*/ 31 w 50"/>
                <a:gd name="T17" fmla="*/ 1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" h="116">
                  <a:moveTo>
                    <a:pt x="31" y="1"/>
                  </a:moveTo>
                  <a:cubicBezTo>
                    <a:pt x="17" y="2"/>
                    <a:pt x="14" y="19"/>
                    <a:pt x="14" y="21"/>
                  </a:cubicBezTo>
                  <a:cubicBezTo>
                    <a:pt x="13" y="46"/>
                    <a:pt x="11" y="115"/>
                    <a:pt x="0" y="116"/>
                  </a:cubicBezTo>
                  <a:cubicBezTo>
                    <a:pt x="3" y="116"/>
                    <a:pt x="6" y="116"/>
                    <a:pt x="9" y="116"/>
                  </a:cubicBezTo>
                  <a:cubicBezTo>
                    <a:pt x="8" y="116"/>
                    <a:pt x="8" y="116"/>
                    <a:pt x="8" y="116"/>
                  </a:cubicBezTo>
                  <a:cubicBezTo>
                    <a:pt x="20" y="115"/>
                    <a:pt x="21" y="55"/>
                    <a:pt x="22" y="31"/>
                  </a:cubicBezTo>
                  <a:cubicBezTo>
                    <a:pt x="22" y="29"/>
                    <a:pt x="26" y="3"/>
                    <a:pt x="40" y="2"/>
                  </a:cubicBezTo>
                  <a:cubicBezTo>
                    <a:pt x="43" y="2"/>
                    <a:pt x="50" y="1"/>
                    <a:pt x="49" y="0"/>
                  </a:cubicBezTo>
                  <a:cubicBezTo>
                    <a:pt x="44" y="0"/>
                    <a:pt x="38" y="0"/>
                    <a:pt x="31" y="1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35"/>
            <p:cNvSpPr>
              <a:spLocks/>
            </p:cNvSpPr>
            <p:nvPr/>
          </p:nvSpPr>
          <p:spPr bwMode="gray">
            <a:xfrm>
              <a:off x="8890300" y="4850133"/>
              <a:ext cx="87313" cy="55562"/>
            </a:xfrm>
            <a:custGeom>
              <a:avLst/>
              <a:gdLst>
                <a:gd name="T0" fmla="*/ 63 w 63"/>
                <a:gd name="T1" fmla="*/ 36 h 41"/>
                <a:gd name="T2" fmla="*/ 57 w 63"/>
                <a:gd name="T3" fmla="*/ 41 h 41"/>
                <a:gd name="T4" fmla="*/ 6 w 63"/>
                <a:gd name="T5" fmla="*/ 41 h 41"/>
                <a:gd name="T6" fmla="*/ 0 w 63"/>
                <a:gd name="T7" fmla="*/ 36 h 41"/>
                <a:gd name="T8" fmla="*/ 0 w 63"/>
                <a:gd name="T9" fmla="*/ 6 h 41"/>
                <a:gd name="T10" fmla="*/ 6 w 63"/>
                <a:gd name="T11" fmla="*/ 0 h 41"/>
                <a:gd name="T12" fmla="*/ 57 w 63"/>
                <a:gd name="T13" fmla="*/ 0 h 41"/>
                <a:gd name="T14" fmla="*/ 63 w 63"/>
                <a:gd name="T15" fmla="*/ 6 h 41"/>
                <a:gd name="T16" fmla="*/ 63 w 63"/>
                <a:gd name="T17" fmla="*/ 3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3" h="41">
                  <a:moveTo>
                    <a:pt x="63" y="36"/>
                  </a:moveTo>
                  <a:cubicBezTo>
                    <a:pt x="63" y="39"/>
                    <a:pt x="60" y="41"/>
                    <a:pt x="57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3" y="41"/>
                    <a:pt x="0" y="39"/>
                    <a:pt x="0" y="3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60" y="0"/>
                    <a:pt x="63" y="3"/>
                    <a:pt x="63" y="6"/>
                  </a:cubicBezTo>
                  <a:lnTo>
                    <a:pt x="63" y="36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36"/>
            <p:cNvSpPr>
              <a:spLocks/>
            </p:cNvSpPr>
            <p:nvPr/>
          </p:nvSpPr>
          <p:spPr bwMode="gray">
            <a:xfrm>
              <a:off x="8960150" y="4897758"/>
              <a:ext cx="19050" cy="20637"/>
            </a:xfrm>
            <a:custGeom>
              <a:avLst/>
              <a:gdLst>
                <a:gd name="T0" fmla="*/ 0 w 14"/>
                <a:gd name="T1" fmla="*/ 10 h 15"/>
                <a:gd name="T2" fmla="*/ 0 w 14"/>
                <a:gd name="T3" fmla="*/ 10 h 15"/>
                <a:gd name="T4" fmla="*/ 1 w 14"/>
                <a:gd name="T5" fmla="*/ 12 h 15"/>
                <a:gd name="T6" fmla="*/ 6 w 14"/>
                <a:gd name="T7" fmla="*/ 15 h 15"/>
                <a:gd name="T8" fmla="*/ 8 w 14"/>
                <a:gd name="T9" fmla="*/ 14 h 15"/>
                <a:gd name="T10" fmla="*/ 9 w 14"/>
                <a:gd name="T11" fmla="*/ 13 h 15"/>
                <a:gd name="T12" fmla="*/ 11 w 14"/>
                <a:gd name="T13" fmla="*/ 12 h 15"/>
                <a:gd name="T14" fmla="*/ 11 w 14"/>
                <a:gd name="T15" fmla="*/ 10 h 15"/>
                <a:gd name="T16" fmla="*/ 13 w 14"/>
                <a:gd name="T17" fmla="*/ 9 h 15"/>
                <a:gd name="T18" fmla="*/ 12 w 14"/>
                <a:gd name="T19" fmla="*/ 6 h 15"/>
                <a:gd name="T20" fmla="*/ 11 w 14"/>
                <a:gd name="T21" fmla="*/ 6 h 15"/>
                <a:gd name="T22" fmla="*/ 13 w 14"/>
                <a:gd name="T23" fmla="*/ 5 h 15"/>
                <a:gd name="T24" fmla="*/ 13 w 14"/>
                <a:gd name="T25" fmla="*/ 3 h 15"/>
                <a:gd name="T26" fmla="*/ 8 w 14"/>
                <a:gd name="T27" fmla="*/ 0 h 15"/>
                <a:gd name="T28" fmla="*/ 6 w 14"/>
                <a:gd name="T29" fmla="*/ 0 h 15"/>
                <a:gd name="T30" fmla="*/ 0 w 14"/>
                <a:gd name="T31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" h="15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1" y="12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5"/>
                    <a:pt x="8" y="15"/>
                    <a:pt x="8" y="14"/>
                  </a:cubicBezTo>
                  <a:cubicBezTo>
                    <a:pt x="9" y="14"/>
                    <a:pt x="9" y="13"/>
                    <a:pt x="9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1" y="11"/>
                    <a:pt x="11" y="10"/>
                    <a:pt x="11" y="10"/>
                  </a:cubicBezTo>
                  <a:cubicBezTo>
                    <a:pt x="11" y="10"/>
                    <a:pt x="12" y="10"/>
                    <a:pt x="13" y="9"/>
                  </a:cubicBezTo>
                  <a:cubicBezTo>
                    <a:pt x="13" y="8"/>
                    <a:pt x="13" y="7"/>
                    <a:pt x="1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3" y="6"/>
                    <a:pt x="13" y="5"/>
                  </a:cubicBezTo>
                  <a:cubicBezTo>
                    <a:pt x="14" y="4"/>
                    <a:pt x="14" y="3"/>
                    <a:pt x="13" y="3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2" y="2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37"/>
            <p:cNvSpPr>
              <a:spLocks/>
            </p:cNvSpPr>
            <p:nvPr/>
          </p:nvSpPr>
          <p:spPr bwMode="gray">
            <a:xfrm>
              <a:off x="8960150" y="4892995"/>
              <a:ext cx="15875" cy="6350"/>
            </a:xfrm>
            <a:custGeom>
              <a:avLst/>
              <a:gdLst>
                <a:gd name="T0" fmla="*/ 0 w 11"/>
                <a:gd name="T1" fmla="*/ 2 h 4"/>
                <a:gd name="T2" fmla="*/ 2 w 11"/>
                <a:gd name="T3" fmla="*/ 0 h 4"/>
                <a:gd name="T4" fmla="*/ 10 w 11"/>
                <a:gd name="T5" fmla="*/ 0 h 4"/>
                <a:gd name="T6" fmla="*/ 11 w 11"/>
                <a:gd name="T7" fmla="*/ 2 h 4"/>
                <a:gd name="T8" fmla="*/ 11 w 11"/>
                <a:gd name="T9" fmla="*/ 2 h 4"/>
                <a:gd name="T10" fmla="*/ 10 w 11"/>
                <a:gd name="T11" fmla="*/ 4 h 4"/>
                <a:gd name="T12" fmla="*/ 2 w 11"/>
                <a:gd name="T13" fmla="*/ 4 h 4"/>
                <a:gd name="T14" fmla="*/ 0 w 11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4"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1" y="1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0" y="4"/>
                    <a:pt x="10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38"/>
            <p:cNvSpPr>
              <a:spLocks/>
            </p:cNvSpPr>
            <p:nvPr/>
          </p:nvSpPr>
          <p:spPr bwMode="gray">
            <a:xfrm>
              <a:off x="8893475" y="4797745"/>
              <a:ext cx="77788" cy="115887"/>
            </a:xfrm>
            <a:custGeom>
              <a:avLst/>
              <a:gdLst>
                <a:gd name="T0" fmla="*/ 48 w 57"/>
                <a:gd name="T1" fmla="*/ 84 h 84"/>
                <a:gd name="T2" fmla="*/ 42 w 57"/>
                <a:gd name="T3" fmla="*/ 82 h 84"/>
                <a:gd name="T4" fmla="*/ 18 w 57"/>
                <a:gd name="T5" fmla="*/ 59 h 84"/>
                <a:gd name="T6" fmla="*/ 1 w 57"/>
                <a:gd name="T7" fmla="*/ 11 h 84"/>
                <a:gd name="T8" fmla="*/ 6 w 57"/>
                <a:gd name="T9" fmla="*/ 1 h 84"/>
                <a:gd name="T10" fmla="*/ 16 w 57"/>
                <a:gd name="T11" fmla="*/ 6 h 84"/>
                <a:gd name="T12" fmla="*/ 32 w 57"/>
                <a:gd name="T13" fmla="*/ 50 h 84"/>
                <a:gd name="T14" fmla="*/ 53 w 57"/>
                <a:gd name="T15" fmla="*/ 70 h 84"/>
                <a:gd name="T16" fmla="*/ 54 w 57"/>
                <a:gd name="T17" fmla="*/ 81 h 84"/>
                <a:gd name="T18" fmla="*/ 48 w 57"/>
                <a:gd name="T1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84">
                  <a:moveTo>
                    <a:pt x="48" y="84"/>
                  </a:moveTo>
                  <a:cubicBezTo>
                    <a:pt x="46" y="84"/>
                    <a:pt x="44" y="83"/>
                    <a:pt x="42" y="82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7"/>
                    <a:pt x="2" y="2"/>
                    <a:pt x="6" y="1"/>
                  </a:cubicBezTo>
                  <a:cubicBezTo>
                    <a:pt x="10" y="0"/>
                    <a:pt x="15" y="2"/>
                    <a:pt x="16" y="6"/>
                  </a:cubicBezTo>
                  <a:cubicBezTo>
                    <a:pt x="32" y="50"/>
                    <a:pt x="32" y="50"/>
                    <a:pt x="32" y="50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57" y="73"/>
                    <a:pt x="57" y="78"/>
                    <a:pt x="54" y="81"/>
                  </a:cubicBezTo>
                  <a:cubicBezTo>
                    <a:pt x="52" y="83"/>
                    <a:pt x="50" y="84"/>
                    <a:pt x="48" y="8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39"/>
            <p:cNvSpPr>
              <a:spLocks/>
            </p:cNvSpPr>
            <p:nvPr/>
          </p:nvSpPr>
          <p:spPr bwMode="gray">
            <a:xfrm>
              <a:off x="8893475" y="4799333"/>
              <a:ext cx="69850" cy="114300"/>
            </a:xfrm>
            <a:custGeom>
              <a:avLst/>
              <a:gdLst>
                <a:gd name="T0" fmla="*/ 48 w 51"/>
                <a:gd name="T1" fmla="*/ 76 h 82"/>
                <a:gd name="T2" fmla="*/ 23 w 51"/>
                <a:gd name="T3" fmla="*/ 53 h 82"/>
                <a:gd name="T4" fmla="*/ 5 w 51"/>
                <a:gd name="T5" fmla="*/ 2 h 82"/>
                <a:gd name="T6" fmla="*/ 4 w 51"/>
                <a:gd name="T7" fmla="*/ 0 h 82"/>
                <a:gd name="T8" fmla="*/ 1 w 51"/>
                <a:gd name="T9" fmla="*/ 9 h 82"/>
                <a:gd name="T10" fmla="*/ 18 w 51"/>
                <a:gd name="T11" fmla="*/ 57 h 82"/>
                <a:gd name="T12" fmla="*/ 42 w 51"/>
                <a:gd name="T13" fmla="*/ 80 h 82"/>
                <a:gd name="T14" fmla="*/ 48 w 51"/>
                <a:gd name="T15" fmla="*/ 82 h 82"/>
                <a:gd name="T16" fmla="*/ 51 w 51"/>
                <a:gd name="T17" fmla="*/ 81 h 82"/>
                <a:gd name="T18" fmla="*/ 48 w 51"/>
                <a:gd name="T19" fmla="*/ 76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82">
                  <a:moveTo>
                    <a:pt x="48" y="76"/>
                  </a:moveTo>
                  <a:cubicBezTo>
                    <a:pt x="23" y="53"/>
                    <a:pt x="23" y="53"/>
                    <a:pt x="23" y="53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1"/>
                    <a:pt x="5" y="1"/>
                    <a:pt x="4" y="0"/>
                  </a:cubicBezTo>
                  <a:cubicBezTo>
                    <a:pt x="1" y="2"/>
                    <a:pt x="0" y="6"/>
                    <a:pt x="1" y="9"/>
                  </a:cubicBezTo>
                  <a:cubicBezTo>
                    <a:pt x="18" y="57"/>
                    <a:pt x="18" y="57"/>
                    <a:pt x="18" y="57"/>
                  </a:cubicBezTo>
                  <a:cubicBezTo>
                    <a:pt x="42" y="80"/>
                    <a:pt x="42" y="80"/>
                    <a:pt x="42" y="80"/>
                  </a:cubicBezTo>
                  <a:cubicBezTo>
                    <a:pt x="44" y="81"/>
                    <a:pt x="46" y="82"/>
                    <a:pt x="48" y="82"/>
                  </a:cubicBezTo>
                  <a:cubicBezTo>
                    <a:pt x="49" y="82"/>
                    <a:pt x="50" y="82"/>
                    <a:pt x="51" y="81"/>
                  </a:cubicBezTo>
                  <a:cubicBezTo>
                    <a:pt x="51" y="79"/>
                    <a:pt x="50" y="78"/>
                    <a:pt x="48" y="76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40"/>
            <p:cNvSpPr>
              <a:spLocks/>
            </p:cNvSpPr>
            <p:nvPr/>
          </p:nvSpPr>
          <p:spPr bwMode="gray">
            <a:xfrm>
              <a:off x="8869662" y="4696145"/>
              <a:ext cx="73025" cy="73025"/>
            </a:xfrm>
            <a:custGeom>
              <a:avLst/>
              <a:gdLst>
                <a:gd name="T0" fmla="*/ 49 w 53"/>
                <a:gd name="T1" fmla="*/ 11 h 53"/>
                <a:gd name="T2" fmla="*/ 42 w 53"/>
                <a:gd name="T3" fmla="*/ 6 h 53"/>
                <a:gd name="T4" fmla="*/ 40 w 53"/>
                <a:gd name="T5" fmla="*/ 6 h 53"/>
                <a:gd name="T6" fmla="*/ 33 w 53"/>
                <a:gd name="T7" fmla="*/ 1 h 53"/>
                <a:gd name="T8" fmla="*/ 29 w 53"/>
                <a:gd name="T9" fmla="*/ 3 h 53"/>
                <a:gd name="T10" fmla="*/ 23 w 53"/>
                <a:gd name="T11" fmla="*/ 0 h 53"/>
                <a:gd name="T12" fmla="*/ 15 w 53"/>
                <a:gd name="T13" fmla="*/ 4 h 53"/>
                <a:gd name="T14" fmla="*/ 14 w 53"/>
                <a:gd name="T15" fmla="*/ 4 h 53"/>
                <a:gd name="T16" fmla="*/ 6 w 53"/>
                <a:gd name="T17" fmla="*/ 12 h 53"/>
                <a:gd name="T18" fmla="*/ 6 w 53"/>
                <a:gd name="T19" fmla="*/ 13 h 53"/>
                <a:gd name="T20" fmla="*/ 0 w 53"/>
                <a:gd name="T21" fmla="*/ 21 h 53"/>
                <a:gd name="T22" fmla="*/ 1 w 53"/>
                <a:gd name="T23" fmla="*/ 25 h 53"/>
                <a:gd name="T24" fmla="*/ 0 w 53"/>
                <a:gd name="T25" fmla="*/ 30 h 53"/>
                <a:gd name="T26" fmla="*/ 4 w 53"/>
                <a:gd name="T27" fmla="*/ 37 h 53"/>
                <a:gd name="T28" fmla="*/ 4 w 53"/>
                <a:gd name="T29" fmla="*/ 38 h 53"/>
                <a:gd name="T30" fmla="*/ 3 w 53"/>
                <a:gd name="T31" fmla="*/ 39 h 53"/>
                <a:gd name="T32" fmla="*/ 11 w 53"/>
                <a:gd name="T33" fmla="*/ 48 h 53"/>
                <a:gd name="T34" fmla="*/ 11 w 53"/>
                <a:gd name="T35" fmla="*/ 48 h 53"/>
                <a:gd name="T36" fmla="*/ 16 w 53"/>
                <a:gd name="T37" fmla="*/ 52 h 53"/>
                <a:gd name="T38" fmla="*/ 19 w 53"/>
                <a:gd name="T39" fmla="*/ 52 h 53"/>
                <a:gd name="T40" fmla="*/ 22 w 53"/>
                <a:gd name="T41" fmla="*/ 53 h 53"/>
                <a:gd name="T42" fmla="*/ 22 w 53"/>
                <a:gd name="T43" fmla="*/ 53 h 53"/>
                <a:gd name="T44" fmla="*/ 22 w 53"/>
                <a:gd name="T45" fmla="*/ 53 h 53"/>
                <a:gd name="T46" fmla="*/ 26 w 53"/>
                <a:gd name="T47" fmla="*/ 50 h 53"/>
                <a:gd name="T48" fmla="*/ 31 w 53"/>
                <a:gd name="T49" fmla="*/ 49 h 53"/>
                <a:gd name="T50" fmla="*/ 31 w 53"/>
                <a:gd name="T51" fmla="*/ 40 h 53"/>
                <a:gd name="T52" fmla="*/ 38 w 53"/>
                <a:gd name="T53" fmla="*/ 39 h 53"/>
                <a:gd name="T54" fmla="*/ 38 w 53"/>
                <a:gd name="T55" fmla="*/ 31 h 53"/>
                <a:gd name="T56" fmla="*/ 43 w 53"/>
                <a:gd name="T57" fmla="*/ 30 h 53"/>
                <a:gd name="T58" fmla="*/ 45 w 53"/>
                <a:gd name="T59" fmla="*/ 26 h 53"/>
                <a:gd name="T60" fmla="*/ 49 w 53"/>
                <a:gd name="T61" fmla="*/ 26 h 53"/>
                <a:gd name="T62" fmla="*/ 49 w 53"/>
                <a:gd name="T63" fmla="*/ 26 h 53"/>
                <a:gd name="T64" fmla="*/ 53 w 53"/>
                <a:gd name="T65" fmla="*/ 17 h 53"/>
                <a:gd name="T66" fmla="*/ 49 w 53"/>
                <a:gd name="T67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3" h="53">
                  <a:moveTo>
                    <a:pt x="49" y="11"/>
                  </a:moveTo>
                  <a:cubicBezTo>
                    <a:pt x="48" y="8"/>
                    <a:pt x="45" y="6"/>
                    <a:pt x="42" y="6"/>
                  </a:cubicBezTo>
                  <a:cubicBezTo>
                    <a:pt x="41" y="6"/>
                    <a:pt x="41" y="6"/>
                    <a:pt x="40" y="6"/>
                  </a:cubicBezTo>
                  <a:cubicBezTo>
                    <a:pt x="39" y="3"/>
                    <a:pt x="36" y="1"/>
                    <a:pt x="33" y="1"/>
                  </a:cubicBezTo>
                  <a:cubicBezTo>
                    <a:pt x="32" y="1"/>
                    <a:pt x="30" y="2"/>
                    <a:pt x="29" y="3"/>
                  </a:cubicBezTo>
                  <a:cubicBezTo>
                    <a:pt x="27" y="1"/>
                    <a:pt x="25" y="0"/>
                    <a:pt x="23" y="0"/>
                  </a:cubicBezTo>
                  <a:cubicBezTo>
                    <a:pt x="19" y="0"/>
                    <a:pt x="16" y="2"/>
                    <a:pt x="15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0" y="4"/>
                    <a:pt x="6" y="8"/>
                    <a:pt x="6" y="12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3" y="14"/>
                    <a:pt x="0" y="17"/>
                    <a:pt x="0" y="21"/>
                  </a:cubicBezTo>
                  <a:cubicBezTo>
                    <a:pt x="0" y="22"/>
                    <a:pt x="1" y="24"/>
                    <a:pt x="1" y="25"/>
                  </a:cubicBezTo>
                  <a:cubicBezTo>
                    <a:pt x="0" y="26"/>
                    <a:pt x="0" y="28"/>
                    <a:pt x="0" y="30"/>
                  </a:cubicBezTo>
                  <a:cubicBezTo>
                    <a:pt x="0" y="33"/>
                    <a:pt x="1" y="36"/>
                    <a:pt x="4" y="37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3" y="38"/>
                    <a:pt x="3" y="39"/>
                    <a:pt x="3" y="39"/>
                  </a:cubicBezTo>
                  <a:cubicBezTo>
                    <a:pt x="3" y="44"/>
                    <a:pt x="7" y="47"/>
                    <a:pt x="11" y="48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50"/>
                    <a:pt x="14" y="52"/>
                    <a:pt x="16" y="52"/>
                  </a:cubicBezTo>
                  <a:cubicBezTo>
                    <a:pt x="17" y="52"/>
                    <a:pt x="18" y="52"/>
                    <a:pt x="19" y="52"/>
                  </a:cubicBezTo>
                  <a:cubicBezTo>
                    <a:pt x="20" y="52"/>
                    <a:pt x="21" y="53"/>
                    <a:pt x="22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4" y="52"/>
                    <a:pt x="25" y="51"/>
                    <a:pt x="26" y="50"/>
                  </a:cubicBezTo>
                  <a:cubicBezTo>
                    <a:pt x="27" y="50"/>
                    <a:pt x="29" y="50"/>
                    <a:pt x="31" y="49"/>
                  </a:cubicBezTo>
                  <a:cubicBezTo>
                    <a:pt x="39" y="46"/>
                    <a:pt x="32" y="45"/>
                    <a:pt x="31" y="40"/>
                  </a:cubicBezTo>
                  <a:cubicBezTo>
                    <a:pt x="31" y="35"/>
                    <a:pt x="36" y="40"/>
                    <a:pt x="38" y="39"/>
                  </a:cubicBezTo>
                  <a:cubicBezTo>
                    <a:pt x="40" y="39"/>
                    <a:pt x="38" y="35"/>
                    <a:pt x="38" y="31"/>
                  </a:cubicBezTo>
                  <a:cubicBezTo>
                    <a:pt x="37" y="27"/>
                    <a:pt x="39" y="30"/>
                    <a:pt x="43" y="30"/>
                  </a:cubicBezTo>
                  <a:cubicBezTo>
                    <a:pt x="46" y="29"/>
                    <a:pt x="46" y="28"/>
                    <a:pt x="45" y="26"/>
                  </a:cubicBezTo>
                  <a:cubicBezTo>
                    <a:pt x="47" y="26"/>
                    <a:pt x="48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52" y="24"/>
                    <a:pt x="53" y="20"/>
                    <a:pt x="53" y="17"/>
                  </a:cubicBezTo>
                  <a:cubicBezTo>
                    <a:pt x="52" y="14"/>
                    <a:pt x="51" y="13"/>
                    <a:pt x="49" y="1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41"/>
            <p:cNvSpPr>
              <a:spLocks/>
            </p:cNvSpPr>
            <p:nvPr/>
          </p:nvSpPr>
          <p:spPr bwMode="gray">
            <a:xfrm>
              <a:off x="8861725" y="4683445"/>
              <a:ext cx="82550" cy="65087"/>
            </a:xfrm>
            <a:custGeom>
              <a:avLst/>
              <a:gdLst>
                <a:gd name="T0" fmla="*/ 60 w 60"/>
                <a:gd name="T1" fmla="*/ 26 h 47"/>
                <a:gd name="T2" fmla="*/ 59 w 60"/>
                <a:gd name="T3" fmla="*/ 21 h 47"/>
                <a:gd name="T4" fmla="*/ 22 w 60"/>
                <a:gd name="T5" fmla="*/ 6 h 47"/>
                <a:gd name="T6" fmla="*/ 6 w 60"/>
                <a:gd name="T7" fmla="*/ 43 h 47"/>
                <a:gd name="T8" fmla="*/ 8 w 60"/>
                <a:gd name="T9" fmla="*/ 47 h 47"/>
                <a:gd name="T10" fmla="*/ 60 w 60"/>
                <a:gd name="T11" fmla="*/ 2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47">
                  <a:moveTo>
                    <a:pt x="60" y="26"/>
                  </a:moveTo>
                  <a:cubicBezTo>
                    <a:pt x="60" y="24"/>
                    <a:pt x="59" y="23"/>
                    <a:pt x="59" y="21"/>
                  </a:cubicBezTo>
                  <a:cubicBezTo>
                    <a:pt x="53" y="7"/>
                    <a:pt x="36" y="0"/>
                    <a:pt x="22" y="6"/>
                  </a:cubicBezTo>
                  <a:cubicBezTo>
                    <a:pt x="7" y="12"/>
                    <a:pt x="0" y="29"/>
                    <a:pt x="6" y="43"/>
                  </a:cubicBezTo>
                  <a:cubicBezTo>
                    <a:pt x="7" y="44"/>
                    <a:pt x="7" y="46"/>
                    <a:pt x="8" y="47"/>
                  </a:cubicBezTo>
                  <a:lnTo>
                    <a:pt x="60" y="26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42"/>
            <p:cNvSpPr>
              <a:spLocks/>
            </p:cNvSpPr>
            <p:nvPr/>
          </p:nvSpPr>
          <p:spPr bwMode="gray">
            <a:xfrm>
              <a:off x="8885537" y="4683445"/>
              <a:ext cx="58738" cy="38100"/>
            </a:xfrm>
            <a:custGeom>
              <a:avLst/>
              <a:gdLst>
                <a:gd name="T0" fmla="*/ 34 w 42"/>
                <a:gd name="T1" fmla="*/ 24 h 28"/>
                <a:gd name="T2" fmla="*/ 35 w 42"/>
                <a:gd name="T3" fmla="*/ 28 h 28"/>
                <a:gd name="T4" fmla="*/ 42 w 42"/>
                <a:gd name="T5" fmla="*/ 26 h 28"/>
                <a:gd name="T6" fmla="*/ 41 w 42"/>
                <a:gd name="T7" fmla="*/ 21 h 28"/>
                <a:gd name="T8" fmla="*/ 4 w 42"/>
                <a:gd name="T9" fmla="*/ 6 h 28"/>
                <a:gd name="T10" fmla="*/ 0 w 42"/>
                <a:gd name="T11" fmla="*/ 8 h 28"/>
                <a:gd name="T12" fmla="*/ 34 w 42"/>
                <a:gd name="T13" fmla="*/ 2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28">
                  <a:moveTo>
                    <a:pt x="34" y="24"/>
                  </a:moveTo>
                  <a:cubicBezTo>
                    <a:pt x="34" y="26"/>
                    <a:pt x="34" y="27"/>
                    <a:pt x="35" y="28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2" y="24"/>
                    <a:pt x="41" y="23"/>
                    <a:pt x="41" y="21"/>
                  </a:cubicBezTo>
                  <a:cubicBezTo>
                    <a:pt x="35" y="7"/>
                    <a:pt x="18" y="0"/>
                    <a:pt x="4" y="6"/>
                  </a:cubicBezTo>
                  <a:cubicBezTo>
                    <a:pt x="2" y="7"/>
                    <a:pt x="1" y="7"/>
                    <a:pt x="0" y="8"/>
                  </a:cubicBezTo>
                  <a:cubicBezTo>
                    <a:pt x="14" y="4"/>
                    <a:pt x="28" y="11"/>
                    <a:pt x="34" y="24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43"/>
            <p:cNvSpPr>
              <a:spLocks/>
            </p:cNvSpPr>
            <p:nvPr/>
          </p:nvSpPr>
          <p:spPr bwMode="gray">
            <a:xfrm>
              <a:off x="8864900" y="4692970"/>
              <a:ext cx="26988" cy="55562"/>
            </a:xfrm>
            <a:custGeom>
              <a:avLst/>
              <a:gdLst>
                <a:gd name="T0" fmla="*/ 20 w 20"/>
                <a:gd name="T1" fmla="*/ 0 h 40"/>
                <a:gd name="T2" fmla="*/ 16 w 20"/>
                <a:gd name="T3" fmla="*/ 1 h 40"/>
                <a:gd name="T4" fmla="*/ 3 w 20"/>
                <a:gd name="T5" fmla="*/ 30 h 40"/>
                <a:gd name="T6" fmla="*/ 3 w 20"/>
                <a:gd name="T7" fmla="*/ 30 h 40"/>
                <a:gd name="T8" fmla="*/ 3 w 20"/>
                <a:gd name="T9" fmla="*/ 31 h 40"/>
                <a:gd name="T10" fmla="*/ 4 w 20"/>
                <a:gd name="T11" fmla="*/ 36 h 40"/>
                <a:gd name="T12" fmla="*/ 6 w 20"/>
                <a:gd name="T13" fmla="*/ 40 h 40"/>
                <a:gd name="T14" fmla="*/ 10 w 20"/>
                <a:gd name="T15" fmla="*/ 38 h 40"/>
                <a:gd name="T16" fmla="*/ 13 w 20"/>
                <a:gd name="T17" fmla="*/ 37 h 40"/>
                <a:gd name="T18" fmla="*/ 11 w 20"/>
                <a:gd name="T19" fmla="*/ 33 h 40"/>
                <a:gd name="T20" fmla="*/ 20 w 20"/>
                <a:gd name="T2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0">
                  <a:moveTo>
                    <a:pt x="20" y="0"/>
                  </a:moveTo>
                  <a:cubicBezTo>
                    <a:pt x="18" y="0"/>
                    <a:pt x="17" y="1"/>
                    <a:pt x="16" y="1"/>
                  </a:cubicBezTo>
                  <a:cubicBezTo>
                    <a:pt x="6" y="7"/>
                    <a:pt x="0" y="19"/>
                    <a:pt x="3" y="30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3" y="33"/>
                    <a:pt x="4" y="34"/>
                    <a:pt x="4" y="36"/>
                  </a:cubicBezTo>
                  <a:cubicBezTo>
                    <a:pt x="5" y="37"/>
                    <a:pt x="6" y="39"/>
                    <a:pt x="6" y="40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36"/>
                    <a:pt x="12" y="34"/>
                    <a:pt x="11" y="33"/>
                  </a:cubicBezTo>
                  <a:cubicBezTo>
                    <a:pt x="6" y="21"/>
                    <a:pt x="10" y="8"/>
                    <a:pt x="20" y="0"/>
                  </a:cubicBez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44"/>
            <p:cNvSpPr>
              <a:spLocks/>
            </p:cNvSpPr>
            <p:nvPr/>
          </p:nvSpPr>
          <p:spPr bwMode="gray">
            <a:xfrm>
              <a:off x="8864900" y="4708845"/>
              <a:ext cx="84138" cy="39687"/>
            </a:xfrm>
            <a:custGeom>
              <a:avLst/>
              <a:gdLst>
                <a:gd name="T0" fmla="*/ 58 w 61"/>
                <a:gd name="T1" fmla="*/ 0 h 29"/>
                <a:gd name="T2" fmla="*/ 1 w 61"/>
                <a:gd name="T3" fmla="*/ 23 h 29"/>
                <a:gd name="T4" fmla="*/ 1 w 61"/>
                <a:gd name="T5" fmla="*/ 27 h 29"/>
                <a:gd name="T6" fmla="*/ 3 w 61"/>
                <a:gd name="T7" fmla="*/ 29 h 29"/>
                <a:gd name="T8" fmla="*/ 61 w 61"/>
                <a:gd name="T9" fmla="*/ 5 h 29"/>
                <a:gd name="T10" fmla="*/ 61 w 61"/>
                <a:gd name="T11" fmla="*/ 2 h 29"/>
                <a:gd name="T12" fmla="*/ 58 w 61"/>
                <a:gd name="T13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29">
                  <a:moveTo>
                    <a:pt x="58" y="0"/>
                  </a:move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0" y="25"/>
                    <a:pt x="1" y="27"/>
                  </a:cubicBezTo>
                  <a:cubicBezTo>
                    <a:pt x="2" y="28"/>
                    <a:pt x="3" y="29"/>
                    <a:pt x="3" y="29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5"/>
                    <a:pt x="61" y="4"/>
                    <a:pt x="61" y="2"/>
                  </a:cubicBezTo>
                  <a:cubicBezTo>
                    <a:pt x="60" y="0"/>
                    <a:pt x="58" y="0"/>
                    <a:pt x="58" y="0"/>
                  </a:cubicBez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45"/>
            <p:cNvSpPr>
              <a:spLocks noEditPoints="1"/>
            </p:cNvSpPr>
            <p:nvPr/>
          </p:nvSpPr>
          <p:spPr bwMode="gray">
            <a:xfrm>
              <a:off x="8693450" y="5112070"/>
              <a:ext cx="246063" cy="301625"/>
            </a:xfrm>
            <a:custGeom>
              <a:avLst/>
              <a:gdLst>
                <a:gd name="T0" fmla="*/ 100 w 178"/>
                <a:gd name="T1" fmla="*/ 161 h 219"/>
                <a:gd name="T2" fmla="*/ 175 w 178"/>
                <a:gd name="T3" fmla="*/ 114 h 219"/>
                <a:gd name="T4" fmla="*/ 176 w 178"/>
                <a:gd name="T5" fmla="*/ 113 h 219"/>
                <a:gd name="T6" fmla="*/ 176 w 178"/>
                <a:gd name="T7" fmla="*/ 113 h 219"/>
                <a:gd name="T8" fmla="*/ 177 w 178"/>
                <a:gd name="T9" fmla="*/ 112 h 219"/>
                <a:gd name="T10" fmla="*/ 177 w 178"/>
                <a:gd name="T11" fmla="*/ 110 h 219"/>
                <a:gd name="T12" fmla="*/ 177 w 178"/>
                <a:gd name="T13" fmla="*/ 109 h 219"/>
                <a:gd name="T14" fmla="*/ 177 w 178"/>
                <a:gd name="T15" fmla="*/ 108 h 219"/>
                <a:gd name="T16" fmla="*/ 176 w 178"/>
                <a:gd name="T17" fmla="*/ 107 h 219"/>
                <a:gd name="T18" fmla="*/ 176 w 178"/>
                <a:gd name="T19" fmla="*/ 107 h 219"/>
                <a:gd name="T20" fmla="*/ 175 w 178"/>
                <a:gd name="T21" fmla="*/ 106 h 219"/>
                <a:gd name="T22" fmla="*/ 174 w 178"/>
                <a:gd name="T23" fmla="*/ 105 h 219"/>
                <a:gd name="T24" fmla="*/ 100 w 178"/>
                <a:gd name="T25" fmla="*/ 58 h 219"/>
                <a:gd name="T26" fmla="*/ 176 w 178"/>
                <a:gd name="T27" fmla="*/ 3 h 219"/>
                <a:gd name="T28" fmla="*/ 89 w 178"/>
                <a:gd name="T29" fmla="*/ 51 h 219"/>
                <a:gd name="T30" fmla="*/ 2 w 178"/>
                <a:gd name="T31" fmla="*/ 3 h 219"/>
                <a:gd name="T32" fmla="*/ 78 w 178"/>
                <a:gd name="T33" fmla="*/ 58 h 219"/>
                <a:gd name="T34" fmla="*/ 3 w 178"/>
                <a:gd name="T35" fmla="*/ 105 h 219"/>
                <a:gd name="T36" fmla="*/ 2 w 178"/>
                <a:gd name="T37" fmla="*/ 106 h 219"/>
                <a:gd name="T38" fmla="*/ 2 w 178"/>
                <a:gd name="T39" fmla="*/ 107 h 219"/>
                <a:gd name="T40" fmla="*/ 2 w 178"/>
                <a:gd name="T41" fmla="*/ 107 h 219"/>
                <a:gd name="T42" fmla="*/ 1 w 178"/>
                <a:gd name="T43" fmla="*/ 108 h 219"/>
                <a:gd name="T44" fmla="*/ 1 w 178"/>
                <a:gd name="T45" fmla="*/ 109 h 219"/>
                <a:gd name="T46" fmla="*/ 1 w 178"/>
                <a:gd name="T47" fmla="*/ 110 h 219"/>
                <a:gd name="T48" fmla="*/ 1 w 178"/>
                <a:gd name="T49" fmla="*/ 112 h 219"/>
                <a:gd name="T50" fmla="*/ 1 w 178"/>
                <a:gd name="T51" fmla="*/ 113 h 219"/>
                <a:gd name="T52" fmla="*/ 2 w 178"/>
                <a:gd name="T53" fmla="*/ 113 h 219"/>
                <a:gd name="T54" fmla="*/ 3 w 178"/>
                <a:gd name="T55" fmla="*/ 114 h 219"/>
                <a:gd name="T56" fmla="*/ 78 w 178"/>
                <a:gd name="T57" fmla="*/ 161 h 219"/>
                <a:gd name="T58" fmla="*/ 2 w 178"/>
                <a:gd name="T59" fmla="*/ 216 h 219"/>
                <a:gd name="T60" fmla="*/ 10 w 178"/>
                <a:gd name="T61" fmla="*/ 218 h 219"/>
                <a:gd name="T62" fmla="*/ 168 w 178"/>
                <a:gd name="T63" fmla="*/ 218 h 219"/>
                <a:gd name="T64" fmla="*/ 176 w 178"/>
                <a:gd name="T65" fmla="*/ 216 h 219"/>
                <a:gd name="T66" fmla="*/ 18 w 178"/>
                <a:gd name="T67" fmla="*/ 110 h 219"/>
                <a:gd name="T68" fmla="*/ 160 w 178"/>
                <a:gd name="T69" fmla="*/ 110 h 219"/>
                <a:gd name="T70" fmla="*/ 18 w 178"/>
                <a:gd name="T71" fmla="*/ 11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78" h="219">
                  <a:moveTo>
                    <a:pt x="174" y="208"/>
                  </a:moveTo>
                  <a:cubicBezTo>
                    <a:pt x="100" y="161"/>
                    <a:pt x="100" y="161"/>
                    <a:pt x="100" y="161"/>
                  </a:cubicBezTo>
                  <a:cubicBezTo>
                    <a:pt x="174" y="115"/>
                    <a:pt x="174" y="115"/>
                    <a:pt x="174" y="115"/>
                  </a:cubicBezTo>
                  <a:cubicBezTo>
                    <a:pt x="175" y="114"/>
                    <a:pt x="175" y="114"/>
                    <a:pt x="175" y="114"/>
                  </a:cubicBezTo>
                  <a:cubicBezTo>
                    <a:pt x="175" y="114"/>
                    <a:pt x="175" y="114"/>
                    <a:pt x="175" y="114"/>
                  </a:cubicBezTo>
                  <a:cubicBezTo>
                    <a:pt x="175" y="114"/>
                    <a:pt x="176" y="114"/>
                    <a:pt x="176" y="113"/>
                  </a:cubicBezTo>
                  <a:cubicBezTo>
                    <a:pt x="176" y="113"/>
                    <a:pt x="176" y="113"/>
                    <a:pt x="176" y="113"/>
                  </a:cubicBezTo>
                  <a:cubicBezTo>
                    <a:pt x="176" y="113"/>
                    <a:pt x="176" y="113"/>
                    <a:pt x="176" y="113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77" y="111"/>
                    <a:pt x="177" y="111"/>
                    <a:pt x="177" y="111"/>
                  </a:cubicBezTo>
                  <a:cubicBezTo>
                    <a:pt x="177" y="110"/>
                    <a:pt x="177" y="110"/>
                    <a:pt x="177" y="110"/>
                  </a:cubicBezTo>
                  <a:cubicBezTo>
                    <a:pt x="177" y="110"/>
                    <a:pt x="177" y="110"/>
                    <a:pt x="177" y="110"/>
                  </a:cubicBezTo>
                  <a:cubicBezTo>
                    <a:pt x="177" y="109"/>
                    <a:pt x="177" y="109"/>
                    <a:pt x="177" y="109"/>
                  </a:cubicBezTo>
                  <a:cubicBezTo>
                    <a:pt x="177" y="109"/>
                    <a:pt x="177" y="109"/>
                    <a:pt x="177" y="109"/>
                  </a:cubicBezTo>
                  <a:cubicBezTo>
                    <a:pt x="177" y="108"/>
                    <a:pt x="177" y="108"/>
                    <a:pt x="177" y="108"/>
                  </a:cubicBezTo>
                  <a:cubicBezTo>
                    <a:pt x="177" y="108"/>
                    <a:pt x="177" y="108"/>
                    <a:pt x="177" y="108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6"/>
                    <a:pt x="176" y="106"/>
                    <a:pt x="176" y="106"/>
                  </a:cubicBezTo>
                  <a:cubicBezTo>
                    <a:pt x="175" y="106"/>
                    <a:pt x="175" y="106"/>
                    <a:pt x="175" y="106"/>
                  </a:cubicBezTo>
                  <a:cubicBezTo>
                    <a:pt x="175" y="105"/>
                    <a:pt x="175" y="105"/>
                    <a:pt x="175" y="105"/>
                  </a:cubicBezTo>
                  <a:cubicBezTo>
                    <a:pt x="174" y="105"/>
                    <a:pt x="174" y="105"/>
                    <a:pt x="174" y="105"/>
                  </a:cubicBezTo>
                  <a:cubicBezTo>
                    <a:pt x="174" y="105"/>
                    <a:pt x="174" y="105"/>
                    <a:pt x="174" y="105"/>
                  </a:cubicBezTo>
                  <a:cubicBezTo>
                    <a:pt x="100" y="58"/>
                    <a:pt x="100" y="58"/>
                    <a:pt x="100" y="58"/>
                  </a:cubicBezTo>
                  <a:cubicBezTo>
                    <a:pt x="174" y="12"/>
                    <a:pt x="174" y="12"/>
                    <a:pt x="174" y="12"/>
                  </a:cubicBezTo>
                  <a:cubicBezTo>
                    <a:pt x="177" y="10"/>
                    <a:pt x="178" y="6"/>
                    <a:pt x="176" y="3"/>
                  </a:cubicBezTo>
                  <a:cubicBezTo>
                    <a:pt x="174" y="1"/>
                    <a:pt x="171" y="0"/>
                    <a:pt x="168" y="2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7" y="0"/>
                    <a:pt x="3" y="1"/>
                    <a:pt x="2" y="3"/>
                  </a:cubicBezTo>
                  <a:cubicBezTo>
                    <a:pt x="0" y="6"/>
                    <a:pt x="1" y="10"/>
                    <a:pt x="4" y="12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4" y="105"/>
                    <a:pt x="4" y="105"/>
                    <a:pt x="4" y="105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11"/>
                    <a:pt x="1" y="111"/>
                    <a:pt x="1" y="111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1" y="113"/>
                    <a:pt x="1" y="113"/>
                    <a:pt x="1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4"/>
                    <a:pt x="2" y="114"/>
                    <a:pt x="3" y="114"/>
                  </a:cubicBezTo>
                  <a:cubicBezTo>
                    <a:pt x="3" y="114"/>
                    <a:pt x="3" y="114"/>
                    <a:pt x="3" y="114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78" y="161"/>
                    <a:pt x="78" y="161"/>
                    <a:pt x="78" y="161"/>
                  </a:cubicBezTo>
                  <a:cubicBezTo>
                    <a:pt x="4" y="208"/>
                    <a:pt x="4" y="208"/>
                    <a:pt x="4" y="208"/>
                  </a:cubicBezTo>
                  <a:cubicBezTo>
                    <a:pt x="1" y="210"/>
                    <a:pt x="0" y="213"/>
                    <a:pt x="2" y="216"/>
                  </a:cubicBezTo>
                  <a:cubicBezTo>
                    <a:pt x="3" y="218"/>
                    <a:pt x="5" y="219"/>
                    <a:pt x="7" y="219"/>
                  </a:cubicBezTo>
                  <a:cubicBezTo>
                    <a:pt x="8" y="219"/>
                    <a:pt x="9" y="219"/>
                    <a:pt x="10" y="218"/>
                  </a:cubicBezTo>
                  <a:cubicBezTo>
                    <a:pt x="89" y="169"/>
                    <a:pt x="89" y="169"/>
                    <a:pt x="89" y="169"/>
                  </a:cubicBezTo>
                  <a:cubicBezTo>
                    <a:pt x="168" y="218"/>
                    <a:pt x="168" y="218"/>
                    <a:pt x="168" y="218"/>
                  </a:cubicBezTo>
                  <a:cubicBezTo>
                    <a:pt x="169" y="219"/>
                    <a:pt x="170" y="219"/>
                    <a:pt x="171" y="219"/>
                  </a:cubicBezTo>
                  <a:cubicBezTo>
                    <a:pt x="173" y="219"/>
                    <a:pt x="175" y="218"/>
                    <a:pt x="176" y="216"/>
                  </a:cubicBezTo>
                  <a:cubicBezTo>
                    <a:pt x="178" y="213"/>
                    <a:pt x="177" y="210"/>
                    <a:pt x="174" y="208"/>
                  </a:cubicBezTo>
                  <a:close/>
                  <a:moveTo>
                    <a:pt x="18" y="110"/>
                  </a:moveTo>
                  <a:cubicBezTo>
                    <a:pt x="89" y="65"/>
                    <a:pt x="89" y="65"/>
                    <a:pt x="89" y="65"/>
                  </a:cubicBezTo>
                  <a:cubicBezTo>
                    <a:pt x="160" y="110"/>
                    <a:pt x="160" y="110"/>
                    <a:pt x="160" y="110"/>
                  </a:cubicBezTo>
                  <a:cubicBezTo>
                    <a:pt x="89" y="154"/>
                    <a:pt x="89" y="154"/>
                    <a:pt x="89" y="154"/>
                  </a:cubicBezTo>
                  <a:lnTo>
                    <a:pt x="18" y="11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46"/>
            <p:cNvSpPr>
              <a:spLocks/>
            </p:cNvSpPr>
            <p:nvPr/>
          </p:nvSpPr>
          <p:spPr bwMode="gray">
            <a:xfrm>
              <a:off x="8642650" y="5386708"/>
              <a:ext cx="346075" cy="112712"/>
            </a:xfrm>
            <a:custGeom>
              <a:avLst/>
              <a:gdLst>
                <a:gd name="T0" fmla="*/ 250 w 250"/>
                <a:gd name="T1" fmla="*/ 72 h 81"/>
                <a:gd name="T2" fmla="*/ 241 w 250"/>
                <a:gd name="T3" fmla="*/ 81 h 81"/>
                <a:gd name="T4" fmla="*/ 9 w 250"/>
                <a:gd name="T5" fmla="*/ 81 h 81"/>
                <a:gd name="T6" fmla="*/ 0 w 250"/>
                <a:gd name="T7" fmla="*/ 72 h 81"/>
                <a:gd name="T8" fmla="*/ 0 w 250"/>
                <a:gd name="T9" fmla="*/ 9 h 81"/>
                <a:gd name="T10" fmla="*/ 9 w 250"/>
                <a:gd name="T11" fmla="*/ 0 h 81"/>
                <a:gd name="T12" fmla="*/ 241 w 250"/>
                <a:gd name="T13" fmla="*/ 0 h 81"/>
                <a:gd name="T14" fmla="*/ 250 w 250"/>
                <a:gd name="T15" fmla="*/ 9 h 81"/>
                <a:gd name="T16" fmla="*/ 250 w 250"/>
                <a:gd name="T17" fmla="*/ 7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81">
                  <a:moveTo>
                    <a:pt x="250" y="72"/>
                  </a:moveTo>
                  <a:cubicBezTo>
                    <a:pt x="250" y="77"/>
                    <a:pt x="246" y="81"/>
                    <a:pt x="241" y="81"/>
                  </a:cubicBezTo>
                  <a:cubicBezTo>
                    <a:pt x="9" y="81"/>
                    <a:pt x="9" y="81"/>
                    <a:pt x="9" y="81"/>
                  </a:cubicBezTo>
                  <a:cubicBezTo>
                    <a:pt x="4" y="81"/>
                    <a:pt x="0" y="77"/>
                    <a:pt x="0" y="72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lnTo>
                    <a:pt x="250" y="7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47"/>
            <p:cNvSpPr>
              <a:spLocks/>
            </p:cNvSpPr>
            <p:nvPr/>
          </p:nvSpPr>
          <p:spPr bwMode="gray">
            <a:xfrm>
              <a:off x="8642650" y="5405758"/>
              <a:ext cx="327025" cy="93662"/>
            </a:xfrm>
            <a:custGeom>
              <a:avLst/>
              <a:gdLst>
                <a:gd name="T0" fmla="*/ 22 w 236"/>
                <a:gd name="T1" fmla="*/ 55 h 68"/>
                <a:gd name="T2" fmla="*/ 14 w 236"/>
                <a:gd name="T3" fmla="*/ 46 h 68"/>
                <a:gd name="T4" fmla="*/ 14 w 236"/>
                <a:gd name="T5" fmla="*/ 0 h 68"/>
                <a:gd name="T6" fmla="*/ 0 w 236"/>
                <a:gd name="T7" fmla="*/ 0 h 68"/>
                <a:gd name="T8" fmla="*/ 0 w 236"/>
                <a:gd name="T9" fmla="*/ 59 h 68"/>
                <a:gd name="T10" fmla="*/ 9 w 236"/>
                <a:gd name="T11" fmla="*/ 68 h 68"/>
                <a:gd name="T12" fmla="*/ 236 w 236"/>
                <a:gd name="T13" fmla="*/ 68 h 68"/>
                <a:gd name="T14" fmla="*/ 236 w 236"/>
                <a:gd name="T15" fmla="*/ 55 h 68"/>
                <a:gd name="T16" fmla="*/ 22 w 236"/>
                <a:gd name="T17" fmla="*/ 55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6" h="68">
                  <a:moveTo>
                    <a:pt x="22" y="55"/>
                  </a:moveTo>
                  <a:cubicBezTo>
                    <a:pt x="17" y="55"/>
                    <a:pt x="14" y="51"/>
                    <a:pt x="14" y="46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64"/>
                    <a:pt x="4" y="68"/>
                    <a:pt x="9" y="68"/>
                  </a:cubicBezTo>
                  <a:cubicBezTo>
                    <a:pt x="236" y="68"/>
                    <a:pt x="236" y="68"/>
                    <a:pt x="236" y="68"/>
                  </a:cubicBezTo>
                  <a:cubicBezTo>
                    <a:pt x="236" y="55"/>
                    <a:pt x="236" y="55"/>
                    <a:pt x="236" y="55"/>
                  </a:cubicBezTo>
                  <a:lnTo>
                    <a:pt x="22" y="55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48"/>
            <p:cNvSpPr>
              <a:spLocks/>
            </p:cNvSpPr>
            <p:nvPr/>
          </p:nvSpPr>
          <p:spPr bwMode="gray">
            <a:xfrm>
              <a:off x="8642650" y="5386708"/>
              <a:ext cx="346075" cy="112712"/>
            </a:xfrm>
            <a:custGeom>
              <a:avLst/>
              <a:gdLst>
                <a:gd name="T0" fmla="*/ 241 w 250"/>
                <a:gd name="T1" fmla="*/ 81 h 81"/>
                <a:gd name="T2" fmla="*/ 236 w 250"/>
                <a:gd name="T3" fmla="*/ 81 h 81"/>
                <a:gd name="T4" fmla="*/ 236 w 250"/>
                <a:gd name="T5" fmla="*/ 22 h 81"/>
                <a:gd name="T6" fmla="*/ 228 w 250"/>
                <a:gd name="T7" fmla="*/ 13 h 81"/>
                <a:gd name="T8" fmla="*/ 0 w 250"/>
                <a:gd name="T9" fmla="*/ 13 h 81"/>
                <a:gd name="T10" fmla="*/ 0 w 250"/>
                <a:gd name="T11" fmla="*/ 9 h 81"/>
                <a:gd name="T12" fmla="*/ 9 w 250"/>
                <a:gd name="T13" fmla="*/ 0 h 81"/>
                <a:gd name="T14" fmla="*/ 241 w 250"/>
                <a:gd name="T15" fmla="*/ 0 h 81"/>
                <a:gd name="T16" fmla="*/ 250 w 250"/>
                <a:gd name="T17" fmla="*/ 9 h 81"/>
                <a:gd name="T18" fmla="*/ 250 w 250"/>
                <a:gd name="T19" fmla="*/ 72 h 81"/>
                <a:gd name="T20" fmla="*/ 241 w 250"/>
                <a:gd name="T21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" h="81">
                  <a:moveTo>
                    <a:pt x="241" y="81"/>
                  </a:moveTo>
                  <a:cubicBezTo>
                    <a:pt x="236" y="81"/>
                    <a:pt x="236" y="81"/>
                    <a:pt x="236" y="81"/>
                  </a:cubicBezTo>
                  <a:cubicBezTo>
                    <a:pt x="236" y="22"/>
                    <a:pt x="236" y="22"/>
                    <a:pt x="236" y="22"/>
                  </a:cubicBezTo>
                  <a:cubicBezTo>
                    <a:pt x="236" y="17"/>
                    <a:pt x="232" y="13"/>
                    <a:pt x="228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cubicBezTo>
                    <a:pt x="250" y="72"/>
                    <a:pt x="250" y="72"/>
                    <a:pt x="250" y="72"/>
                  </a:cubicBezTo>
                  <a:cubicBezTo>
                    <a:pt x="250" y="77"/>
                    <a:pt x="246" y="81"/>
                    <a:pt x="241" y="8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Oval 49"/>
            <p:cNvSpPr>
              <a:spLocks noChangeArrowheads="1"/>
            </p:cNvSpPr>
            <p:nvPr/>
          </p:nvSpPr>
          <p:spPr bwMode="gray">
            <a:xfrm>
              <a:off x="8674400" y="5454970"/>
              <a:ext cx="87313" cy="873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Oval 50"/>
            <p:cNvSpPr>
              <a:spLocks noChangeArrowheads="1"/>
            </p:cNvSpPr>
            <p:nvPr/>
          </p:nvSpPr>
          <p:spPr bwMode="gray">
            <a:xfrm>
              <a:off x="8693450" y="5474020"/>
              <a:ext cx="49213" cy="49212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51"/>
            <p:cNvSpPr>
              <a:spLocks/>
            </p:cNvSpPr>
            <p:nvPr/>
          </p:nvSpPr>
          <p:spPr bwMode="gray">
            <a:xfrm>
              <a:off x="8693450" y="5480370"/>
              <a:ext cx="42863" cy="42862"/>
            </a:xfrm>
            <a:custGeom>
              <a:avLst/>
              <a:gdLst>
                <a:gd name="T0" fmla="*/ 18 w 31"/>
                <a:gd name="T1" fmla="*/ 31 h 31"/>
                <a:gd name="T2" fmla="*/ 31 w 31"/>
                <a:gd name="T3" fmla="*/ 26 h 31"/>
                <a:gd name="T4" fmla="*/ 6 w 31"/>
                <a:gd name="T5" fmla="*/ 0 h 31"/>
                <a:gd name="T6" fmla="*/ 0 w 31"/>
                <a:gd name="T7" fmla="*/ 13 h 31"/>
                <a:gd name="T8" fmla="*/ 18 w 31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18" y="31"/>
                  </a:moveTo>
                  <a:cubicBezTo>
                    <a:pt x="23" y="31"/>
                    <a:pt x="28" y="29"/>
                    <a:pt x="31" y="2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4"/>
                    <a:pt x="0" y="8"/>
                    <a:pt x="0" y="13"/>
                  </a:cubicBezTo>
                  <a:cubicBezTo>
                    <a:pt x="0" y="23"/>
                    <a:pt x="8" y="31"/>
                    <a:pt x="18" y="3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Oval 52"/>
            <p:cNvSpPr>
              <a:spLocks noChangeArrowheads="1"/>
            </p:cNvSpPr>
            <p:nvPr/>
          </p:nvSpPr>
          <p:spPr bwMode="gray">
            <a:xfrm>
              <a:off x="8869662" y="5454970"/>
              <a:ext cx="87313" cy="873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Oval 53"/>
            <p:cNvSpPr>
              <a:spLocks noChangeArrowheads="1"/>
            </p:cNvSpPr>
            <p:nvPr/>
          </p:nvSpPr>
          <p:spPr bwMode="gray">
            <a:xfrm>
              <a:off x="8887125" y="5474020"/>
              <a:ext cx="50800" cy="49212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54"/>
            <p:cNvSpPr>
              <a:spLocks/>
            </p:cNvSpPr>
            <p:nvPr/>
          </p:nvSpPr>
          <p:spPr bwMode="gray">
            <a:xfrm>
              <a:off x="8887125" y="5480370"/>
              <a:ext cx="42863" cy="42862"/>
            </a:xfrm>
            <a:custGeom>
              <a:avLst/>
              <a:gdLst>
                <a:gd name="T0" fmla="*/ 18 w 31"/>
                <a:gd name="T1" fmla="*/ 31 h 31"/>
                <a:gd name="T2" fmla="*/ 31 w 31"/>
                <a:gd name="T3" fmla="*/ 26 h 31"/>
                <a:gd name="T4" fmla="*/ 6 w 31"/>
                <a:gd name="T5" fmla="*/ 0 h 31"/>
                <a:gd name="T6" fmla="*/ 0 w 31"/>
                <a:gd name="T7" fmla="*/ 13 h 31"/>
                <a:gd name="T8" fmla="*/ 18 w 31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18" y="31"/>
                  </a:moveTo>
                  <a:cubicBezTo>
                    <a:pt x="23" y="31"/>
                    <a:pt x="28" y="29"/>
                    <a:pt x="31" y="2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4"/>
                    <a:pt x="0" y="8"/>
                    <a:pt x="0" y="13"/>
                  </a:cubicBezTo>
                  <a:cubicBezTo>
                    <a:pt x="0" y="23"/>
                    <a:pt x="8" y="31"/>
                    <a:pt x="18" y="3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55"/>
            <p:cNvSpPr>
              <a:spLocks noEditPoints="1"/>
            </p:cNvSpPr>
            <p:nvPr/>
          </p:nvSpPr>
          <p:spPr bwMode="gray">
            <a:xfrm>
              <a:off x="8631537" y="4907283"/>
              <a:ext cx="368300" cy="223837"/>
            </a:xfrm>
            <a:custGeom>
              <a:avLst/>
              <a:gdLst>
                <a:gd name="T0" fmla="*/ 258 w 266"/>
                <a:gd name="T1" fmla="*/ 0 h 163"/>
                <a:gd name="T2" fmla="*/ 8 w 266"/>
                <a:gd name="T3" fmla="*/ 0 h 163"/>
                <a:gd name="T4" fmla="*/ 0 w 266"/>
                <a:gd name="T5" fmla="*/ 8 h 163"/>
                <a:gd name="T6" fmla="*/ 8 w 266"/>
                <a:gd name="T7" fmla="*/ 16 h 163"/>
                <a:gd name="T8" fmla="*/ 23 w 266"/>
                <a:gd name="T9" fmla="*/ 16 h 163"/>
                <a:gd name="T10" fmla="*/ 23 w 266"/>
                <a:gd name="T11" fmla="*/ 102 h 163"/>
                <a:gd name="T12" fmla="*/ 17 w 266"/>
                <a:gd name="T13" fmla="*/ 102 h 163"/>
                <a:gd name="T14" fmla="*/ 8 w 266"/>
                <a:gd name="T15" fmla="*/ 111 h 163"/>
                <a:gd name="T16" fmla="*/ 8 w 266"/>
                <a:gd name="T17" fmla="*/ 155 h 163"/>
                <a:gd name="T18" fmla="*/ 17 w 266"/>
                <a:gd name="T19" fmla="*/ 163 h 163"/>
                <a:gd name="T20" fmla="*/ 249 w 266"/>
                <a:gd name="T21" fmla="*/ 163 h 163"/>
                <a:gd name="T22" fmla="*/ 258 w 266"/>
                <a:gd name="T23" fmla="*/ 155 h 163"/>
                <a:gd name="T24" fmla="*/ 258 w 266"/>
                <a:gd name="T25" fmla="*/ 111 h 163"/>
                <a:gd name="T26" fmla="*/ 249 w 266"/>
                <a:gd name="T27" fmla="*/ 102 h 163"/>
                <a:gd name="T28" fmla="*/ 243 w 266"/>
                <a:gd name="T29" fmla="*/ 102 h 163"/>
                <a:gd name="T30" fmla="*/ 243 w 266"/>
                <a:gd name="T31" fmla="*/ 16 h 163"/>
                <a:gd name="T32" fmla="*/ 258 w 266"/>
                <a:gd name="T33" fmla="*/ 16 h 163"/>
                <a:gd name="T34" fmla="*/ 266 w 266"/>
                <a:gd name="T35" fmla="*/ 8 h 163"/>
                <a:gd name="T36" fmla="*/ 258 w 266"/>
                <a:gd name="T37" fmla="*/ 0 h 163"/>
                <a:gd name="T38" fmla="*/ 189 w 266"/>
                <a:gd name="T39" fmla="*/ 16 h 163"/>
                <a:gd name="T40" fmla="*/ 189 w 266"/>
                <a:gd name="T41" fmla="*/ 102 h 163"/>
                <a:gd name="T42" fmla="*/ 160 w 266"/>
                <a:gd name="T43" fmla="*/ 102 h 163"/>
                <a:gd name="T44" fmla="*/ 160 w 266"/>
                <a:gd name="T45" fmla="*/ 16 h 163"/>
                <a:gd name="T46" fmla="*/ 189 w 266"/>
                <a:gd name="T47" fmla="*/ 16 h 163"/>
                <a:gd name="T48" fmla="*/ 148 w 266"/>
                <a:gd name="T49" fmla="*/ 16 h 163"/>
                <a:gd name="T50" fmla="*/ 148 w 266"/>
                <a:gd name="T51" fmla="*/ 102 h 163"/>
                <a:gd name="T52" fmla="*/ 118 w 266"/>
                <a:gd name="T53" fmla="*/ 102 h 163"/>
                <a:gd name="T54" fmla="*/ 118 w 266"/>
                <a:gd name="T55" fmla="*/ 16 h 163"/>
                <a:gd name="T56" fmla="*/ 148 w 266"/>
                <a:gd name="T57" fmla="*/ 16 h 163"/>
                <a:gd name="T58" fmla="*/ 106 w 266"/>
                <a:gd name="T59" fmla="*/ 16 h 163"/>
                <a:gd name="T60" fmla="*/ 106 w 266"/>
                <a:gd name="T61" fmla="*/ 102 h 163"/>
                <a:gd name="T62" fmla="*/ 77 w 266"/>
                <a:gd name="T63" fmla="*/ 102 h 163"/>
                <a:gd name="T64" fmla="*/ 77 w 266"/>
                <a:gd name="T65" fmla="*/ 16 h 163"/>
                <a:gd name="T66" fmla="*/ 106 w 266"/>
                <a:gd name="T67" fmla="*/ 16 h 163"/>
                <a:gd name="T68" fmla="*/ 35 w 266"/>
                <a:gd name="T69" fmla="*/ 16 h 163"/>
                <a:gd name="T70" fmla="*/ 65 w 266"/>
                <a:gd name="T71" fmla="*/ 16 h 163"/>
                <a:gd name="T72" fmla="*/ 65 w 266"/>
                <a:gd name="T73" fmla="*/ 102 h 163"/>
                <a:gd name="T74" fmla="*/ 35 w 266"/>
                <a:gd name="T75" fmla="*/ 102 h 163"/>
                <a:gd name="T76" fmla="*/ 35 w 266"/>
                <a:gd name="T77" fmla="*/ 16 h 163"/>
                <a:gd name="T78" fmla="*/ 201 w 266"/>
                <a:gd name="T79" fmla="*/ 102 h 163"/>
                <a:gd name="T80" fmla="*/ 201 w 266"/>
                <a:gd name="T81" fmla="*/ 16 h 163"/>
                <a:gd name="T82" fmla="*/ 231 w 266"/>
                <a:gd name="T83" fmla="*/ 16 h 163"/>
                <a:gd name="T84" fmla="*/ 231 w 266"/>
                <a:gd name="T85" fmla="*/ 102 h 163"/>
                <a:gd name="T86" fmla="*/ 201 w 266"/>
                <a:gd name="T87" fmla="*/ 102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66" h="163">
                  <a:moveTo>
                    <a:pt x="25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3"/>
                    <a:pt x="4" y="16"/>
                    <a:pt x="8" y="16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3" y="102"/>
                    <a:pt x="23" y="102"/>
                    <a:pt x="23" y="102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2" y="102"/>
                    <a:pt x="8" y="106"/>
                    <a:pt x="8" y="111"/>
                  </a:cubicBezTo>
                  <a:cubicBezTo>
                    <a:pt x="8" y="155"/>
                    <a:pt x="8" y="155"/>
                    <a:pt x="8" y="155"/>
                  </a:cubicBezTo>
                  <a:cubicBezTo>
                    <a:pt x="8" y="160"/>
                    <a:pt x="12" y="163"/>
                    <a:pt x="17" y="163"/>
                  </a:cubicBezTo>
                  <a:cubicBezTo>
                    <a:pt x="249" y="163"/>
                    <a:pt x="249" y="163"/>
                    <a:pt x="249" y="163"/>
                  </a:cubicBezTo>
                  <a:cubicBezTo>
                    <a:pt x="254" y="163"/>
                    <a:pt x="258" y="160"/>
                    <a:pt x="258" y="155"/>
                  </a:cubicBezTo>
                  <a:cubicBezTo>
                    <a:pt x="258" y="111"/>
                    <a:pt x="258" y="111"/>
                    <a:pt x="258" y="111"/>
                  </a:cubicBezTo>
                  <a:cubicBezTo>
                    <a:pt x="258" y="106"/>
                    <a:pt x="254" y="102"/>
                    <a:pt x="249" y="102"/>
                  </a:cubicBezTo>
                  <a:cubicBezTo>
                    <a:pt x="243" y="102"/>
                    <a:pt x="243" y="102"/>
                    <a:pt x="243" y="102"/>
                  </a:cubicBezTo>
                  <a:cubicBezTo>
                    <a:pt x="243" y="16"/>
                    <a:pt x="243" y="16"/>
                    <a:pt x="243" y="16"/>
                  </a:cubicBezTo>
                  <a:cubicBezTo>
                    <a:pt x="258" y="16"/>
                    <a:pt x="258" y="16"/>
                    <a:pt x="258" y="16"/>
                  </a:cubicBezTo>
                  <a:cubicBezTo>
                    <a:pt x="262" y="16"/>
                    <a:pt x="266" y="13"/>
                    <a:pt x="266" y="8"/>
                  </a:cubicBezTo>
                  <a:cubicBezTo>
                    <a:pt x="266" y="4"/>
                    <a:pt x="262" y="0"/>
                    <a:pt x="258" y="0"/>
                  </a:cubicBezTo>
                  <a:close/>
                  <a:moveTo>
                    <a:pt x="189" y="16"/>
                  </a:moveTo>
                  <a:cubicBezTo>
                    <a:pt x="189" y="102"/>
                    <a:pt x="189" y="102"/>
                    <a:pt x="189" y="102"/>
                  </a:cubicBezTo>
                  <a:cubicBezTo>
                    <a:pt x="160" y="102"/>
                    <a:pt x="160" y="102"/>
                    <a:pt x="160" y="102"/>
                  </a:cubicBezTo>
                  <a:cubicBezTo>
                    <a:pt x="160" y="16"/>
                    <a:pt x="160" y="16"/>
                    <a:pt x="160" y="16"/>
                  </a:cubicBezTo>
                  <a:lnTo>
                    <a:pt x="189" y="16"/>
                  </a:lnTo>
                  <a:close/>
                  <a:moveTo>
                    <a:pt x="148" y="16"/>
                  </a:moveTo>
                  <a:cubicBezTo>
                    <a:pt x="148" y="102"/>
                    <a:pt x="148" y="102"/>
                    <a:pt x="148" y="102"/>
                  </a:cubicBezTo>
                  <a:cubicBezTo>
                    <a:pt x="118" y="102"/>
                    <a:pt x="118" y="102"/>
                    <a:pt x="118" y="102"/>
                  </a:cubicBezTo>
                  <a:cubicBezTo>
                    <a:pt x="118" y="16"/>
                    <a:pt x="118" y="16"/>
                    <a:pt x="118" y="16"/>
                  </a:cubicBezTo>
                  <a:lnTo>
                    <a:pt x="148" y="16"/>
                  </a:lnTo>
                  <a:close/>
                  <a:moveTo>
                    <a:pt x="106" y="16"/>
                  </a:moveTo>
                  <a:cubicBezTo>
                    <a:pt x="106" y="102"/>
                    <a:pt x="106" y="102"/>
                    <a:pt x="106" y="102"/>
                  </a:cubicBezTo>
                  <a:cubicBezTo>
                    <a:pt x="77" y="102"/>
                    <a:pt x="77" y="102"/>
                    <a:pt x="77" y="102"/>
                  </a:cubicBezTo>
                  <a:cubicBezTo>
                    <a:pt x="77" y="16"/>
                    <a:pt x="77" y="16"/>
                    <a:pt x="77" y="16"/>
                  </a:cubicBezTo>
                  <a:lnTo>
                    <a:pt x="106" y="16"/>
                  </a:lnTo>
                  <a:close/>
                  <a:moveTo>
                    <a:pt x="35" y="16"/>
                  </a:moveTo>
                  <a:cubicBezTo>
                    <a:pt x="65" y="16"/>
                    <a:pt x="65" y="16"/>
                    <a:pt x="65" y="16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35" y="102"/>
                    <a:pt x="35" y="102"/>
                    <a:pt x="35" y="102"/>
                  </a:cubicBezTo>
                  <a:lnTo>
                    <a:pt x="35" y="16"/>
                  </a:lnTo>
                  <a:close/>
                  <a:moveTo>
                    <a:pt x="201" y="102"/>
                  </a:moveTo>
                  <a:cubicBezTo>
                    <a:pt x="201" y="16"/>
                    <a:pt x="201" y="16"/>
                    <a:pt x="201" y="16"/>
                  </a:cubicBezTo>
                  <a:cubicBezTo>
                    <a:pt x="231" y="16"/>
                    <a:pt x="231" y="16"/>
                    <a:pt x="231" y="16"/>
                  </a:cubicBezTo>
                  <a:cubicBezTo>
                    <a:pt x="231" y="102"/>
                    <a:pt x="231" y="102"/>
                    <a:pt x="231" y="102"/>
                  </a:cubicBezTo>
                  <a:lnTo>
                    <a:pt x="201" y="10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56"/>
            <p:cNvSpPr>
              <a:spLocks/>
            </p:cNvSpPr>
            <p:nvPr/>
          </p:nvSpPr>
          <p:spPr bwMode="gray">
            <a:xfrm>
              <a:off x="8642650" y="5067620"/>
              <a:ext cx="327025" cy="63500"/>
            </a:xfrm>
            <a:custGeom>
              <a:avLst/>
              <a:gdLst>
                <a:gd name="T0" fmla="*/ 22 w 236"/>
                <a:gd name="T1" fmla="*/ 34 h 47"/>
                <a:gd name="T2" fmla="*/ 14 w 236"/>
                <a:gd name="T3" fmla="*/ 25 h 47"/>
                <a:gd name="T4" fmla="*/ 14 w 236"/>
                <a:gd name="T5" fmla="*/ 0 h 47"/>
                <a:gd name="T6" fmla="*/ 0 w 236"/>
                <a:gd name="T7" fmla="*/ 0 h 47"/>
                <a:gd name="T8" fmla="*/ 0 w 236"/>
                <a:gd name="T9" fmla="*/ 39 h 47"/>
                <a:gd name="T10" fmla="*/ 9 w 236"/>
                <a:gd name="T11" fmla="*/ 47 h 47"/>
                <a:gd name="T12" fmla="*/ 236 w 236"/>
                <a:gd name="T13" fmla="*/ 47 h 47"/>
                <a:gd name="T14" fmla="*/ 236 w 236"/>
                <a:gd name="T15" fmla="*/ 34 h 47"/>
                <a:gd name="T16" fmla="*/ 22 w 236"/>
                <a:gd name="T17" fmla="*/ 34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6" h="47">
                  <a:moveTo>
                    <a:pt x="22" y="34"/>
                  </a:moveTo>
                  <a:cubicBezTo>
                    <a:pt x="17" y="34"/>
                    <a:pt x="14" y="30"/>
                    <a:pt x="14" y="2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4"/>
                    <a:pt x="4" y="47"/>
                    <a:pt x="9" y="47"/>
                  </a:cubicBezTo>
                  <a:cubicBezTo>
                    <a:pt x="236" y="47"/>
                    <a:pt x="236" y="47"/>
                    <a:pt x="236" y="47"/>
                  </a:cubicBezTo>
                  <a:cubicBezTo>
                    <a:pt x="236" y="34"/>
                    <a:pt x="236" y="34"/>
                    <a:pt x="236" y="34"/>
                  </a:cubicBezTo>
                  <a:lnTo>
                    <a:pt x="22" y="34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57"/>
            <p:cNvSpPr>
              <a:spLocks/>
            </p:cNvSpPr>
            <p:nvPr/>
          </p:nvSpPr>
          <p:spPr bwMode="gray">
            <a:xfrm>
              <a:off x="8642650" y="5046983"/>
              <a:ext cx="346075" cy="84137"/>
            </a:xfrm>
            <a:custGeom>
              <a:avLst/>
              <a:gdLst>
                <a:gd name="T0" fmla="*/ 241 w 250"/>
                <a:gd name="T1" fmla="*/ 61 h 61"/>
                <a:gd name="T2" fmla="*/ 236 w 250"/>
                <a:gd name="T3" fmla="*/ 61 h 61"/>
                <a:gd name="T4" fmla="*/ 236 w 250"/>
                <a:gd name="T5" fmla="*/ 22 h 61"/>
                <a:gd name="T6" fmla="*/ 228 w 250"/>
                <a:gd name="T7" fmla="*/ 14 h 61"/>
                <a:gd name="T8" fmla="*/ 0 w 250"/>
                <a:gd name="T9" fmla="*/ 14 h 61"/>
                <a:gd name="T10" fmla="*/ 0 w 250"/>
                <a:gd name="T11" fmla="*/ 9 h 61"/>
                <a:gd name="T12" fmla="*/ 9 w 250"/>
                <a:gd name="T13" fmla="*/ 0 h 61"/>
                <a:gd name="T14" fmla="*/ 241 w 250"/>
                <a:gd name="T15" fmla="*/ 0 h 61"/>
                <a:gd name="T16" fmla="*/ 250 w 250"/>
                <a:gd name="T17" fmla="*/ 9 h 61"/>
                <a:gd name="T18" fmla="*/ 250 w 250"/>
                <a:gd name="T19" fmla="*/ 53 h 61"/>
                <a:gd name="T20" fmla="*/ 241 w 250"/>
                <a:gd name="T2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" h="61">
                  <a:moveTo>
                    <a:pt x="241" y="61"/>
                  </a:moveTo>
                  <a:cubicBezTo>
                    <a:pt x="236" y="61"/>
                    <a:pt x="236" y="61"/>
                    <a:pt x="236" y="61"/>
                  </a:cubicBezTo>
                  <a:cubicBezTo>
                    <a:pt x="236" y="22"/>
                    <a:pt x="236" y="22"/>
                    <a:pt x="236" y="22"/>
                  </a:cubicBezTo>
                  <a:cubicBezTo>
                    <a:pt x="236" y="18"/>
                    <a:pt x="232" y="14"/>
                    <a:pt x="228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cubicBezTo>
                    <a:pt x="250" y="53"/>
                    <a:pt x="250" y="53"/>
                    <a:pt x="250" y="53"/>
                  </a:cubicBezTo>
                  <a:cubicBezTo>
                    <a:pt x="250" y="58"/>
                    <a:pt x="246" y="61"/>
                    <a:pt x="241" y="6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58"/>
            <p:cNvSpPr>
              <a:spLocks/>
            </p:cNvSpPr>
            <p:nvPr/>
          </p:nvSpPr>
          <p:spPr bwMode="gray">
            <a:xfrm>
              <a:off x="10792125" y="4919983"/>
              <a:ext cx="61913" cy="311150"/>
            </a:xfrm>
            <a:custGeom>
              <a:avLst/>
              <a:gdLst>
                <a:gd name="T0" fmla="*/ 39 w 45"/>
                <a:gd name="T1" fmla="*/ 180 h 226"/>
                <a:gd name="T2" fmla="*/ 33 w 45"/>
                <a:gd name="T3" fmla="*/ 180 h 226"/>
                <a:gd name="T4" fmla="*/ 33 w 45"/>
                <a:gd name="T5" fmla="*/ 0 h 226"/>
                <a:gd name="T6" fmla="*/ 12 w 45"/>
                <a:gd name="T7" fmla="*/ 0 h 226"/>
                <a:gd name="T8" fmla="*/ 12 w 45"/>
                <a:gd name="T9" fmla="*/ 180 h 226"/>
                <a:gd name="T10" fmla="*/ 5 w 45"/>
                <a:gd name="T11" fmla="*/ 180 h 226"/>
                <a:gd name="T12" fmla="*/ 0 w 45"/>
                <a:gd name="T13" fmla="*/ 186 h 226"/>
                <a:gd name="T14" fmla="*/ 0 w 45"/>
                <a:gd name="T15" fmla="*/ 226 h 226"/>
                <a:gd name="T16" fmla="*/ 45 w 45"/>
                <a:gd name="T17" fmla="*/ 226 h 226"/>
                <a:gd name="T18" fmla="*/ 45 w 45"/>
                <a:gd name="T19" fmla="*/ 186 h 226"/>
                <a:gd name="T20" fmla="*/ 39 w 45"/>
                <a:gd name="T21" fmla="*/ 18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" h="226">
                  <a:moveTo>
                    <a:pt x="39" y="180"/>
                  </a:moveTo>
                  <a:cubicBezTo>
                    <a:pt x="33" y="180"/>
                    <a:pt x="33" y="180"/>
                    <a:pt x="33" y="18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80"/>
                    <a:pt x="12" y="180"/>
                    <a:pt x="12" y="180"/>
                  </a:cubicBezTo>
                  <a:cubicBezTo>
                    <a:pt x="5" y="180"/>
                    <a:pt x="5" y="180"/>
                    <a:pt x="5" y="180"/>
                  </a:cubicBezTo>
                  <a:cubicBezTo>
                    <a:pt x="2" y="180"/>
                    <a:pt x="0" y="182"/>
                    <a:pt x="0" y="186"/>
                  </a:cubicBezTo>
                  <a:cubicBezTo>
                    <a:pt x="0" y="226"/>
                    <a:pt x="0" y="226"/>
                    <a:pt x="0" y="226"/>
                  </a:cubicBezTo>
                  <a:cubicBezTo>
                    <a:pt x="45" y="226"/>
                    <a:pt x="45" y="226"/>
                    <a:pt x="45" y="226"/>
                  </a:cubicBezTo>
                  <a:cubicBezTo>
                    <a:pt x="45" y="186"/>
                    <a:pt x="45" y="186"/>
                    <a:pt x="45" y="186"/>
                  </a:cubicBezTo>
                  <a:cubicBezTo>
                    <a:pt x="45" y="182"/>
                    <a:pt x="42" y="180"/>
                    <a:pt x="39" y="180"/>
                  </a:cubicBezTo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59"/>
            <p:cNvSpPr>
              <a:spLocks/>
            </p:cNvSpPr>
            <p:nvPr/>
          </p:nvSpPr>
          <p:spPr bwMode="gray">
            <a:xfrm>
              <a:off x="10827050" y="4919983"/>
              <a:ext cx="26988" cy="311150"/>
            </a:xfrm>
            <a:custGeom>
              <a:avLst/>
              <a:gdLst>
                <a:gd name="T0" fmla="*/ 14 w 20"/>
                <a:gd name="T1" fmla="*/ 180 h 226"/>
                <a:gd name="T2" fmla="*/ 8 w 20"/>
                <a:gd name="T3" fmla="*/ 180 h 226"/>
                <a:gd name="T4" fmla="*/ 8 w 20"/>
                <a:gd name="T5" fmla="*/ 0 h 226"/>
                <a:gd name="T6" fmla="*/ 0 w 20"/>
                <a:gd name="T7" fmla="*/ 0 h 226"/>
                <a:gd name="T8" fmla="*/ 0 w 20"/>
                <a:gd name="T9" fmla="*/ 180 h 226"/>
                <a:gd name="T10" fmla="*/ 6 w 20"/>
                <a:gd name="T11" fmla="*/ 180 h 226"/>
                <a:gd name="T12" fmla="*/ 12 w 20"/>
                <a:gd name="T13" fmla="*/ 186 h 226"/>
                <a:gd name="T14" fmla="*/ 12 w 20"/>
                <a:gd name="T15" fmla="*/ 226 h 226"/>
                <a:gd name="T16" fmla="*/ 20 w 20"/>
                <a:gd name="T17" fmla="*/ 226 h 226"/>
                <a:gd name="T18" fmla="*/ 20 w 20"/>
                <a:gd name="T19" fmla="*/ 186 h 226"/>
                <a:gd name="T20" fmla="*/ 14 w 20"/>
                <a:gd name="T21" fmla="*/ 18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26">
                  <a:moveTo>
                    <a:pt x="14" y="180"/>
                  </a:moveTo>
                  <a:cubicBezTo>
                    <a:pt x="8" y="180"/>
                    <a:pt x="8" y="180"/>
                    <a:pt x="8" y="18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6" y="180"/>
                    <a:pt x="6" y="180"/>
                    <a:pt x="6" y="180"/>
                  </a:cubicBezTo>
                  <a:cubicBezTo>
                    <a:pt x="9" y="180"/>
                    <a:pt x="12" y="182"/>
                    <a:pt x="12" y="186"/>
                  </a:cubicBezTo>
                  <a:cubicBezTo>
                    <a:pt x="12" y="226"/>
                    <a:pt x="12" y="226"/>
                    <a:pt x="12" y="226"/>
                  </a:cubicBezTo>
                  <a:cubicBezTo>
                    <a:pt x="20" y="226"/>
                    <a:pt x="20" y="226"/>
                    <a:pt x="20" y="226"/>
                  </a:cubicBezTo>
                  <a:cubicBezTo>
                    <a:pt x="20" y="186"/>
                    <a:pt x="20" y="186"/>
                    <a:pt x="20" y="186"/>
                  </a:cubicBezTo>
                  <a:cubicBezTo>
                    <a:pt x="20" y="182"/>
                    <a:pt x="17" y="180"/>
                    <a:pt x="14" y="180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60"/>
            <p:cNvSpPr>
              <a:spLocks/>
            </p:cNvSpPr>
            <p:nvPr/>
          </p:nvSpPr>
          <p:spPr bwMode="gray">
            <a:xfrm>
              <a:off x="10792125" y="4919983"/>
              <a:ext cx="25400" cy="311150"/>
            </a:xfrm>
            <a:custGeom>
              <a:avLst/>
              <a:gdLst>
                <a:gd name="T0" fmla="*/ 19 w 19"/>
                <a:gd name="T1" fmla="*/ 0 h 226"/>
                <a:gd name="T2" fmla="*/ 12 w 19"/>
                <a:gd name="T3" fmla="*/ 0 h 226"/>
                <a:gd name="T4" fmla="*/ 12 w 19"/>
                <a:gd name="T5" fmla="*/ 180 h 226"/>
                <a:gd name="T6" fmla="*/ 5 w 19"/>
                <a:gd name="T7" fmla="*/ 180 h 226"/>
                <a:gd name="T8" fmla="*/ 0 w 19"/>
                <a:gd name="T9" fmla="*/ 186 h 226"/>
                <a:gd name="T10" fmla="*/ 0 w 19"/>
                <a:gd name="T11" fmla="*/ 226 h 226"/>
                <a:gd name="T12" fmla="*/ 7 w 19"/>
                <a:gd name="T13" fmla="*/ 226 h 226"/>
                <a:gd name="T14" fmla="*/ 7 w 19"/>
                <a:gd name="T15" fmla="*/ 186 h 226"/>
                <a:gd name="T16" fmla="*/ 13 w 19"/>
                <a:gd name="T17" fmla="*/ 180 h 226"/>
                <a:gd name="T18" fmla="*/ 19 w 19"/>
                <a:gd name="T19" fmla="*/ 180 h 226"/>
                <a:gd name="T20" fmla="*/ 19 w 19"/>
                <a:gd name="T21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226">
                  <a:moveTo>
                    <a:pt x="19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180"/>
                    <a:pt x="12" y="180"/>
                    <a:pt x="12" y="180"/>
                  </a:cubicBezTo>
                  <a:cubicBezTo>
                    <a:pt x="5" y="180"/>
                    <a:pt x="5" y="180"/>
                    <a:pt x="5" y="180"/>
                  </a:cubicBezTo>
                  <a:cubicBezTo>
                    <a:pt x="2" y="180"/>
                    <a:pt x="0" y="182"/>
                    <a:pt x="0" y="186"/>
                  </a:cubicBezTo>
                  <a:cubicBezTo>
                    <a:pt x="0" y="226"/>
                    <a:pt x="0" y="226"/>
                    <a:pt x="0" y="226"/>
                  </a:cubicBezTo>
                  <a:cubicBezTo>
                    <a:pt x="7" y="226"/>
                    <a:pt x="7" y="226"/>
                    <a:pt x="7" y="226"/>
                  </a:cubicBezTo>
                  <a:cubicBezTo>
                    <a:pt x="7" y="186"/>
                    <a:pt x="7" y="186"/>
                    <a:pt x="7" y="186"/>
                  </a:cubicBezTo>
                  <a:cubicBezTo>
                    <a:pt x="7" y="182"/>
                    <a:pt x="10" y="180"/>
                    <a:pt x="13" y="180"/>
                  </a:cubicBezTo>
                  <a:cubicBezTo>
                    <a:pt x="19" y="180"/>
                    <a:pt x="19" y="180"/>
                    <a:pt x="19" y="180"/>
                  </a:cubicBezTo>
                  <a:cubicBezTo>
                    <a:pt x="19" y="0"/>
                    <a:pt x="19" y="0"/>
                    <a:pt x="19" y="0"/>
                  </a:cubicBezTo>
                </a:path>
              </a:pathLst>
            </a:custGeom>
            <a:solidFill>
              <a:srgbClr val="FFC7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61"/>
            <p:cNvSpPr>
              <a:spLocks/>
            </p:cNvSpPr>
            <p:nvPr/>
          </p:nvSpPr>
          <p:spPr bwMode="gray">
            <a:xfrm>
              <a:off x="10068225" y="4172270"/>
              <a:ext cx="242888" cy="239712"/>
            </a:xfrm>
            <a:custGeom>
              <a:avLst/>
              <a:gdLst>
                <a:gd name="T0" fmla="*/ 153 w 153"/>
                <a:gd name="T1" fmla="*/ 98 h 151"/>
                <a:gd name="T2" fmla="*/ 100 w 153"/>
                <a:gd name="T3" fmla="*/ 151 h 151"/>
                <a:gd name="T4" fmla="*/ 0 w 153"/>
                <a:gd name="T5" fmla="*/ 52 h 151"/>
                <a:gd name="T6" fmla="*/ 53 w 153"/>
                <a:gd name="T7" fmla="*/ 0 h 151"/>
                <a:gd name="T8" fmla="*/ 153 w 153"/>
                <a:gd name="T9" fmla="*/ 98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151">
                  <a:moveTo>
                    <a:pt x="153" y="98"/>
                  </a:moveTo>
                  <a:lnTo>
                    <a:pt x="100" y="151"/>
                  </a:lnTo>
                  <a:lnTo>
                    <a:pt x="0" y="52"/>
                  </a:lnTo>
                  <a:lnTo>
                    <a:pt x="53" y="0"/>
                  </a:lnTo>
                  <a:lnTo>
                    <a:pt x="153" y="98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62"/>
            <p:cNvSpPr>
              <a:spLocks/>
            </p:cNvSpPr>
            <p:nvPr/>
          </p:nvSpPr>
          <p:spPr bwMode="gray">
            <a:xfrm>
              <a:off x="9560225" y="3665858"/>
              <a:ext cx="579438" cy="576262"/>
            </a:xfrm>
            <a:custGeom>
              <a:avLst/>
              <a:gdLst>
                <a:gd name="T0" fmla="*/ 415 w 419"/>
                <a:gd name="T1" fmla="*/ 379 h 419"/>
                <a:gd name="T2" fmla="*/ 415 w 419"/>
                <a:gd name="T3" fmla="*/ 392 h 419"/>
                <a:gd name="T4" fmla="*/ 392 w 419"/>
                <a:gd name="T5" fmla="*/ 415 h 419"/>
                <a:gd name="T6" fmla="*/ 380 w 419"/>
                <a:gd name="T7" fmla="*/ 415 h 419"/>
                <a:gd name="T8" fmla="*/ 3 w 419"/>
                <a:gd name="T9" fmla="*/ 39 h 419"/>
                <a:gd name="T10" fmla="*/ 3 w 419"/>
                <a:gd name="T11" fmla="*/ 27 h 419"/>
                <a:gd name="T12" fmla="*/ 27 w 419"/>
                <a:gd name="T13" fmla="*/ 3 h 419"/>
                <a:gd name="T14" fmla="*/ 39 w 419"/>
                <a:gd name="T15" fmla="*/ 3 h 419"/>
                <a:gd name="T16" fmla="*/ 415 w 419"/>
                <a:gd name="T17" fmla="*/ 37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9" h="419">
                  <a:moveTo>
                    <a:pt x="415" y="379"/>
                  </a:moveTo>
                  <a:cubicBezTo>
                    <a:pt x="419" y="383"/>
                    <a:pt x="419" y="388"/>
                    <a:pt x="415" y="392"/>
                  </a:cubicBezTo>
                  <a:cubicBezTo>
                    <a:pt x="392" y="415"/>
                    <a:pt x="392" y="415"/>
                    <a:pt x="392" y="415"/>
                  </a:cubicBezTo>
                  <a:cubicBezTo>
                    <a:pt x="388" y="419"/>
                    <a:pt x="383" y="419"/>
                    <a:pt x="380" y="415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0" y="35"/>
                    <a:pt x="0" y="30"/>
                    <a:pt x="3" y="27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30" y="0"/>
                    <a:pt x="36" y="0"/>
                    <a:pt x="39" y="3"/>
                  </a:cubicBezTo>
                  <a:lnTo>
                    <a:pt x="415" y="37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63"/>
            <p:cNvSpPr>
              <a:spLocks/>
            </p:cNvSpPr>
            <p:nvPr/>
          </p:nvSpPr>
          <p:spPr bwMode="gray">
            <a:xfrm>
              <a:off x="10185700" y="4288158"/>
              <a:ext cx="1066800" cy="1058862"/>
            </a:xfrm>
            <a:custGeom>
              <a:avLst/>
              <a:gdLst>
                <a:gd name="T0" fmla="*/ 672 w 672"/>
                <a:gd name="T1" fmla="*/ 594 h 667"/>
                <a:gd name="T2" fmla="*/ 597 w 672"/>
                <a:gd name="T3" fmla="*/ 667 h 667"/>
                <a:gd name="T4" fmla="*/ 0 w 672"/>
                <a:gd name="T5" fmla="*/ 74 h 667"/>
                <a:gd name="T6" fmla="*/ 74 w 672"/>
                <a:gd name="T7" fmla="*/ 0 h 667"/>
                <a:gd name="T8" fmla="*/ 672 w 672"/>
                <a:gd name="T9" fmla="*/ 594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2" h="667">
                  <a:moveTo>
                    <a:pt x="672" y="594"/>
                  </a:moveTo>
                  <a:lnTo>
                    <a:pt x="597" y="667"/>
                  </a:lnTo>
                  <a:lnTo>
                    <a:pt x="0" y="74"/>
                  </a:lnTo>
                  <a:lnTo>
                    <a:pt x="74" y="0"/>
                  </a:lnTo>
                  <a:lnTo>
                    <a:pt x="672" y="594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64"/>
            <p:cNvSpPr>
              <a:spLocks/>
            </p:cNvSpPr>
            <p:nvPr/>
          </p:nvSpPr>
          <p:spPr bwMode="gray">
            <a:xfrm>
              <a:off x="10055525" y="4159570"/>
              <a:ext cx="109538" cy="106362"/>
            </a:xfrm>
            <a:custGeom>
              <a:avLst/>
              <a:gdLst>
                <a:gd name="T0" fmla="*/ 9 w 79"/>
                <a:gd name="T1" fmla="*/ 77 h 77"/>
                <a:gd name="T2" fmla="*/ 4 w 79"/>
                <a:gd name="T3" fmla="*/ 75 h 77"/>
                <a:gd name="T4" fmla="*/ 4 w 79"/>
                <a:gd name="T5" fmla="*/ 64 h 77"/>
                <a:gd name="T6" fmla="*/ 64 w 79"/>
                <a:gd name="T7" fmla="*/ 3 h 77"/>
                <a:gd name="T8" fmla="*/ 75 w 79"/>
                <a:gd name="T9" fmla="*/ 3 h 77"/>
                <a:gd name="T10" fmla="*/ 75 w 79"/>
                <a:gd name="T11" fmla="*/ 15 h 77"/>
                <a:gd name="T12" fmla="*/ 15 w 79"/>
                <a:gd name="T13" fmla="*/ 75 h 77"/>
                <a:gd name="T14" fmla="*/ 9 w 79"/>
                <a:gd name="T1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9" h="77">
                  <a:moveTo>
                    <a:pt x="9" y="77"/>
                  </a:moveTo>
                  <a:cubicBezTo>
                    <a:pt x="7" y="77"/>
                    <a:pt x="5" y="77"/>
                    <a:pt x="4" y="75"/>
                  </a:cubicBezTo>
                  <a:cubicBezTo>
                    <a:pt x="0" y="72"/>
                    <a:pt x="0" y="67"/>
                    <a:pt x="4" y="64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7" y="0"/>
                    <a:pt x="72" y="0"/>
                    <a:pt x="75" y="3"/>
                  </a:cubicBezTo>
                  <a:cubicBezTo>
                    <a:pt x="79" y="6"/>
                    <a:pt x="79" y="12"/>
                    <a:pt x="75" y="15"/>
                  </a:cubicBezTo>
                  <a:cubicBezTo>
                    <a:pt x="15" y="75"/>
                    <a:pt x="15" y="75"/>
                    <a:pt x="15" y="75"/>
                  </a:cubicBezTo>
                  <a:cubicBezTo>
                    <a:pt x="13" y="77"/>
                    <a:pt x="11" y="77"/>
                    <a:pt x="9" y="77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65"/>
            <p:cNvSpPr>
              <a:spLocks/>
            </p:cNvSpPr>
            <p:nvPr/>
          </p:nvSpPr>
          <p:spPr bwMode="gray">
            <a:xfrm>
              <a:off x="9787237" y="3891283"/>
              <a:ext cx="79375" cy="77787"/>
            </a:xfrm>
            <a:custGeom>
              <a:avLst/>
              <a:gdLst>
                <a:gd name="T0" fmla="*/ 9 w 58"/>
                <a:gd name="T1" fmla="*/ 57 h 57"/>
                <a:gd name="T2" fmla="*/ 3 w 58"/>
                <a:gd name="T3" fmla="*/ 55 h 57"/>
                <a:gd name="T4" fmla="*/ 3 w 58"/>
                <a:gd name="T5" fmla="*/ 44 h 57"/>
                <a:gd name="T6" fmla="*/ 44 w 58"/>
                <a:gd name="T7" fmla="*/ 3 h 57"/>
                <a:gd name="T8" fmla="*/ 55 w 58"/>
                <a:gd name="T9" fmla="*/ 3 h 57"/>
                <a:gd name="T10" fmla="*/ 55 w 58"/>
                <a:gd name="T11" fmla="*/ 14 h 57"/>
                <a:gd name="T12" fmla="*/ 15 w 58"/>
                <a:gd name="T13" fmla="*/ 55 h 57"/>
                <a:gd name="T14" fmla="*/ 9 w 58"/>
                <a:gd name="T15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57">
                  <a:moveTo>
                    <a:pt x="9" y="57"/>
                  </a:moveTo>
                  <a:cubicBezTo>
                    <a:pt x="7" y="57"/>
                    <a:pt x="5" y="56"/>
                    <a:pt x="3" y="55"/>
                  </a:cubicBezTo>
                  <a:cubicBezTo>
                    <a:pt x="0" y="52"/>
                    <a:pt x="0" y="47"/>
                    <a:pt x="3" y="44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7" y="0"/>
                    <a:pt x="52" y="0"/>
                    <a:pt x="55" y="3"/>
                  </a:cubicBezTo>
                  <a:cubicBezTo>
                    <a:pt x="58" y="6"/>
                    <a:pt x="58" y="11"/>
                    <a:pt x="55" y="14"/>
                  </a:cubicBezTo>
                  <a:cubicBezTo>
                    <a:pt x="15" y="55"/>
                    <a:pt x="15" y="55"/>
                    <a:pt x="15" y="55"/>
                  </a:cubicBezTo>
                  <a:cubicBezTo>
                    <a:pt x="13" y="56"/>
                    <a:pt x="11" y="57"/>
                    <a:pt x="9" y="57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66"/>
            <p:cNvSpPr>
              <a:spLocks/>
            </p:cNvSpPr>
            <p:nvPr/>
          </p:nvSpPr>
          <p:spPr bwMode="gray">
            <a:xfrm>
              <a:off x="10168237" y="4270695"/>
              <a:ext cx="153988" cy="150812"/>
            </a:xfrm>
            <a:custGeom>
              <a:avLst/>
              <a:gdLst>
                <a:gd name="T0" fmla="*/ 9 w 111"/>
                <a:gd name="T1" fmla="*/ 110 h 110"/>
                <a:gd name="T2" fmla="*/ 3 w 111"/>
                <a:gd name="T3" fmla="*/ 108 h 110"/>
                <a:gd name="T4" fmla="*/ 3 w 111"/>
                <a:gd name="T5" fmla="*/ 96 h 110"/>
                <a:gd name="T6" fmla="*/ 96 w 111"/>
                <a:gd name="T7" fmla="*/ 3 h 110"/>
                <a:gd name="T8" fmla="*/ 108 w 111"/>
                <a:gd name="T9" fmla="*/ 3 h 110"/>
                <a:gd name="T10" fmla="*/ 108 w 111"/>
                <a:gd name="T11" fmla="*/ 15 h 110"/>
                <a:gd name="T12" fmla="*/ 15 w 111"/>
                <a:gd name="T13" fmla="*/ 108 h 110"/>
                <a:gd name="T14" fmla="*/ 9 w 111"/>
                <a:gd name="T15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1" h="110">
                  <a:moveTo>
                    <a:pt x="9" y="110"/>
                  </a:moveTo>
                  <a:cubicBezTo>
                    <a:pt x="7" y="110"/>
                    <a:pt x="5" y="109"/>
                    <a:pt x="3" y="108"/>
                  </a:cubicBezTo>
                  <a:cubicBezTo>
                    <a:pt x="0" y="104"/>
                    <a:pt x="0" y="99"/>
                    <a:pt x="3" y="96"/>
                  </a:cubicBezTo>
                  <a:cubicBezTo>
                    <a:pt x="96" y="3"/>
                    <a:pt x="96" y="3"/>
                    <a:pt x="96" y="3"/>
                  </a:cubicBezTo>
                  <a:cubicBezTo>
                    <a:pt x="100" y="0"/>
                    <a:pt x="105" y="0"/>
                    <a:pt x="108" y="3"/>
                  </a:cubicBezTo>
                  <a:cubicBezTo>
                    <a:pt x="111" y="6"/>
                    <a:pt x="111" y="11"/>
                    <a:pt x="108" y="15"/>
                  </a:cubicBezTo>
                  <a:cubicBezTo>
                    <a:pt x="15" y="108"/>
                    <a:pt x="15" y="108"/>
                    <a:pt x="15" y="108"/>
                  </a:cubicBezTo>
                  <a:cubicBezTo>
                    <a:pt x="13" y="109"/>
                    <a:pt x="11" y="110"/>
                    <a:pt x="9" y="110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67"/>
            <p:cNvSpPr>
              <a:spLocks/>
            </p:cNvSpPr>
            <p:nvPr/>
          </p:nvSpPr>
          <p:spPr bwMode="gray">
            <a:xfrm>
              <a:off x="10269837" y="4296095"/>
              <a:ext cx="982663" cy="944562"/>
            </a:xfrm>
            <a:custGeom>
              <a:avLst/>
              <a:gdLst>
                <a:gd name="T0" fmla="*/ 619 w 619"/>
                <a:gd name="T1" fmla="*/ 589 h 595"/>
                <a:gd name="T2" fmla="*/ 613 w 619"/>
                <a:gd name="T3" fmla="*/ 595 h 595"/>
                <a:gd name="T4" fmla="*/ 0 w 619"/>
                <a:gd name="T5" fmla="*/ 26 h 595"/>
                <a:gd name="T6" fmla="*/ 27 w 619"/>
                <a:gd name="T7" fmla="*/ 0 h 595"/>
                <a:gd name="T8" fmla="*/ 619 w 619"/>
                <a:gd name="T9" fmla="*/ 589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9" h="595">
                  <a:moveTo>
                    <a:pt x="619" y="589"/>
                  </a:moveTo>
                  <a:lnTo>
                    <a:pt x="613" y="595"/>
                  </a:lnTo>
                  <a:lnTo>
                    <a:pt x="0" y="26"/>
                  </a:lnTo>
                  <a:lnTo>
                    <a:pt x="27" y="0"/>
                  </a:lnTo>
                  <a:lnTo>
                    <a:pt x="619" y="589"/>
                  </a:ln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68"/>
            <p:cNvSpPr>
              <a:spLocks/>
            </p:cNvSpPr>
            <p:nvPr/>
          </p:nvSpPr>
          <p:spPr bwMode="gray">
            <a:xfrm>
              <a:off x="10193637" y="4370708"/>
              <a:ext cx="949325" cy="976312"/>
            </a:xfrm>
            <a:custGeom>
              <a:avLst/>
              <a:gdLst>
                <a:gd name="T0" fmla="*/ 592 w 598"/>
                <a:gd name="T1" fmla="*/ 615 h 615"/>
                <a:gd name="T2" fmla="*/ 598 w 598"/>
                <a:gd name="T3" fmla="*/ 610 h 615"/>
                <a:gd name="T4" fmla="*/ 27 w 598"/>
                <a:gd name="T5" fmla="*/ 0 h 615"/>
                <a:gd name="T6" fmla="*/ 0 w 598"/>
                <a:gd name="T7" fmla="*/ 27 h 615"/>
                <a:gd name="T8" fmla="*/ 592 w 598"/>
                <a:gd name="T9" fmla="*/ 615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8" h="615">
                  <a:moveTo>
                    <a:pt x="592" y="615"/>
                  </a:moveTo>
                  <a:lnTo>
                    <a:pt x="598" y="610"/>
                  </a:lnTo>
                  <a:lnTo>
                    <a:pt x="27" y="0"/>
                  </a:lnTo>
                  <a:lnTo>
                    <a:pt x="0" y="27"/>
                  </a:lnTo>
                  <a:lnTo>
                    <a:pt x="592" y="615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69"/>
            <p:cNvSpPr>
              <a:spLocks/>
            </p:cNvSpPr>
            <p:nvPr/>
          </p:nvSpPr>
          <p:spPr bwMode="gray">
            <a:xfrm>
              <a:off x="10615912" y="5231133"/>
              <a:ext cx="665163" cy="93662"/>
            </a:xfrm>
            <a:custGeom>
              <a:avLst/>
              <a:gdLst>
                <a:gd name="T0" fmla="*/ 481 w 481"/>
                <a:gd name="T1" fmla="*/ 14 h 69"/>
                <a:gd name="T2" fmla="*/ 467 w 481"/>
                <a:gd name="T3" fmla="*/ 0 h 69"/>
                <a:gd name="T4" fmla="*/ 15 w 481"/>
                <a:gd name="T5" fmla="*/ 0 h 69"/>
                <a:gd name="T6" fmla="*/ 0 w 481"/>
                <a:gd name="T7" fmla="*/ 14 h 69"/>
                <a:gd name="T8" fmla="*/ 0 w 481"/>
                <a:gd name="T9" fmla="*/ 55 h 69"/>
                <a:gd name="T10" fmla="*/ 15 w 481"/>
                <a:gd name="T11" fmla="*/ 69 h 69"/>
                <a:gd name="T12" fmla="*/ 467 w 481"/>
                <a:gd name="T13" fmla="*/ 69 h 69"/>
                <a:gd name="T14" fmla="*/ 481 w 481"/>
                <a:gd name="T15" fmla="*/ 55 h 69"/>
                <a:gd name="T16" fmla="*/ 481 w 481"/>
                <a:gd name="T17" fmla="*/ 1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1" h="69">
                  <a:moveTo>
                    <a:pt x="481" y="14"/>
                  </a:moveTo>
                  <a:cubicBezTo>
                    <a:pt x="481" y="6"/>
                    <a:pt x="475" y="0"/>
                    <a:pt x="467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6"/>
                    <a:pt x="0" y="14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63"/>
                    <a:pt x="7" y="69"/>
                    <a:pt x="15" y="69"/>
                  </a:cubicBezTo>
                  <a:cubicBezTo>
                    <a:pt x="467" y="69"/>
                    <a:pt x="467" y="69"/>
                    <a:pt x="467" y="69"/>
                  </a:cubicBezTo>
                  <a:cubicBezTo>
                    <a:pt x="475" y="69"/>
                    <a:pt x="481" y="63"/>
                    <a:pt x="481" y="55"/>
                  </a:cubicBezTo>
                  <a:lnTo>
                    <a:pt x="481" y="1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Oval 70"/>
            <p:cNvSpPr>
              <a:spLocks noChangeArrowheads="1"/>
            </p:cNvSpPr>
            <p:nvPr/>
          </p:nvSpPr>
          <p:spPr bwMode="gray">
            <a:xfrm>
              <a:off x="1031270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Oval 71"/>
            <p:cNvSpPr>
              <a:spLocks noChangeArrowheads="1"/>
            </p:cNvSpPr>
            <p:nvPr/>
          </p:nvSpPr>
          <p:spPr bwMode="gray">
            <a:xfrm>
              <a:off x="10695287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Oval 72"/>
            <p:cNvSpPr>
              <a:spLocks noChangeArrowheads="1"/>
            </p:cNvSpPr>
            <p:nvPr/>
          </p:nvSpPr>
          <p:spPr bwMode="gray">
            <a:xfrm>
              <a:off x="1098580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Freeform 73"/>
            <p:cNvSpPr>
              <a:spLocks/>
            </p:cNvSpPr>
            <p:nvPr/>
          </p:nvSpPr>
          <p:spPr bwMode="gray">
            <a:xfrm>
              <a:off x="10176175" y="5042220"/>
              <a:ext cx="341313" cy="404812"/>
            </a:xfrm>
            <a:custGeom>
              <a:avLst/>
              <a:gdLst>
                <a:gd name="T0" fmla="*/ 247 w 247"/>
                <a:gd name="T1" fmla="*/ 0 h 295"/>
                <a:gd name="T2" fmla="*/ 66 w 247"/>
                <a:gd name="T3" fmla="*/ 0 h 295"/>
                <a:gd name="T4" fmla="*/ 16 w 247"/>
                <a:gd name="T5" fmla="*/ 295 h 295"/>
                <a:gd name="T6" fmla="*/ 197 w 247"/>
                <a:gd name="T7" fmla="*/ 295 h 295"/>
                <a:gd name="T8" fmla="*/ 247 w 247"/>
                <a:gd name="T9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7" h="295">
                  <a:moveTo>
                    <a:pt x="247" y="0"/>
                  </a:moveTo>
                  <a:cubicBezTo>
                    <a:pt x="193" y="0"/>
                    <a:pt x="97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197" y="295"/>
                    <a:pt x="197" y="295"/>
                    <a:pt x="197" y="295"/>
                  </a:cubicBezTo>
                  <a:cubicBezTo>
                    <a:pt x="197" y="295"/>
                    <a:pt x="181" y="76"/>
                    <a:pt x="247" y="0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Freeform 74"/>
            <p:cNvSpPr>
              <a:spLocks/>
            </p:cNvSpPr>
            <p:nvPr/>
          </p:nvSpPr>
          <p:spPr bwMode="gray">
            <a:xfrm>
              <a:off x="10727037" y="5324795"/>
              <a:ext cx="3175" cy="1587"/>
            </a:xfrm>
            <a:custGeom>
              <a:avLst/>
              <a:gdLst>
                <a:gd name="T0" fmla="*/ 0 w 2"/>
                <a:gd name="T1" fmla="*/ 1 h 1"/>
                <a:gd name="T2" fmla="*/ 2 w 2"/>
                <a:gd name="T3" fmla="*/ 0 h 1"/>
                <a:gd name="T4" fmla="*/ 0 w 2"/>
                <a:gd name="T5" fmla="*/ 0 h 1"/>
                <a:gd name="T6" fmla="*/ 0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1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Freeform 75"/>
            <p:cNvSpPr>
              <a:spLocks/>
            </p:cNvSpPr>
            <p:nvPr/>
          </p:nvSpPr>
          <p:spPr bwMode="gray">
            <a:xfrm>
              <a:off x="10512725" y="5324795"/>
              <a:ext cx="3175" cy="1587"/>
            </a:xfrm>
            <a:custGeom>
              <a:avLst/>
              <a:gdLst>
                <a:gd name="T0" fmla="*/ 0 w 3"/>
                <a:gd name="T1" fmla="*/ 1 h 1"/>
                <a:gd name="T2" fmla="*/ 3 w 3"/>
                <a:gd name="T3" fmla="*/ 0 h 1"/>
                <a:gd name="T4" fmla="*/ 0 w 3"/>
                <a:gd name="T5" fmla="*/ 0 h 1"/>
                <a:gd name="T6" fmla="*/ 0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cubicBezTo>
                    <a:pt x="1" y="0"/>
                    <a:pt x="2" y="0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Freeform 76"/>
            <p:cNvSpPr>
              <a:spLocks/>
            </p:cNvSpPr>
            <p:nvPr/>
          </p:nvSpPr>
          <p:spPr bwMode="gray">
            <a:xfrm>
              <a:off x="10176175" y="5042220"/>
              <a:ext cx="127000" cy="404812"/>
            </a:xfrm>
            <a:custGeom>
              <a:avLst/>
              <a:gdLst>
                <a:gd name="T0" fmla="*/ 92 w 92"/>
                <a:gd name="T1" fmla="*/ 0 h 295"/>
                <a:gd name="T2" fmla="*/ 66 w 92"/>
                <a:gd name="T3" fmla="*/ 0 h 295"/>
                <a:gd name="T4" fmla="*/ 16 w 92"/>
                <a:gd name="T5" fmla="*/ 295 h 295"/>
                <a:gd name="T6" fmla="*/ 42 w 92"/>
                <a:gd name="T7" fmla="*/ 295 h 295"/>
                <a:gd name="T8" fmla="*/ 92 w 92"/>
                <a:gd name="T9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295">
                  <a:moveTo>
                    <a:pt x="92" y="0"/>
                  </a:moveTo>
                  <a:cubicBezTo>
                    <a:pt x="82" y="0"/>
                    <a:pt x="73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42" y="295"/>
                    <a:pt x="42" y="295"/>
                    <a:pt x="42" y="295"/>
                  </a:cubicBezTo>
                  <a:cubicBezTo>
                    <a:pt x="42" y="295"/>
                    <a:pt x="26" y="76"/>
                    <a:pt x="92" y="0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Rectangle 77"/>
            <p:cNvSpPr>
              <a:spLocks noChangeArrowheads="1"/>
            </p:cNvSpPr>
            <p:nvPr/>
          </p:nvSpPr>
          <p:spPr bwMode="gray">
            <a:xfrm>
              <a:off x="9574512" y="3729358"/>
              <a:ext cx="22225" cy="693737"/>
            </a:xfrm>
            <a:prstGeom prst="rect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Freeform 78"/>
            <p:cNvSpPr>
              <a:spLocks/>
            </p:cNvSpPr>
            <p:nvPr/>
          </p:nvSpPr>
          <p:spPr bwMode="gray">
            <a:xfrm>
              <a:off x="10393662" y="5042220"/>
              <a:ext cx="906463" cy="404812"/>
            </a:xfrm>
            <a:custGeom>
              <a:avLst/>
              <a:gdLst>
                <a:gd name="T0" fmla="*/ 642 w 656"/>
                <a:gd name="T1" fmla="*/ 206 h 295"/>
                <a:gd name="T2" fmla="*/ 219 w 656"/>
                <a:gd name="T3" fmla="*/ 206 h 295"/>
                <a:gd name="T4" fmla="*/ 217 w 656"/>
                <a:gd name="T5" fmla="*/ 207 h 295"/>
                <a:gd name="T6" fmla="*/ 217 w 656"/>
                <a:gd name="T7" fmla="*/ 0 h 295"/>
                <a:gd name="T8" fmla="*/ 66 w 656"/>
                <a:gd name="T9" fmla="*/ 0 h 295"/>
                <a:gd name="T10" fmla="*/ 16 w 656"/>
                <a:gd name="T11" fmla="*/ 295 h 295"/>
                <a:gd name="T12" fmla="*/ 642 w 656"/>
                <a:gd name="T13" fmla="*/ 295 h 295"/>
                <a:gd name="T14" fmla="*/ 656 w 656"/>
                <a:gd name="T15" fmla="*/ 281 h 295"/>
                <a:gd name="T16" fmla="*/ 656 w 656"/>
                <a:gd name="T17" fmla="*/ 221 h 295"/>
                <a:gd name="T18" fmla="*/ 642 w 656"/>
                <a:gd name="T19" fmla="*/ 206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6" h="295">
                  <a:moveTo>
                    <a:pt x="642" y="206"/>
                  </a:moveTo>
                  <a:cubicBezTo>
                    <a:pt x="219" y="206"/>
                    <a:pt x="219" y="206"/>
                    <a:pt x="219" y="206"/>
                  </a:cubicBezTo>
                  <a:cubicBezTo>
                    <a:pt x="219" y="206"/>
                    <a:pt x="218" y="206"/>
                    <a:pt x="217" y="207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17" y="0"/>
                    <a:pt x="119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642" y="295"/>
                    <a:pt x="642" y="295"/>
                    <a:pt x="642" y="295"/>
                  </a:cubicBezTo>
                  <a:cubicBezTo>
                    <a:pt x="650" y="295"/>
                    <a:pt x="656" y="289"/>
                    <a:pt x="656" y="281"/>
                  </a:cubicBezTo>
                  <a:cubicBezTo>
                    <a:pt x="656" y="221"/>
                    <a:pt x="656" y="221"/>
                    <a:pt x="656" y="221"/>
                  </a:cubicBezTo>
                  <a:cubicBezTo>
                    <a:pt x="656" y="213"/>
                    <a:pt x="650" y="206"/>
                    <a:pt x="642" y="206"/>
                  </a:cubicBez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Freeform 79"/>
            <p:cNvSpPr>
              <a:spLocks/>
            </p:cNvSpPr>
            <p:nvPr/>
          </p:nvSpPr>
          <p:spPr bwMode="gray">
            <a:xfrm>
              <a:off x="10393662" y="5042220"/>
              <a:ext cx="300038" cy="404812"/>
            </a:xfrm>
            <a:custGeom>
              <a:avLst/>
              <a:gdLst>
                <a:gd name="T0" fmla="*/ 81 w 217"/>
                <a:gd name="T1" fmla="*/ 15 h 295"/>
                <a:gd name="T2" fmla="*/ 217 w 217"/>
                <a:gd name="T3" fmla="*/ 15 h 295"/>
                <a:gd name="T4" fmla="*/ 217 w 217"/>
                <a:gd name="T5" fmla="*/ 0 h 295"/>
                <a:gd name="T6" fmla="*/ 66 w 217"/>
                <a:gd name="T7" fmla="*/ 0 h 295"/>
                <a:gd name="T8" fmla="*/ 16 w 217"/>
                <a:gd name="T9" fmla="*/ 295 h 295"/>
                <a:gd name="T10" fmla="*/ 30 w 217"/>
                <a:gd name="T11" fmla="*/ 295 h 295"/>
                <a:gd name="T12" fmla="*/ 81 w 217"/>
                <a:gd name="T13" fmla="*/ 15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7" h="295">
                  <a:moveTo>
                    <a:pt x="81" y="15"/>
                  </a:moveTo>
                  <a:cubicBezTo>
                    <a:pt x="122" y="15"/>
                    <a:pt x="188" y="15"/>
                    <a:pt x="217" y="15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17" y="0"/>
                    <a:pt x="119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30" y="295"/>
                    <a:pt x="30" y="295"/>
                    <a:pt x="30" y="295"/>
                  </a:cubicBezTo>
                  <a:cubicBezTo>
                    <a:pt x="28" y="244"/>
                    <a:pt x="25" y="79"/>
                    <a:pt x="81" y="15"/>
                  </a:cubicBezTo>
                  <a:close/>
                </a:path>
              </a:pathLst>
            </a:custGeom>
            <a:solidFill>
              <a:srgbClr val="FFCB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Freeform 80"/>
            <p:cNvSpPr>
              <a:spLocks/>
            </p:cNvSpPr>
            <p:nvPr/>
          </p:nvSpPr>
          <p:spPr bwMode="gray">
            <a:xfrm>
              <a:off x="10414300" y="542798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Freeform 81"/>
            <p:cNvSpPr>
              <a:spLocks/>
            </p:cNvSpPr>
            <p:nvPr/>
          </p:nvSpPr>
          <p:spPr bwMode="gray">
            <a:xfrm>
              <a:off x="10414300" y="5432745"/>
              <a:ext cx="0" cy="1587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Freeform 82"/>
            <p:cNvSpPr>
              <a:spLocks/>
            </p:cNvSpPr>
            <p:nvPr/>
          </p:nvSpPr>
          <p:spPr bwMode="gray">
            <a:xfrm>
              <a:off x="10414300" y="544068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Freeform 83"/>
            <p:cNvSpPr>
              <a:spLocks/>
            </p:cNvSpPr>
            <p:nvPr/>
          </p:nvSpPr>
          <p:spPr bwMode="gray">
            <a:xfrm>
              <a:off x="10433350" y="5324795"/>
              <a:ext cx="866775" cy="122237"/>
            </a:xfrm>
            <a:custGeom>
              <a:avLst/>
              <a:gdLst>
                <a:gd name="T0" fmla="*/ 613 w 627"/>
                <a:gd name="T1" fmla="*/ 0 h 89"/>
                <a:gd name="T2" fmla="*/ 613 w 627"/>
                <a:gd name="T3" fmla="*/ 56 h 89"/>
                <a:gd name="T4" fmla="*/ 599 w 627"/>
                <a:gd name="T5" fmla="*/ 71 h 89"/>
                <a:gd name="T6" fmla="*/ 0 w 627"/>
                <a:gd name="T7" fmla="*/ 71 h 89"/>
                <a:gd name="T8" fmla="*/ 1 w 627"/>
                <a:gd name="T9" fmla="*/ 89 h 89"/>
                <a:gd name="T10" fmla="*/ 613 w 627"/>
                <a:gd name="T11" fmla="*/ 89 h 89"/>
                <a:gd name="T12" fmla="*/ 627 w 627"/>
                <a:gd name="T13" fmla="*/ 75 h 89"/>
                <a:gd name="T14" fmla="*/ 627 w 627"/>
                <a:gd name="T15" fmla="*/ 15 h 89"/>
                <a:gd name="T16" fmla="*/ 613 w 627"/>
                <a:gd name="T17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7" h="89">
                  <a:moveTo>
                    <a:pt x="613" y="0"/>
                  </a:moveTo>
                  <a:cubicBezTo>
                    <a:pt x="613" y="56"/>
                    <a:pt x="613" y="56"/>
                    <a:pt x="613" y="56"/>
                  </a:cubicBezTo>
                  <a:cubicBezTo>
                    <a:pt x="613" y="64"/>
                    <a:pt x="607" y="71"/>
                    <a:pt x="599" y="71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78"/>
                    <a:pt x="1" y="84"/>
                    <a:pt x="1" y="89"/>
                  </a:cubicBezTo>
                  <a:cubicBezTo>
                    <a:pt x="613" y="89"/>
                    <a:pt x="613" y="89"/>
                    <a:pt x="613" y="89"/>
                  </a:cubicBezTo>
                  <a:cubicBezTo>
                    <a:pt x="621" y="89"/>
                    <a:pt x="627" y="83"/>
                    <a:pt x="627" y="75"/>
                  </a:cubicBezTo>
                  <a:cubicBezTo>
                    <a:pt x="627" y="15"/>
                    <a:pt x="627" y="15"/>
                    <a:pt x="627" y="15"/>
                  </a:cubicBezTo>
                  <a:cubicBezTo>
                    <a:pt x="627" y="7"/>
                    <a:pt x="621" y="1"/>
                    <a:pt x="613" y="0"/>
                  </a:cubicBezTo>
                  <a:close/>
                </a:path>
              </a:pathLst>
            </a:custGeom>
            <a:solidFill>
              <a:srgbClr val="DB9D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Freeform 84"/>
            <p:cNvSpPr>
              <a:spLocks/>
            </p:cNvSpPr>
            <p:nvPr/>
          </p:nvSpPr>
          <p:spPr bwMode="gray">
            <a:xfrm>
              <a:off x="10452400" y="5086670"/>
              <a:ext cx="203200" cy="238125"/>
            </a:xfrm>
            <a:custGeom>
              <a:avLst/>
              <a:gdLst>
                <a:gd name="T0" fmla="*/ 146 w 146"/>
                <a:gd name="T1" fmla="*/ 174 h 174"/>
                <a:gd name="T2" fmla="*/ 146 w 146"/>
                <a:gd name="T3" fmla="*/ 0 h 174"/>
                <a:gd name="T4" fmla="*/ 40 w 146"/>
                <a:gd name="T5" fmla="*/ 0 h 174"/>
                <a:gd name="T6" fmla="*/ 0 w 146"/>
                <a:gd name="T7" fmla="*/ 174 h 174"/>
                <a:gd name="T8" fmla="*/ 146 w 146"/>
                <a:gd name="T9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6" h="174">
                  <a:moveTo>
                    <a:pt x="146" y="174"/>
                  </a:moveTo>
                  <a:cubicBezTo>
                    <a:pt x="146" y="0"/>
                    <a:pt x="146" y="0"/>
                    <a:pt x="146" y="0"/>
                  </a:cubicBezTo>
                  <a:cubicBezTo>
                    <a:pt x="146" y="0"/>
                    <a:pt x="82" y="0"/>
                    <a:pt x="40" y="0"/>
                  </a:cubicBezTo>
                  <a:cubicBezTo>
                    <a:pt x="8" y="38"/>
                    <a:pt x="0" y="119"/>
                    <a:pt x="0" y="174"/>
                  </a:cubicBezTo>
                  <a:lnTo>
                    <a:pt x="146" y="17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Freeform 85"/>
            <p:cNvSpPr>
              <a:spLocks/>
            </p:cNvSpPr>
            <p:nvPr/>
          </p:nvSpPr>
          <p:spPr bwMode="gray">
            <a:xfrm>
              <a:off x="10452400" y="5086670"/>
              <a:ext cx="203200" cy="238125"/>
            </a:xfrm>
            <a:custGeom>
              <a:avLst/>
              <a:gdLst>
                <a:gd name="T0" fmla="*/ 146 w 146"/>
                <a:gd name="T1" fmla="*/ 174 h 174"/>
                <a:gd name="T2" fmla="*/ 40 w 146"/>
                <a:gd name="T3" fmla="*/ 0 h 174"/>
                <a:gd name="T4" fmla="*/ 0 w 146"/>
                <a:gd name="T5" fmla="*/ 174 h 174"/>
                <a:gd name="T6" fmla="*/ 146 w 146"/>
                <a:gd name="T7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6" h="174">
                  <a:moveTo>
                    <a:pt x="146" y="174"/>
                  </a:moveTo>
                  <a:cubicBezTo>
                    <a:pt x="146" y="174"/>
                    <a:pt x="84" y="73"/>
                    <a:pt x="40" y="0"/>
                  </a:cubicBezTo>
                  <a:cubicBezTo>
                    <a:pt x="8" y="38"/>
                    <a:pt x="0" y="119"/>
                    <a:pt x="0" y="174"/>
                  </a:cubicBezTo>
                  <a:lnTo>
                    <a:pt x="146" y="174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Oval 86"/>
            <p:cNvSpPr>
              <a:spLocks noChangeArrowheads="1"/>
            </p:cNvSpPr>
            <p:nvPr/>
          </p:nvSpPr>
          <p:spPr bwMode="gray">
            <a:xfrm>
              <a:off x="10458750" y="5353370"/>
              <a:ext cx="188913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Oval 87"/>
            <p:cNvSpPr>
              <a:spLocks noChangeArrowheads="1"/>
            </p:cNvSpPr>
            <p:nvPr/>
          </p:nvSpPr>
          <p:spPr bwMode="gray">
            <a:xfrm>
              <a:off x="10503200" y="5396233"/>
              <a:ext cx="100013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Oval 88"/>
            <p:cNvSpPr>
              <a:spLocks noChangeArrowheads="1"/>
            </p:cNvSpPr>
            <p:nvPr/>
          </p:nvSpPr>
          <p:spPr bwMode="gray">
            <a:xfrm>
              <a:off x="11041362" y="5353370"/>
              <a:ext cx="192088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Oval 89"/>
            <p:cNvSpPr>
              <a:spLocks noChangeArrowheads="1"/>
            </p:cNvSpPr>
            <p:nvPr/>
          </p:nvSpPr>
          <p:spPr bwMode="gray">
            <a:xfrm>
              <a:off x="1083975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Freeform 90"/>
            <p:cNvSpPr>
              <a:spLocks/>
            </p:cNvSpPr>
            <p:nvPr/>
          </p:nvSpPr>
          <p:spPr bwMode="gray">
            <a:xfrm>
              <a:off x="10503200" y="5412108"/>
              <a:ext cx="85725" cy="87312"/>
            </a:xfrm>
            <a:custGeom>
              <a:avLst/>
              <a:gdLst>
                <a:gd name="T0" fmla="*/ 37 w 62"/>
                <a:gd name="T1" fmla="*/ 63 h 63"/>
                <a:gd name="T2" fmla="*/ 62 w 62"/>
                <a:gd name="T3" fmla="*/ 52 h 63"/>
                <a:gd name="T4" fmla="*/ 10 w 62"/>
                <a:gd name="T5" fmla="*/ 0 h 63"/>
                <a:gd name="T6" fmla="*/ 0 w 62"/>
                <a:gd name="T7" fmla="*/ 26 h 63"/>
                <a:gd name="T8" fmla="*/ 37 w 62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63">
                  <a:moveTo>
                    <a:pt x="37" y="63"/>
                  </a:moveTo>
                  <a:cubicBezTo>
                    <a:pt x="47" y="63"/>
                    <a:pt x="56" y="59"/>
                    <a:pt x="62" y="5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6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Freeform 91"/>
            <p:cNvSpPr>
              <a:spLocks/>
            </p:cNvSpPr>
            <p:nvPr/>
          </p:nvSpPr>
          <p:spPr bwMode="gray">
            <a:xfrm>
              <a:off x="10241262" y="5359720"/>
              <a:ext cx="120650" cy="15875"/>
            </a:xfrm>
            <a:custGeom>
              <a:avLst/>
              <a:gdLst>
                <a:gd name="T0" fmla="*/ 81 w 87"/>
                <a:gd name="T1" fmla="*/ 12 h 12"/>
                <a:gd name="T2" fmla="*/ 6 w 87"/>
                <a:gd name="T3" fmla="*/ 12 h 12"/>
                <a:gd name="T4" fmla="*/ 0 w 87"/>
                <a:gd name="T5" fmla="*/ 6 h 12"/>
                <a:gd name="T6" fmla="*/ 6 w 87"/>
                <a:gd name="T7" fmla="*/ 0 h 12"/>
                <a:gd name="T8" fmla="*/ 81 w 87"/>
                <a:gd name="T9" fmla="*/ 0 h 12"/>
                <a:gd name="T10" fmla="*/ 87 w 87"/>
                <a:gd name="T11" fmla="*/ 6 h 12"/>
                <a:gd name="T12" fmla="*/ 81 w 8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2">
                  <a:moveTo>
                    <a:pt x="8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4" y="0"/>
                    <a:pt x="87" y="3"/>
                    <a:pt x="87" y="6"/>
                  </a:cubicBezTo>
                  <a:cubicBezTo>
                    <a:pt x="87" y="9"/>
                    <a:pt x="84" y="12"/>
                    <a:pt x="81" y="12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Freeform 92"/>
            <p:cNvSpPr>
              <a:spLocks/>
            </p:cNvSpPr>
            <p:nvPr/>
          </p:nvSpPr>
          <p:spPr bwMode="gray">
            <a:xfrm>
              <a:off x="10241262" y="5396233"/>
              <a:ext cx="120650" cy="17462"/>
            </a:xfrm>
            <a:custGeom>
              <a:avLst/>
              <a:gdLst>
                <a:gd name="T0" fmla="*/ 81 w 87"/>
                <a:gd name="T1" fmla="*/ 12 h 12"/>
                <a:gd name="T2" fmla="*/ 6 w 87"/>
                <a:gd name="T3" fmla="*/ 12 h 12"/>
                <a:gd name="T4" fmla="*/ 0 w 87"/>
                <a:gd name="T5" fmla="*/ 6 h 12"/>
                <a:gd name="T6" fmla="*/ 6 w 87"/>
                <a:gd name="T7" fmla="*/ 0 h 12"/>
                <a:gd name="T8" fmla="*/ 81 w 87"/>
                <a:gd name="T9" fmla="*/ 0 h 12"/>
                <a:gd name="T10" fmla="*/ 87 w 87"/>
                <a:gd name="T11" fmla="*/ 6 h 12"/>
                <a:gd name="T12" fmla="*/ 81 w 8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2">
                  <a:moveTo>
                    <a:pt x="8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4" y="0"/>
                    <a:pt x="87" y="3"/>
                    <a:pt x="87" y="6"/>
                  </a:cubicBezTo>
                  <a:cubicBezTo>
                    <a:pt x="87" y="10"/>
                    <a:pt x="84" y="12"/>
                    <a:pt x="81" y="12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Freeform 93"/>
            <p:cNvSpPr>
              <a:spLocks/>
            </p:cNvSpPr>
            <p:nvPr/>
          </p:nvSpPr>
          <p:spPr bwMode="gray">
            <a:xfrm>
              <a:off x="10209512" y="5086670"/>
              <a:ext cx="227013" cy="239712"/>
            </a:xfrm>
            <a:custGeom>
              <a:avLst/>
              <a:gdLst>
                <a:gd name="T0" fmla="*/ 31 w 164"/>
                <a:gd name="T1" fmla="*/ 0 h 175"/>
                <a:gd name="T2" fmla="*/ 0 w 164"/>
                <a:gd name="T3" fmla="*/ 175 h 175"/>
                <a:gd name="T4" fmla="*/ 133 w 164"/>
                <a:gd name="T5" fmla="*/ 175 h 175"/>
                <a:gd name="T6" fmla="*/ 164 w 164"/>
                <a:gd name="T7" fmla="*/ 0 h 175"/>
                <a:gd name="T8" fmla="*/ 31 w 164"/>
                <a:gd name="T9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4" h="175">
                  <a:moveTo>
                    <a:pt x="31" y="0"/>
                  </a:moveTo>
                  <a:cubicBezTo>
                    <a:pt x="9" y="49"/>
                    <a:pt x="1" y="119"/>
                    <a:pt x="0" y="175"/>
                  </a:cubicBezTo>
                  <a:cubicBezTo>
                    <a:pt x="133" y="175"/>
                    <a:pt x="133" y="175"/>
                    <a:pt x="133" y="175"/>
                  </a:cubicBezTo>
                  <a:cubicBezTo>
                    <a:pt x="134" y="119"/>
                    <a:pt x="142" y="49"/>
                    <a:pt x="164" y="0"/>
                  </a:cubicBezTo>
                  <a:lnTo>
                    <a:pt x="31" y="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Freeform 94"/>
            <p:cNvSpPr>
              <a:spLocks/>
            </p:cNvSpPr>
            <p:nvPr/>
          </p:nvSpPr>
          <p:spPr bwMode="gray">
            <a:xfrm>
              <a:off x="10209512" y="5086670"/>
              <a:ext cx="185738" cy="239712"/>
            </a:xfrm>
            <a:custGeom>
              <a:avLst/>
              <a:gdLst>
                <a:gd name="T0" fmla="*/ 31 w 134"/>
                <a:gd name="T1" fmla="*/ 0 h 175"/>
                <a:gd name="T2" fmla="*/ 0 w 134"/>
                <a:gd name="T3" fmla="*/ 175 h 175"/>
                <a:gd name="T4" fmla="*/ 133 w 134"/>
                <a:gd name="T5" fmla="*/ 175 h 175"/>
                <a:gd name="T6" fmla="*/ 31 w 134"/>
                <a:gd name="T7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4" h="175">
                  <a:moveTo>
                    <a:pt x="31" y="0"/>
                  </a:moveTo>
                  <a:cubicBezTo>
                    <a:pt x="9" y="49"/>
                    <a:pt x="1" y="119"/>
                    <a:pt x="0" y="175"/>
                  </a:cubicBezTo>
                  <a:cubicBezTo>
                    <a:pt x="133" y="175"/>
                    <a:pt x="133" y="175"/>
                    <a:pt x="133" y="175"/>
                  </a:cubicBezTo>
                  <a:cubicBezTo>
                    <a:pt x="134" y="119"/>
                    <a:pt x="31" y="0"/>
                    <a:pt x="31" y="0"/>
                  </a:cubicBez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8" name="Freeform 95"/>
            <p:cNvSpPr>
              <a:spLocks noEditPoints="1"/>
            </p:cNvSpPr>
            <p:nvPr/>
          </p:nvSpPr>
          <p:spPr bwMode="gray">
            <a:xfrm>
              <a:off x="9257012" y="4496120"/>
              <a:ext cx="280988" cy="279400"/>
            </a:xfrm>
            <a:custGeom>
              <a:avLst/>
              <a:gdLst>
                <a:gd name="T0" fmla="*/ 203 w 203"/>
                <a:gd name="T1" fmla="*/ 93 h 203"/>
                <a:gd name="T2" fmla="*/ 187 w 203"/>
                <a:gd name="T3" fmla="*/ 77 h 203"/>
                <a:gd name="T4" fmla="*/ 192 w 203"/>
                <a:gd name="T5" fmla="*/ 54 h 203"/>
                <a:gd name="T6" fmla="*/ 170 w 203"/>
                <a:gd name="T7" fmla="*/ 46 h 203"/>
                <a:gd name="T8" fmla="*/ 167 w 203"/>
                <a:gd name="T9" fmla="*/ 23 h 203"/>
                <a:gd name="T10" fmla="*/ 144 w 203"/>
                <a:gd name="T11" fmla="*/ 25 h 203"/>
                <a:gd name="T12" fmla="*/ 132 w 203"/>
                <a:gd name="T13" fmla="*/ 4 h 203"/>
                <a:gd name="T14" fmla="*/ 111 w 203"/>
                <a:gd name="T15" fmla="*/ 15 h 203"/>
                <a:gd name="T16" fmla="*/ 92 w 203"/>
                <a:gd name="T17" fmla="*/ 0 h 203"/>
                <a:gd name="T18" fmla="*/ 77 w 203"/>
                <a:gd name="T19" fmla="*/ 18 h 203"/>
                <a:gd name="T20" fmla="*/ 54 w 203"/>
                <a:gd name="T21" fmla="*/ 11 h 203"/>
                <a:gd name="T22" fmla="*/ 47 w 203"/>
                <a:gd name="T23" fmla="*/ 33 h 203"/>
                <a:gd name="T24" fmla="*/ 23 w 203"/>
                <a:gd name="T25" fmla="*/ 36 h 203"/>
                <a:gd name="T26" fmla="*/ 24 w 203"/>
                <a:gd name="T27" fmla="*/ 59 h 203"/>
                <a:gd name="T28" fmla="*/ 4 w 203"/>
                <a:gd name="T29" fmla="*/ 71 h 203"/>
                <a:gd name="T30" fmla="*/ 14 w 203"/>
                <a:gd name="T31" fmla="*/ 93 h 203"/>
                <a:gd name="T32" fmla="*/ 0 w 203"/>
                <a:gd name="T33" fmla="*/ 112 h 203"/>
                <a:gd name="T34" fmla="*/ 16 w 203"/>
                <a:gd name="T35" fmla="*/ 127 h 203"/>
                <a:gd name="T36" fmla="*/ 11 w 203"/>
                <a:gd name="T37" fmla="*/ 149 h 203"/>
                <a:gd name="T38" fmla="*/ 32 w 203"/>
                <a:gd name="T39" fmla="*/ 158 h 203"/>
                <a:gd name="T40" fmla="*/ 36 w 203"/>
                <a:gd name="T41" fmla="*/ 180 h 203"/>
                <a:gd name="T42" fmla="*/ 59 w 203"/>
                <a:gd name="T43" fmla="*/ 180 h 203"/>
                <a:gd name="T44" fmla="*/ 71 w 203"/>
                <a:gd name="T45" fmla="*/ 199 h 203"/>
                <a:gd name="T46" fmla="*/ 92 w 203"/>
                <a:gd name="T47" fmla="*/ 191 h 203"/>
                <a:gd name="T48" fmla="*/ 111 w 203"/>
                <a:gd name="T49" fmla="*/ 203 h 203"/>
                <a:gd name="T50" fmla="*/ 127 w 203"/>
                <a:gd name="T51" fmla="*/ 188 h 203"/>
                <a:gd name="T52" fmla="*/ 149 w 203"/>
                <a:gd name="T53" fmla="*/ 192 h 203"/>
                <a:gd name="T54" fmla="*/ 158 w 203"/>
                <a:gd name="T55" fmla="*/ 171 h 203"/>
                <a:gd name="T56" fmla="*/ 180 w 203"/>
                <a:gd name="T57" fmla="*/ 167 h 203"/>
                <a:gd name="T58" fmla="*/ 180 w 203"/>
                <a:gd name="T59" fmla="*/ 144 h 203"/>
                <a:gd name="T60" fmla="*/ 199 w 203"/>
                <a:gd name="T61" fmla="*/ 132 h 203"/>
                <a:gd name="T62" fmla="*/ 190 w 203"/>
                <a:gd name="T63" fmla="*/ 112 h 203"/>
                <a:gd name="T64" fmla="*/ 57 w 203"/>
                <a:gd name="T65" fmla="*/ 58 h 203"/>
                <a:gd name="T66" fmla="*/ 93 w 203"/>
                <a:gd name="T67" fmla="*/ 73 h 203"/>
                <a:gd name="T68" fmla="*/ 39 w 203"/>
                <a:gd name="T69" fmla="*/ 95 h 203"/>
                <a:gd name="T70" fmla="*/ 93 w 203"/>
                <a:gd name="T71" fmla="*/ 166 h 203"/>
                <a:gd name="T72" fmla="*/ 39 w 203"/>
                <a:gd name="T73" fmla="*/ 111 h 203"/>
                <a:gd name="T74" fmla="*/ 93 w 203"/>
                <a:gd name="T75" fmla="*/ 133 h 203"/>
                <a:gd name="T76" fmla="*/ 89 w 203"/>
                <a:gd name="T77" fmla="*/ 102 h 203"/>
                <a:gd name="T78" fmla="*/ 114 w 203"/>
                <a:gd name="T79" fmla="*/ 102 h 203"/>
                <a:gd name="T80" fmla="*/ 89 w 203"/>
                <a:gd name="T81" fmla="*/ 102 h 203"/>
                <a:gd name="T82" fmla="*/ 110 w 203"/>
                <a:gd name="T83" fmla="*/ 166 h 203"/>
                <a:gd name="T84" fmla="*/ 124 w 203"/>
                <a:gd name="T85" fmla="*/ 125 h 203"/>
                <a:gd name="T86" fmla="*/ 165 w 203"/>
                <a:gd name="T87" fmla="*/ 111 h 203"/>
                <a:gd name="T88" fmla="*/ 132 w 203"/>
                <a:gd name="T89" fmla="*/ 95 h 203"/>
                <a:gd name="T90" fmla="*/ 110 w 203"/>
                <a:gd name="T91" fmla="*/ 40 h 203"/>
                <a:gd name="T92" fmla="*/ 165 w 203"/>
                <a:gd name="T93" fmla="*/ 9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3" h="203">
                  <a:moveTo>
                    <a:pt x="203" y="112"/>
                  </a:moveTo>
                  <a:cubicBezTo>
                    <a:pt x="203" y="93"/>
                    <a:pt x="203" y="93"/>
                    <a:pt x="203" y="93"/>
                  </a:cubicBezTo>
                  <a:cubicBezTo>
                    <a:pt x="190" y="93"/>
                    <a:pt x="190" y="93"/>
                    <a:pt x="190" y="93"/>
                  </a:cubicBezTo>
                  <a:cubicBezTo>
                    <a:pt x="189" y="88"/>
                    <a:pt x="188" y="82"/>
                    <a:pt x="187" y="77"/>
                  </a:cubicBezTo>
                  <a:cubicBezTo>
                    <a:pt x="199" y="72"/>
                    <a:pt x="199" y="72"/>
                    <a:pt x="199" y="72"/>
                  </a:cubicBezTo>
                  <a:cubicBezTo>
                    <a:pt x="192" y="54"/>
                    <a:pt x="192" y="54"/>
                    <a:pt x="192" y="54"/>
                  </a:cubicBezTo>
                  <a:cubicBezTo>
                    <a:pt x="179" y="60"/>
                    <a:pt x="179" y="60"/>
                    <a:pt x="179" y="60"/>
                  </a:cubicBezTo>
                  <a:cubicBezTo>
                    <a:pt x="177" y="55"/>
                    <a:pt x="174" y="51"/>
                    <a:pt x="170" y="46"/>
                  </a:cubicBezTo>
                  <a:cubicBezTo>
                    <a:pt x="180" y="36"/>
                    <a:pt x="180" y="36"/>
                    <a:pt x="180" y="36"/>
                  </a:cubicBezTo>
                  <a:cubicBezTo>
                    <a:pt x="167" y="23"/>
                    <a:pt x="167" y="23"/>
                    <a:pt x="167" y="23"/>
                  </a:cubicBezTo>
                  <a:cubicBezTo>
                    <a:pt x="157" y="33"/>
                    <a:pt x="157" y="33"/>
                    <a:pt x="157" y="33"/>
                  </a:cubicBezTo>
                  <a:cubicBezTo>
                    <a:pt x="153" y="30"/>
                    <a:pt x="148" y="27"/>
                    <a:pt x="144" y="25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32" y="4"/>
                    <a:pt x="132" y="4"/>
                    <a:pt x="132" y="4"/>
                  </a:cubicBezTo>
                  <a:cubicBezTo>
                    <a:pt x="127" y="18"/>
                    <a:pt x="127" y="18"/>
                    <a:pt x="127" y="18"/>
                  </a:cubicBezTo>
                  <a:cubicBezTo>
                    <a:pt x="122" y="16"/>
                    <a:pt x="116" y="15"/>
                    <a:pt x="111" y="15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5"/>
                    <a:pt x="92" y="15"/>
                    <a:pt x="92" y="15"/>
                  </a:cubicBezTo>
                  <a:cubicBezTo>
                    <a:pt x="87" y="15"/>
                    <a:pt x="82" y="16"/>
                    <a:pt x="77" y="18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55" y="27"/>
                    <a:pt x="51" y="30"/>
                    <a:pt x="47" y="33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0" y="51"/>
                    <a:pt x="27" y="55"/>
                    <a:pt x="24" y="59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4" y="71"/>
                    <a:pt x="4" y="71"/>
                    <a:pt x="4" y="71"/>
                  </a:cubicBezTo>
                  <a:cubicBezTo>
                    <a:pt x="17" y="77"/>
                    <a:pt x="17" y="77"/>
                    <a:pt x="17" y="77"/>
                  </a:cubicBezTo>
                  <a:cubicBezTo>
                    <a:pt x="15" y="82"/>
                    <a:pt x="14" y="88"/>
                    <a:pt x="14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14" y="112"/>
                    <a:pt x="14" y="112"/>
                    <a:pt x="14" y="112"/>
                  </a:cubicBezTo>
                  <a:cubicBezTo>
                    <a:pt x="14" y="117"/>
                    <a:pt x="15" y="122"/>
                    <a:pt x="16" y="127"/>
                  </a:cubicBezTo>
                  <a:cubicBezTo>
                    <a:pt x="4" y="132"/>
                    <a:pt x="4" y="132"/>
                    <a:pt x="4" y="132"/>
                  </a:cubicBezTo>
                  <a:cubicBezTo>
                    <a:pt x="11" y="149"/>
                    <a:pt x="11" y="149"/>
                    <a:pt x="11" y="149"/>
                  </a:cubicBezTo>
                  <a:cubicBezTo>
                    <a:pt x="23" y="144"/>
                    <a:pt x="23" y="144"/>
                    <a:pt x="23" y="144"/>
                  </a:cubicBezTo>
                  <a:cubicBezTo>
                    <a:pt x="26" y="149"/>
                    <a:pt x="29" y="154"/>
                    <a:pt x="32" y="158"/>
                  </a:cubicBezTo>
                  <a:cubicBezTo>
                    <a:pt x="23" y="167"/>
                    <a:pt x="23" y="167"/>
                    <a:pt x="23" y="167"/>
                  </a:cubicBezTo>
                  <a:cubicBezTo>
                    <a:pt x="36" y="180"/>
                    <a:pt x="36" y="180"/>
                    <a:pt x="36" y="180"/>
                  </a:cubicBezTo>
                  <a:cubicBezTo>
                    <a:pt x="45" y="171"/>
                    <a:pt x="45" y="171"/>
                    <a:pt x="45" y="171"/>
                  </a:cubicBezTo>
                  <a:cubicBezTo>
                    <a:pt x="50" y="175"/>
                    <a:pt x="54" y="178"/>
                    <a:pt x="59" y="180"/>
                  </a:cubicBezTo>
                  <a:cubicBezTo>
                    <a:pt x="54" y="192"/>
                    <a:pt x="54" y="192"/>
                    <a:pt x="54" y="192"/>
                  </a:cubicBezTo>
                  <a:cubicBezTo>
                    <a:pt x="71" y="199"/>
                    <a:pt x="71" y="199"/>
                    <a:pt x="71" y="199"/>
                  </a:cubicBezTo>
                  <a:cubicBezTo>
                    <a:pt x="76" y="188"/>
                    <a:pt x="76" y="188"/>
                    <a:pt x="76" y="188"/>
                  </a:cubicBezTo>
                  <a:cubicBezTo>
                    <a:pt x="81" y="189"/>
                    <a:pt x="87" y="190"/>
                    <a:pt x="92" y="191"/>
                  </a:cubicBezTo>
                  <a:cubicBezTo>
                    <a:pt x="92" y="203"/>
                    <a:pt x="92" y="203"/>
                    <a:pt x="92" y="203"/>
                  </a:cubicBezTo>
                  <a:cubicBezTo>
                    <a:pt x="111" y="203"/>
                    <a:pt x="111" y="203"/>
                    <a:pt x="111" y="203"/>
                  </a:cubicBezTo>
                  <a:cubicBezTo>
                    <a:pt x="111" y="191"/>
                    <a:pt x="111" y="191"/>
                    <a:pt x="111" y="191"/>
                  </a:cubicBezTo>
                  <a:cubicBezTo>
                    <a:pt x="117" y="190"/>
                    <a:pt x="122" y="189"/>
                    <a:pt x="127" y="188"/>
                  </a:cubicBezTo>
                  <a:cubicBezTo>
                    <a:pt x="132" y="199"/>
                    <a:pt x="132" y="199"/>
                    <a:pt x="132" y="199"/>
                  </a:cubicBezTo>
                  <a:cubicBezTo>
                    <a:pt x="149" y="192"/>
                    <a:pt x="149" y="192"/>
                    <a:pt x="149" y="192"/>
                  </a:cubicBezTo>
                  <a:cubicBezTo>
                    <a:pt x="144" y="181"/>
                    <a:pt x="144" y="181"/>
                    <a:pt x="144" y="181"/>
                  </a:cubicBezTo>
                  <a:cubicBezTo>
                    <a:pt x="149" y="178"/>
                    <a:pt x="154" y="175"/>
                    <a:pt x="158" y="171"/>
                  </a:cubicBezTo>
                  <a:cubicBezTo>
                    <a:pt x="167" y="180"/>
                    <a:pt x="167" y="180"/>
                    <a:pt x="167" y="180"/>
                  </a:cubicBezTo>
                  <a:cubicBezTo>
                    <a:pt x="180" y="167"/>
                    <a:pt x="180" y="167"/>
                    <a:pt x="180" y="167"/>
                  </a:cubicBezTo>
                  <a:cubicBezTo>
                    <a:pt x="171" y="158"/>
                    <a:pt x="171" y="158"/>
                    <a:pt x="171" y="158"/>
                  </a:cubicBezTo>
                  <a:cubicBezTo>
                    <a:pt x="175" y="154"/>
                    <a:pt x="178" y="149"/>
                    <a:pt x="180" y="144"/>
                  </a:cubicBezTo>
                  <a:cubicBezTo>
                    <a:pt x="192" y="149"/>
                    <a:pt x="192" y="149"/>
                    <a:pt x="192" y="149"/>
                  </a:cubicBezTo>
                  <a:cubicBezTo>
                    <a:pt x="199" y="132"/>
                    <a:pt x="199" y="132"/>
                    <a:pt x="199" y="132"/>
                  </a:cubicBezTo>
                  <a:cubicBezTo>
                    <a:pt x="187" y="127"/>
                    <a:pt x="187" y="127"/>
                    <a:pt x="187" y="127"/>
                  </a:cubicBezTo>
                  <a:cubicBezTo>
                    <a:pt x="188" y="122"/>
                    <a:pt x="189" y="117"/>
                    <a:pt x="190" y="112"/>
                  </a:cubicBezTo>
                  <a:lnTo>
                    <a:pt x="203" y="112"/>
                  </a:lnTo>
                  <a:close/>
                  <a:moveTo>
                    <a:pt x="57" y="58"/>
                  </a:moveTo>
                  <a:cubicBezTo>
                    <a:pt x="67" y="48"/>
                    <a:pt x="80" y="41"/>
                    <a:pt x="93" y="40"/>
                  </a:cubicBezTo>
                  <a:cubicBezTo>
                    <a:pt x="93" y="73"/>
                    <a:pt x="93" y="73"/>
                    <a:pt x="93" y="73"/>
                  </a:cubicBezTo>
                  <a:cubicBezTo>
                    <a:pt x="83" y="76"/>
                    <a:pt x="75" y="84"/>
                    <a:pt x="72" y="95"/>
                  </a:cubicBezTo>
                  <a:cubicBezTo>
                    <a:pt x="39" y="95"/>
                    <a:pt x="39" y="95"/>
                    <a:pt x="39" y="95"/>
                  </a:cubicBezTo>
                  <a:cubicBezTo>
                    <a:pt x="40" y="81"/>
                    <a:pt x="47" y="68"/>
                    <a:pt x="57" y="58"/>
                  </a:cubicBezTo>
                  <a:close/>
                  <a:moveTo>
                    <a:pt x="93" y="166"/>
                  </a:moveTo>
                  <a:cubicBezTo>
                    <a:pt x="80" y="164"/>
                    <a:pt x="67" y="158"/>
                    <a:pt x="57" y="148"/>
                  </a:cubicBezTo>
                  <a:cubicBezTo>
                    <a:pt x="47" y="138"/>
                    <a:pt x="40" y="125"/>
                    <a:pt x="39" y="111"/>
                  </a:cubicBezTo>
                  <a:cubicBezTo>
                    <a:pt x="72" y="111"/>
                    <a:pt x="72" y="111"/>
                    <a:pt x="72" y="111"/>
                  </a:cubicBezTo>
                  <a:cubicBezTo>
                    <a:pt x="75" y="122"/>
                    <a:pt x="83" y="130"/>
                    <a:pt x="93" y="133"/>
                  </a:cubicBezTo>
                  <a:lnTo>
                    <a:pt x="93" y="166"/>
                  </a:lnTo>
                  <a:close/>
                  <a:moveTo>
                    <a:pt x="89" y="102"/>
                  </a:moveTo>
                  <a:cubicBezTo>
                    <a:pt x="89" y="95"/>
                    <a:pt x="95" y="89"/>
                    <a:pt x="102" y="89"/>
                  </a:cubicBezTo>
                  <a:cubicBezTo>
                    <a:pt x="109" y="89"/>
                    <a:pt x="114" y="95"/>
                    <a:pt x="114" y="102"/>
                  </a:cubicBezTo>
                  <a:cubicBezTo>
                    <a:pt x="114" y="109"/>
                    <a:pt x="109" y="114"/>
                    <a:pt x="102" y="114"/>
                  </a:cubicBezTo>
                  <a:cubicBezTo>
                    <a:pt x="95" y="114"/>
                    <a:pt x="89" y="109"/>
                    <a:pt x="89" y="102"/>
                  </a:cubicBezTo>
                  <a:close/>
                  <a:moveTo>
                    <a:pt x="147" y="148"/>
                  </a:moveTo>
                  <a:cubicBezTo>
                    <a:pt x="137" y="158"/>
                    <a:pt x="124" y="164"/>
                    <a:pt x="110" y="166"/>
                  </a:cubicBezTo>
                  <a:cubicBezTo>
                    <a:pt x="110" y="133"/>
                    <a:pt x="110" y="133"/>
                    <a:pt x="110" y="133"/>
                  </a:cubicBezTo>
                  <a:cubicBezTo>
                    <a:pt x="115" y="131"/>
                    <a:pt x="120" y="129"/>
                    <a:pt x="124" y="125"/>
                  </a:cubicBezTo>
                  <a:cubicBezTo>
                    <a:pt x="128" y="121"/>
                    <a:pt x="130" y="116"/>
                    <a:pt x="132" y="111"/>
                  </a:cubicBezTo>
                  <a:cubicBezTo>
                    <a:pt x="165" y="111"/>
                    <a:pt x="165" y="111"/>
                    <a:pt x="165" y="111"/>
                  </a:cubicBezTo>
                  <a:cubicBezTo>
                    <a:pt x="163" y="125"/>
                    <a:pt x="157" y="138"/>
                    <a:pt x="147" y="148"/>
                  </a:cubicBezTo>
                  <a:close/>
                  <a:moveTo>
                    <a:pt x="132" y="95"/>
                  </a:moveTo>
                  <a:cubicBezTo>
                    <a:pt x="129" y="84"/>
                    <a:pt x="121" y="76"/>
                    <a:pt x="110" y="73"/>
                  </a:cubicBezTo>
                  <a:cubicBezTo>
                    <a:pt x="110" y="40"/>
                    <a:pt x="110" y="40"/>
                    <a:pt x="110" y="40"/>
                  </a:cubicBezTo>
                  <a:cubicBezTo>
                    <a:pt x="124" y="41"/>
                    <a:pt x="137" y="48"/>
                    <a:pt x="147" y="58"/>
                  </a:cubicBezTo>
                  <a:cubicBezTo>
                    <a:pt x="157" y="68"/>
                    <a:pt x="163" y="81"/>
                    <a:pt x="165" y="95"/>
                  </a:cubicBezTo>
                  <a:lnTo>
                    <a:pt x="132" y="95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Freeform 96"/>
            <p:cNvSpPr>
              <a:spLocks noEditPoints="1"/>
            </p:cNvSpPr>
            <p:nvPr/>
          </p:nvSpPr>
          <p:spPr bwMode="gray">
            <a:xfrm>
              <a:off x="9109375" y="4723133"/>
              <a:ext cx="254000" cy="254000"/>
            </a:xfrm>
            <a:custGeom>
              <a:avLst/>
              <a:gdLst>
                <a:gd name="T0" fmla="*/ 184 w 184"/>
                <a:gd name="T1" fmla="*/ 112 h 185"/>
                <a:gd name="T2" fmla="*/ 161 w 184"/>
                <a:gd name="T3" fmla="*/ 89 h 185"/>
                <a:gd name="T4" fmla="*/ 181 w 184"/>
                <a:gd name="T5" fmla="*/ 63 h 185"/>
                <a:gd name="T6" fmla="*/ 150 w 184"/>
                <a:gd name="T7" fmla="*/ 55 h 185"/>
                <a:gd name="T8" fmla="*/ 155 w 184"/>
                <a:gd name="T9" fmla="*/ 22 h 185"/>
                <a:gd name="T10" fmla="*/ 123 w 184"/>
                <a:gd name="T11" fmla="*/ 31 h 185"/>
                <a:gd name="T12" fmla="*/ 111 w 184"/>
                <a:gd name="T13" fmla="*/ 0 h 185"/>
                <a:gd name="T14" fmla="*/ 88 w 184"/>
                <a:gd name="T15" fmla="*/ 23 h 185"/>
                <a:gd name="T16" fmla="*/ 63 w 184"/>
                <a:gd name="T17" fmla="*/ 3 h 185"/>
                <a:gd name="T18" fmla="*/ 54 w 184"/>
                <a:gd name="T19" fmla="*/ 34 h 185"/>
                <a:gd name="T20" fmla="*/ 22 w 184"/>
                <a:gd name="T21" fmla="*/ 29 h 185"/>
                <a:gd name="T22" fmla="*/ 30 w 184"/>
                <a:gd name="T23" fmla="*/ 61 h 185"/>
                <a:gd name="T24" fmla="*/ 0 w 184"/>
                <a:gd name="T25" fmla="*/ 73 h 185"/>
                <a:gd name="T26" fmla="*/ 23 w 184"/>
                <a:gd name="T27" fmla="*/ 96 h 185"/>
                <a:gd name="T28" fmla="*/ 2 w 184"/>
                <a:gd name="T29" fmla="*/ 121 h 185"/>
                <a:gd name="T30" fmla="*/ 34 w 184"/>
                <a:gd name="T31" fmla="*/ 130 h 185"/>
                <a:gd name="T32" fmla="*/ 29 w 184"/>
                <a:gd name="T33" fmla="*/ 162 h 185"/>
                <a:gd name="T34" fmla="*/ 60 w 184"/>
                <a:gd name="T35" fmla="*/ 154 h 185"/>
                <a:gd name="T36" fmla="*/ 72 w 184"/>
                <a:gd name="T37" fmla="*/ 185 h 185"/>
                <a:gd name="T38" fmla="*/ 95 w 184"/>
                <a:gd name="T39" fmla="*/ 161 h 185"/>
                <a:gd name="T40" fmla="*/ 121 w 184"/>
                <a:gd name="T41" fmla="*/ 182 h 185"/>
                <a:gd name="T42" fmla="*/ 129 w 184"/>
                <a:gd name="T43" fmla="*/ 150 h 185"/>
                <a:gd name="T44" fmla="*/ 162 w 184"/>
                <a:gd name="T45" fmla="*/ 156 h 185"/>
                <a:gd name="T46" fmla="*/ 153 w 184"/>
                <a:gd name="T47" fmla="*/ 124 h 185"/>
                <a:gd name="T48" fmla="*/ 184 w 184"/>
                <a:gd name="T49" fmla="*/ 112 h 185"/>
                <a:gd name="T50" fmla="*/ 92 w 184"/>
                <a:gd name="T51" fmla="*/ 115 h 185"/>
                <a:gd name="T52" fmla="*/ 69 w 184"/>
                <a:gd name="T53" fmla="*/ 92 h 185"/>
                <a:gd name="T54" fmla="*/ 92 w 184"/>
                <a:gd name="T55" fmla="*/ 70 h 185"/>
                <a:gd name="T56" fmla="*/ 114 w 184"/>
                <a:gd name="T57" fmla="*/ 92 h 185"/>
                <a:gd name="T58" fmla="*/ 92 w 184"/>
                <a:gd name="T59" fmla="*/ 115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84" h="185">
                  <a:moveTo>
                    <a:pt x="184" y="112"/>
                  </a:moveTo>
                  <a:cubicBezTo>
                    <a:pt x="161" y="89"/>
                    <a:pt x="161" y="89"/>
                    <a:pt x="161" y="89"/>
                  </a:cubicBezTo>
                  <a:cubicBezTo>
                    <a:pt x="181" y="63"/>
                    <a:pt x="181" y="63"/>
                    <a:pt x="181" y="63"/>
                  </a:cubicBezTo>
                  <a:cubicBezTo>
                    <a:pt x="150" y="55"/>
                    <a:pt x="150" y="55"/>
                    <a:pt x="150" y="55"/>
                  </a:cubicBezTo>
                  <a:cubicBezTo>
                    <a:pt x="155" y="22"/>
                    <a:pt x="155" y="22"/>
                    <a:pt x="155" y="22"/>
                  </a:cubicBezTo>
                  <a:cubicBezTo>
                    <a:pt x="123" y="31"/>
                    <a:pt x="123" y="31"/>
                    <a:pt x="123" y="31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88" y="23"/>
                    <a:pt x="88" y="23"/>
                    <a:pt x="88" y="23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54" y="34"/>
                    <a:pt x="54" y="34"/>
                    <a:pt x="54" y="34"/>
                  </a:cubicBezTo>
                  <a:cubicBezTo>
                    <a:pt x="22" y="29"/>
                    <a:pt x="22" y="29"/>
                    <a:pt x="22" y="29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23" y="96"/>
                    <a:pt x="23" y="96"/>
                    <a:pt x="23" y="96"/>
                  </a:cubicBezTo>
                  <a:cubicBezTo>
                    <a:pt x="2" y="121"/>
                    <a:pt x="2" y="121"/>
                    <a:pt x="2" y="121"/>
                  </a:cubicBezTo>
                  <a:cubicBezTo>
                    <a:pt x="34" y="130"/>
                    <a:pt x="34" y="130"/>
                    <a:pt x="34" y="130"/>
                  </a:cubicBezTo>
                  <a:cubicBezTo>
                    <a:pt x="29" y="162"/>
                    <a:pt x="29" y="162"/>
                    <a:pt x="29" y="162"/>
                  </a:cubicBezTo>
                  <a:cubicBezTo>
                    <a:pt x="60" y="154"/>
                    <a:pt x="60" y="154"/>
                    <a:pt x="60" y="154"/>
                  </a:cubicBezTo>
                  <a:cubicBezTo>
                    <a:pt x="72" y="185"/>
                    <a:pt x="72" y="185"/>
                    <a:pt x="72" y="185"/>
                  </a:cubicBezTo>
                  <a:cubicBezTo>
                    <a:pt x="95" y="161"/>
                    <a:pt x="95" y="161"/>
                    <a:pt x="95" y="161"/>
                  </a:cubicBezTo>
                  <a:cubicBezTo>
                    <a:pt x="121" y="182"/>
                    <a:pt x="121" y="182"/>
                    <a:pt x="121" y="182"/>
                  </a:cubicBezTo>
                  <a:cubicBezTo>
                    <a:pt x="129" y="150"/>
                    <a:pt x="129" y="150"/>
                    <a:pt x="129" y="150"/>
                  </a:cubicBezTo>
                  <a:cubicBezTo>
                    <a:pt x="162" y="156"/>
                    <a:pt x="162" y="156"/>
                    <a:pt x="162" y="156"/>
                  </a:cubicBezTo>
                  <a:cubicBezTo>
                    <a:pt x="153" y="124"/>
                    <a:pt x="153" y="124"/>
                    <a:pt x="153" y="124"/>
                  </a:cubicBezTo>
                  <a:lnTo>
                    <a:pt x="184" y="112"/>
                  </a:lnTo>
                  <a:close/>
                  <a:moveTo>
                    <a:pt x="92" y="115"/>
                  </a:moveTo>
                  <a:cubicBezTo>
                    <a:pt x="79" y="115"/>
                    <a:pt x="69" y="105"/>
                    <a:pt x="69" y="92"/>
                  </a:cubicBezTo>
                  <a:cubicBezTo>
                    <a:pt x="69" y="80"/>
                    <a:pt x="79" y="70"/>
                    <a:pt x="92" y="70"/>
                  </a:cubicBezTo>
                  <a:cubicBezTo>
                    <a:pt x="104" y="70"/>
                    <a:pt x="114" y="80"/>
                    <a:pt x="114" y="92"/>
                  </a:cubicBezTo>
                  <a:cubicBezTo>
                    <a:pt x="114" y="105"/>
                    <a:pt x="104" y="115"/>
                    <a:pt x="92" y="115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Freeform 97"/>
            <p:cNvSpPr>
              <a:spLocks noEditPoints="1"/>
            </p:cNvSpPr>
            <p:nvPr/>
          </p:nvSpPr>
          <p:spPr bwMode="gray">
            <a:xfrm>
              <a:off x="9464975" y="4650108"/>
              <a:ext cx="358775" cy="355600"/>
            </a:xfrm>
            <a:custGeom>
              <a:avLst/>
              <a:gdLst>
                <a:gd name="T0" fmla="*/ 247 w 259"/>
                <a:gd name="T1" fmla="*/ 139 h 259"/>
                <a:gd name="T2" fmla="*/ 228 w 259"/>
                <a:gd name="T3" fmla="*/ 133 h 259"/>
                <a:gd name="T4" fmla="*/ 224 w 259"/>
                <a:gd name="T5" fmla="*/ 103 h 259"/>
                <a:gd name="T6" fmla="*/ 241 w 259"/>
                <a:gd name="T7" fmla="*/ 94 h 259"/>
                <a:gd name="T8" fmla="*/ 247 w 259"/>
                <a:gd name="T9" fmla="*/ 73 h 259"/>
                <a:gd name="T10" fmla="*/ 239 w 259"/>
                <a:gd name="T11" fmla="*/ 59 h 259"/>
                <a:gd name="T12" fmla="*/ 219 w 259"/>
                <a:gd name="T13" fmla="*/ 53 h 259"/>
                <a:gd name="T14" fmla="*/ 202 w 259"/>
                <a:gd name="T15" fmla="*/ 63 h 259"/>
                <a:gd name="T16" fmla="*/ 178 w 259"/>
                <a:gd name="T17" fmla="*/ 44 h 259"/>
                <a:gd name="T18" fmla="*/ 183 w 259"/>
                <a:gd name="T19" fmla="*/ 25 h 259"/>
                <a:gd name="T20" fmla="*/ 173 w 259"/>
                <a:gd name="T21" fmla="*/ 7 h 259"/>
                <a:gd name="T22" fmla="*/ 157 w 259"/>
                <a:gd name="T23" fmla="*/ 2 h 259"/>
                <a:gd name="T24" fmla="*/ 138 w 259"/>
                <a:gd name="T25" fmla="*/ 12 h 259"/>
                <a:gd name="T26" fmla="*/ 133 w 259"/>
                <a:gd name="T27" fmla="*/ 31 h 259"/>
                <a:gd name="T28" fmla="*/ 103 w 259"/>
                <a:gd name="T29" fmla="*/ 35 h 259"/>
                <a:gd name="T30" fmla="*/ 93 w 259"/>
                <a:gd name="T31" fmla="*/ 18 h 259"/>
                <a:gd name="T32" fmla="*/ 73 w 259"/>
                <a:gd name="T33" fmla="*/ 12 h 259"/>
                <a:gd name="T34" fmla="*/ 59 w 259"/>
                <a:gd name="T35" fmla="*/ 20 h 259"/>
                <a:gd name="T36" fmla="*/ 53 w 259"/>
                <a:gd name="T37" fmla="*/ 40 h 259"/>
                <a:gd name="T38" fmla="*/ 63 w 259"/>
                <a:gd name="T39" fmla="*/ 58 h 259"/>
                <a:gd name="T40" fmla="*/ 44 w 259"/>
                <a:gd name="T41" fmla="*/ 81 h 259"/>
                <a:gd name="T42" fmla="*/ 25 w 259"/>
                <a:gd name="T43" fmla="*/ 76 h 259"/>
                <a:gd name="T44" fmla="*/ 7 w 259"/>
                <a:gd name="T45" fmla="*/ 86 h 259"/>
                <a:gd name="T46" fmla="*/ 2 w 259"/>
                <a:gd name="T47" fmla="*/ 103 h 259"/>
                <a:gd name="T48" fmla="*/ 12 w 259"/>
                <a:gd name="T49" fmla="*/ 121 h 259"/>
                <a:gd name="T50" fmla="*/ 31 w 259"/>
                <a:gd name="T51" fmla="*/ 126 h 259"/>
                <a:gd name="T52" fmla="*/ 35 w 259"/>
                <a:gd name="T53" fmla="*/ 156 h 259"/>
                <a:gd name="T54" fmla="*/ 18 w 259"/>
                <a:gd name="T55" fmla="*/ 166 h 259"/>
                <a:gd name="T56" fmla="*/ 12 w 259"/>
                <a:gd name="T57" fmla="*/ 186 h 259"/>
                <a:gd name="T58" fmla="*/ 20 w 259"/>
                <a:gd name="T59" fmla="*/ 201 h 259"/>
                <a:gd name="T60" fmla="*/ 40 w 259"/>
                <a:gd name="T61" fmla="*/ 206 h 259"/>
                <a:gd name="T62" fmla="*/ 58 w 259"/>
                <a:gd name="T63" fmla="*/ 197 h 259"/>
                <a:gd name="T64" fmla="*/ 81 w 259"/>
                <a:gd name="T65" fmla="*/ 215 h 259"/>
                <a:gd name="T66" fmla="*/ 76 w 259"/>
                <a:gd name="T67" fmla="*/ 234 h 259"/>
                <a:gd name="T68" fmla="*/ 86 w 259"/>
                <a:gd name="T69" fmla="*/ 253 h 259"/>
                <a:gd name="T70" fmla="*/ 102 w 259"/>
                <a:gd name="T71" fmla="*/ 257 h 259"/>
                <a:gd name="T72" fmla="*/ 121 w 259"/>
                <a:gd name="T73" fmla="*/ 247 h 259"/>
                <a:gd name="T74" fmla="*/ 126 w 259"/>
                <a:gd name="T75" fmla="*/ 228 h 259"/>
                <a:gd name="T76" fmla="*/ 156 w 259"/>
                <a:gd name="T77" fmla="*/ 224 h 259"/>
                <a:gd name="T78" fmla="*/ 166 w 259"/>
                <a:gd name="T79" fmla="*/ 242 h 259"/>
                <a:gd name="T80" fmla="*/ 186 w 259"/>
                <a:gd name="T81" fmla="*/ 247 h 259"/>
                <a:gd name="T82" fmla="*/ 200 w 259"/>
                <a:gd name="T83" fmla="*/ 239 h 259"/>
                <a:gd name="T84" fmla="*/ 206 w 259"/>
                <a:gd name="T85" fmla="*/ 219 h 259"/>
                <a:gd name="T86" fmla="*/ 197 w 259"/>
                <a:gd name="T87" fmla="*/ 202 h 259"/>
                <a:gd name="T88" fmla="*/ 215 w 259"/>
                <a:gd name="T89" fmla="*/ 178 h 259"/>
                <a:gd name="T90" fmla="*/ 234 w 259"/>
                <a:gd name="T91" fmla="*/ 183 h 259"/>
                <a:gd name="T92" fmla="*/ 252 w 259"/>
                <a:gd name="T93" fmla="*/ 173 h 259"/>
                <a:gd name="T94" fmla="*/ 257 w 259"/>
                <a:gd name="T95" fmla="*/ 157 h 259"/>
                <a:gd name="T96" fmla="*/ 247 w 259"/>
                <a:gd name="T97" fmla="*/ 139 h 259"/>
                <a:gd name="T98" fmla="*/ 116 w 259"/>
                <a:gd name="T99" fmla="*/ 178 h 259"/>
                <a:gd name="T100" fmla="*/ 82 w 259"/>
                <a:gd name="T101" fmla="*/ 116 h 259"/>
                <a:gd name="T102" fmla="*/ 143 w 259"/>
                <a:gd name="T103" fmla="*/ 82 h 259"/>
                <a:gd name="T104" fmla="*/ 177 w 259"/>
                <a:gd name="T105" fmla="*/ 143 h 259"/>
                <a:gd name="T106" fmla="*/ 116 w 259"/>
                <a:gd name="T107" fmla="*/ 178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59" h="259">
                  <a:moveTo>
                    <a:pt x="247" y="139"/>
                  </a:moveTo>
                  <a:cubicBezTo>
                    <a:pt x="228" y="133"/>
                    <a:pt x="228" y="133"/>
                    <a:pt x="228" y="133"/>
                  </a:cubicBezTo>
                  <a:cubicBezTo>
                    <a:pt x="228" y="123"/>
                    <a:pt x="227" y="113"/>
                    <a:pt x="224" y="103"/>
                  </a:cubicBezTo>
                  <a:cubicBezTo>
                    <a:pt x="241" y="94"/>
                    <a:pt x="241" y="94"/>
                    <a:pt x="241" y="94"/>
                  </a:cubicBezTo>
                  <a:cubicBezTo>
                    <a:pt x="249" y="90"/>
                    <a:pt x="251" y="81"/>
                    <a:pt x="247" y="73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5" y="52"/>
                    <a:pt x="226" y="49"/>
                    <a:pt x="219" y="53"/>
                  </a:cubicBezTo>
                  <a:cubicBezTo>
                    <a:pt x="202" y="63"/>
                    <a:pt x="202" y="63"/>
                    <a:pt x="202" y="63"/>
                  </a:cubicBezTo>
                  <a:cubicBezTo>
                    <a:pt x="195" y="55"/>
                    <a:pt x="187" y="49"/>
                    <a:pt x="178" y="44"/>
                  </a:cubicBezTo>
                  <a:cubicBezTo>
                    <a:pt x="183" y="25"/>
                    <a:pt x="183" y="25"/>
                    <a:pt x="183" y="25"/>
                  </a:cubicBezTo>
                  <a:cubicBezTo>
                    <a:pt x="185" y="17"/>
                    <a:pt x="181" y="9"/>
                    <a:pt x="173" y="7"/>
                  </a:cubicBezTo>
                  <a:cubicBezTo>
                    <a:pt x="157" y="2"/>
                    <a:pt x="157" y="2"/>
                    <a:pt x="157" y="2"/>
                  </a:cubicBezTo>
                  <a:cubicBezTo>
                    <a:pt x="149" y="0"/>
                    <a:pt x="141" y="5"/>
                    <a:pt x="138" y="12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23" y="31"/>
                    <a:pt x="113" y="32"/>
                    <a:pt x="103" y="35"/>
                  </a:cubicBezTo>
                  <a:cubicBezTo>
                    <a:pt x="93" y="18"/>
                    <a:pt x="93" y="18"/>
                    <a:pt x="93" y="18"/>
                  </a:cubicBezTo>
                  <a:cubicBezTo>
                    <a:pt x="90" y="11"/>
                    <a:pt x="80" y="8"/>
                    <a:pt x="73" y="12"/>
                  </a:cubicBezTo>
                  <a:cubicBezTo>
                    <a:pt x="59" y="20"/>
                    <a:pt x="59" y="20"/>
                    <a:pt x="59" y="20"/>
                  </a:cubicBezTo>
                  <a:cubicBezTo>
                    <a:pt x="51" y="24"/>
                    <a:pt x="49" y="33"/>
                    <a:pt x="53" y="40"/>
                  </a:cubicBezTo>
                  <a:cubicBezTo>
                    <a:pt x="63" y="58"/>
                    <a:pt x="63" y="58"/>
                    <a:pt x="63" y="58"/>
                  </a:cubicBezTo>
                  <a:cubicBezTo>
                    <a:pt x="55" y="64"/>
                    <a:pt x="49" y="72"/>
                    <a:pt x="44" y="81"/>
                  </a:cubicBezTo>
                  <a:cubicBezTo>
                    <a:pt x="25" y="76"/>
                    <a:pt x="25" y="76"/>
                    <a:pt x="25" y="76"/>
                  </a:cubicBezTo>
                  <a:cubicBezTo>
                    <a:pt x="17" y="74"/>
                    <a:pt x="9" y="78"/>
                    <a:pt x="7" y="86"/>
                  </a:cubicBezTo>
                  <a:cubicBezTo>
                    <a:pt x="2" y="103"/>
                    <a:pt x="2" y="103"/>
                    <a:pt x="2" y="103"/>
                  </a:cubicBezTo>
                  <a:cubicBezTo>
                    <a:pt x="0" y="110"/>
                    <a:pt x="4" y="119"/>
                    <a:pt x="12" y="121"/>
                  </a:cubicBezTo>
                  <a:cubicBezTo>
                    <a:pt x="31" y="126"/>
                    <a:pt x="31" y="126"/>
                    <a:pt x="31" y="126"/>
                  </a:cubicBezTo>
                  <a:cubicBezTo>
                    <a:pt x="31" y="136"/>
                    <a:pt x="32" y="146"/>
                    <a:pt x="35" y="156"/>
                  </a:cubicBezTo>
                  <a:cubicBezTo>
                    <a:pt x="18" y="166"/>
                    <a:pt x="18" y="166"/>
                    <a:pt x="18" y="166"/>
                  </a:cubicBezTo>
                  <a:cubicBezTo>
                    <a:pt x="11" y="170"/>
                    <a:pt x="8" y="179"/>
                    <a:pt x="12" y="186"/>
                  </a:cubicBezTo>
                  <a:cubicBezTo>
                    <a:pt x="20" y="201"/>
                    <a:pt x="20" y="201"/>
                    <a:pt x="20" y="201"/>
                  </a:cubicBezTo>
                  <a:cubicBezTo>
                    <a:pt x="24" y="208"/>
                    <a:pt x="33" y="210"/>
                    <a:pt x="40" y="206"/>
                  </a:cubicBezTo>
                  <a:cubicBezTo>
                    <a:pt x="58" y="197"/>
                    <a:pt x="58" y="197"/>
                    <a:pt x="58" y="197"/>
                  </a:cubicBezTo>
                  <a:cubicBezTo>
                    <a:pt x="64" y="204"/>
                    <a:pt x="72" y="210"/>
                    <a:pt x="81" y="215"/>
                  </a:cubicBezTo>
                  <a:cubicBezTo>
                    <a:pt x="76" y="234"/>
                    <a:pt x="76" y="234"/>
                    <a:pt x="76" y="234"/>
                  </a:cubicBezTo>
                  <a:cubicBezTo>
                    <a:pt x="74" y="242"/>
                    <a:pt x="78" y="250"/>
                    <a:pt x="86" y="253"/>
                  </a:cubicBezTo>
                  <a:cubicBezTo>
                    <a:pt x="102" y="257"/>
                    <a:pt x="102" y="257"/>
                    <a:pt x="102" y="257"/>
                  </a:cubicBezTo>
                  <a:cubicBezTo>
                    <a:pt x="110" y="259"/>
                    <a:pt x="118" y="255"/>
                    <a:pt x="121" y="247"/>
                  </a:cubicBezTo>
                  <a:cubicBezTo>
                    <a:pt x="126" y="228"/>
                    <a:pt x="126" y="228"/>
                    <a:pt x="126" y="228"/>
                  </a:cubicBezTo>
                  <a:cubicBezTo>
                    <a:pt x="136" y="228"/>
                    <a:pt x="146" y="227"/>
                    <a:pt x="156" y="224"/>
                  </a:cubicBezTo>
                  <a:cubicBezTo>
                    <a:pt x="166" y="242"/>
                    <a:pt x="166" y="242"/>
                    <a:pt x="166" y="242"/>
                  </a:cubicBezTo>
                  <a:cubicBezTo>
                    <a:pt x="170" y="249"/>
                    <a:pt x="179" y="251"/>
                    <a:pt x="186" y="247"/>
                  </a:cubicBezTo>
                  <a:cubicBezTo>
                    <a:pt x="200" y="239"/>
                    <a:pt x="200" y="239"/>
                    <a:pt x="200" y="239"/>
                  </a:cubicBezTo>
                  <a:cubicBezTo>
                    <a:pt x="208" y="235"/>
                    <a:pt x="210" y="226"/>
                    <a:pt x="206" y="219"/>
                  </a:cubicBezTo>
                  <a:cubicBezTo>
                    <a:pt x="197" y="202"/>
                    <a:pt x="197" y="202"/>
                    <a:pt x="197" y="202"/>
                  </a:cubicBezTo>
                  <a:cubicBezTo>
                    <a:pt x="204" y="195"/>
                    <a:pt x="210" y="187"/>
                    <a:pt x="215" y="178"/>
                  </a:cubicBezTo>
                  <a:cubicBezTo>
                    <a:pt x="234" y="183"/>
                    <a:pt x="234" y="183"/>
                    <a:pt x="234" y="183"/>
                  </a:cubicBezTo>
                  <a:cubicBezTo>
                    <a:pt x="242" y="185"/>
                    <a:pt x="250" y="181"/>
                    <a:pt x="252" y="173"/>
                  </a:cubicBezTo>
                  <a:cubicBezTo>
                    <a:pt x="257" y="157"/>
                    <a:pt x="257" y="157"/>
                    <a:pt x="257" y="157"/>
                  </a:cubicBezTo>
                  <a:cubicBezTo>
                    <a:pt x="259" y="149"/>
                    <a:pt x="255" y="141"/>
                    <a:pt x="247" y="139"/>
                  </a:cubicBezTo>
                  <a:close/>
                  <a:moveTo>
                    <a:pt x="116" y="178"/>
                  </a:moveTo>
                  <a:cubicBezTo>
                    <a:pt x="90" y="170"/>
                    <a:pt x="74" y="143"/>
                    <a:pt x="82" y="116"/>
                  </a:cubicBezTo>
                  <a:cubicBezTo>
                    <a:pt x="89" y="90"/>
                    <a:pt x="117" y="74"/>
                    <a:pt x="143" y="82"/>
                  </a:cubicBezTo>
                  <a:cubicBezTo>
                    <a:pt x="169" y="89"/>
                    <a:pt x="185" y="117"/>
                    <a:pt x="177" y="143"/>
                  </a:cubicBezTo>
                  <a:cubicBezTo>
                    <a:pt x="170" y="170"/>
                    <a:pt x="142" y="185"/>
                    <a:pt x="116" y="178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Freeform 98"/>
            <p:cNvSpPr>
              <a:spLocks noEditPoints="1"/>
            </p:cNvSpPr>
            <p:nvPr/>
          </p:nvSpPr>
          <p:spPr bwMode="gray">
            <a:xfrm>
              <a:off x="9818987" y="4658045"/>
              <a:ext cx="227013" cy="228600"/>
            </a:xfrm>
            <a:custGeom>
              <a:avLst/>
              <a:gdLst>
                <a:gd name="T0" fmla="*/ 165 w 165"/>
                <a:gd name="T1" fmla="*/ 75 h 166"/>
                <a:gd name="T2" fmla="*/ 165 w 165"/>
                <a:gd name="T3" fmla="*/ 75 h 166"/>
                <a:gd name="T4" fmla="*/ 151 w 165"/>
                <a:gd name="T5" fmla="*/ 63 h 166"/>
                <a:gd name="T6" fmla="*/ 156 w 165"/>
                <a:gd name="T7" fmla="*/ 44 h 166"/>
                <a:gd name="T8" fmla="*/ 138 w 165"/>
                <a:gd name="T9" fmla="*/ 38 h 166"/>
                <a:gd name="T10" fmla="*/ 136 w 165"/>
                <a:gd name="T11" fmla="*/ 19 h 166"/>
                <a:gd name="T12" fmla="*/ 117 w 165"/>
                <a:gd name="T13" fmla="*/ 20 h 166"/>
                <a:gd name="T14" fmla="*/ 107 w 165"/>
                <a:gd name="T15" fmla="*/ 3 h 166"/>
                <a:gd name="T16" fmla="*/ 90 w 165"/>
                <a:gd name="T17" fmla="*/ 12 h 166"/>
                <a:gd name="T18" fmla="*/ 90 w 165"/>
                <a:gd name="T19" fmla="*/ 0 h 166"/>
                <a:gd name="T20" fmla="*/ 75 w 165"/>
                <a:gd name="T21" fmla="*/ 0 h 166"/>
                <a:gd name="T22" fmla="*/ 62 w 165"/>
                <a:gd name="T23" fmla="*/ 14 h 166"/>
                <a:gd name="T24" fmla="*/ 44 w 165"/>
                <a:gd name="T25" fmla="*/ 9 h 166"/>
                <a:gd name="T26" fmla="*/ 36 w 165"/>
                <a:gd name="T27" fmla="*/ 27 h 166"/>
                <a:gd name="T28" fmla="*/ 18 w 165"/>
                <a:gd name="T29" fmla="*/ 30 h 166"/>
                <a:gd name="T30" fmla="*/ 19 w 165"/>
                <a:gd name="T31" fmla="*/ 48 h 166"/>
                <a:gd name="T32" fmla="*/ 3 w 165"/>
                <a:gd name="T33" fmla="*/ 58 h 166"/>
                <a:gd name="T34" fmla="*/ 10 w 165"/>
                <a:gd name="T35" fmla="*/ 75 h 166"/>
                <a:gd name="T36" fmla="*/ 0 w 165"/>
                <a:gd name="T37" fmla="*/ 75 h 166"/>
                <a:gd name="T38" fmla="*/ 0 w 165"/>
                <a:gd name="T39" fmla="*/ 80 h 166"/>
                <a:gd name="T40" fmla="*/ 0 w 165"/>
                <a:gd name="T41" fmla="*/ 90 h 166"/>
                <a:gd name="T42" fmla="*/ 10 w 165"/>
                <a:gd name="T43" fmla="*/ 90 h 166"/>
                <a:gd name="T44" fmla="*/ 3 w 165"/>
                <a:gd name="T45" fmla="*/ 107 h 166"/>
                <a:gd name="T46" fmla="*/ 18 w 165"/>
                <a:gd name="T47" fmla="*/ 118 h 166"/>
                <a:gd name="T48" fmla="*/ 18 w 165"/>
                <a:gd name="T49" fmla="*/ 136 h 166"/>
                <a:gd name="T50" fmla="*/ 36 w 165"/>
                <a:gd name="T51" fmla="*/ 140 h 166"/>
                <a:gd name="T52" fmla="*/ 44 w 165"/>
                <a:gd name="T53" fmla="*/ 156 h 166"/>
                <a:gd name="T54" fmla="*/ 62 w 165"/>
                <a:gd name="T55" fmla="*/ 153 h 166"/>
                <a:gd name="T56" fmla="*/ 75 w 165"/>
                <a:gd name="T57" fmla="*/ 166 h 166"/>
                <a:gd name="T58" fmla="*/ 90 w 165"/>
                <a:gd name="T59" fmla="*/ 166 h 166"/>
                <a:gd name="T60" fmla="*/ 90 w 165"/>
                <a:gd name="T61" fmla="*/ 155 h 166"/>
                <a:gd name="T62" fmla="*/ 107 w 165"/>
                <a:gd name="T63" fmla="*/ 162 h 166"/>
                <a:gd name="T64" fmla="*/ 117 w 165"/>
                <a:gd name="T65" fmla="*/ 146 h 166"/>
                <a:gd name="T66" fmla="*/ 135 w 165"/>
                <a:gd name="T67" fmla="*/ 147 h 166"/>
                <a:gd name="T68" fmla="*/ 138 w 165"/>
                <a:gd name="T69" fmla="*/ 129 h 166"/>
                <a:gd name="T70" fmla="*/ 156 w 165"/>
                <a:gd name="T71" fmla="*/ 122 h 166"/>
                <a:gd name="T72" fmla="*/ 151 w 165"/>
                <a:gd name="T73" fmla="*/ 103 h 166"/>
                <a:gd name="T74" fmla="*/ 165 w 165"/>
                <a:gd name="T75" fmla="*/ 90 h 166"/>
                <a:gd name="T76" fmla="*/ 133 w 165"/>
                <a:gd name="T77" fmla="*/ 75 h 166"/>
                <a:gd name="T78" fmla="*/ 104 w 165"/>
                <a:gd name="T79" fmla="*/ 71 h 166"/>
                <a:gd name="T80" fmla="*/ 113 w 165"/>
                <a:gd name="T81" fmla="*/ 42 h 166"/>
                <a:gd name="T82" fmla="*/ 90 w 165"/>
                <a:gd name="T83" fmla="*/ 59 h 166"/>
                <a:gd name="T84" fmla="*/ 113 w 165"/>
                <a:gd name="T85" fmla="*/ 42 h 166"/>
                <a:gd name="T86" fmla="*/ 75 w 165"/>
                <a:gd name="T87" fmla="*/ 90 h 166"/>
                <a:gd name="T88" fmla="*/ 90 w 165"/>
                <a:gd name="T89" fmla="*/ 76 h 166"/>
                <a:gd name="T90" fmla="*/ 75 w 165"/>
                <a:gd name="T91" fmla="*/ 32 h 166"/>
                <a:gd name="T92" fmla="*/ 69 w 165"/>
                <a:gd name="T93" fmla="*/ 61 h 166"/>
                <a:gd name="T94" fmla="*/ 75 w 165"/>
                <a:gd name="T95" fmla="*/ 32 h 166"/>
                <a:gd name="T96" fmla="*/ 60 w 165"/>
                <a:gd name="T97" fmla="*/ 71 h 166"/>
                <a:gd name="T98" fmla="*/ 31 w 165"/>
                <a:gd name="T99" fmla="*/ 75 h 166"/>
                <a:gd name="T100" fmla="*/ 41 w 165"/>
                <a:gd name="T101" fmla="*/ 115 h 166"/>
                <a:gd name="T102" fmla="*/ 57 w 165"/>
                <a:gd name="T103" fmla="*/ 90 h 166"/>
                <a:gd name="T104" fmla="*/ 41 w 165"/>
                <a:gd name="T105" fmla="*/ 115 h 166"/>
                <a:gd name="T106" fmla="*/ 69 w 165"/>
                <a:gd name="T107" fmla="*/ 106 h 166"/>
                <a:gd name="T108" fmla="*/ 75 w 165"/>
                <a:gd name="T109" fmla="*/ 135 h 166"/>
                <a:gd name="T110" fmla="*/ 90 w 165"/>
                <a:gd name="T111" fmla="*/ 135 h 166"/>
                <a:gd name="T112" fmla="*/ 94 w 165"/>
                <a:gd name="T113" fmla="*/ 106 h 166"/>
                <a:gd name="T114" fmla="*/ 90 w 165"/>
                <a:gd name="T115" fmla="*/ 135 h 166"/>
                <a:gd name="T116" fmla="*/ 104 w 165"/>
                <a:gd name="T117" fmla="*/ 96 h 166"/>
                <a:gd name="T118" fmla="*/ 133 w 165"/>
                <a:gd name="T119" fmla="*/ 9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5" h="166">
                  <a:moveTo>
                    <a:pt x="165" y="90"/>
                  </a:moveTo>
                  <a:cubicBezTo>
                    <a:pt x="165" y="75"/>
                    <a:pt x="165" y="75"/>
                    <a:pt x="165" y="75"/>
                  </a:cubicBezTo>
                  <a:cubicBezTo>
                    <a:pt x="165" y="75"/>
                    <a:pt x="165" y="75"/>
                    <a:pt x="165" y="75"/>
                  </a:cubicBezTo>
                  <a:cubicBezTo>
                    <a:pt x="165" y="75"/>
                    <a:pt x="165" y="75"/>
                    <a:pt x="165" y="75"/>
                  </a:cubicBezTo>
                  <a:cubicBezTo>
                    <a:pt x="154" y="75"/>
                    <a:pt x="154" y="75"/>
                    <a:pt x="154" y="75"/>
                  </a:cubicBezTo>
                  <a:cubicBezTo>
                    <a:pt x="153" y="71"/>
                    <a:pt x="152" y="67"/>
                    <a:pt x="151" y="63"/>
                  </a:cubicBezTo>
                  <a:cubicBezTo>
                    <a:pt x="162" y="58"/>
                    <a:pt x="162" y="58"/>
                    <a:pt x="162" y="58"/>
                  </a:cubicBezTo>
                  <a:cubicBezTo>
                    <a:pt x="156" y="44"/>
                    <a:pt x="156" y="44"/>
                    <a:pt x="156" y="44"/>
                  </a:cubicBezTo>
                  <a:cubicBezTo>
                    <a:pt x="145" y="49"/>
                    <a:pt x="145" y="49"/>
                    <a:pt x="145" y="49"/>
                  </a:cubicBezTo>
                  <a:cubicBezTo>
                    <a:pt x="143" y="45"/>
                    <a:pt x="141" y="41"/>
                    <a:pt x="138" y="38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36" y="19"/>
                    <a:pt x="136" y="19"/>
                    <a:pt x="136" y="19"/>
                  </a:cubicBezTo>
                  <a:cubicBezTo>
                    <a:pt x="127" y="27"/>
                    <a:pt x="127" y="27"/>
                    <a:pt x="127" y="27"/>
                  </a:cubicBezTo>
                  <a:cubicBezTo>
                    <a:pt x="124" y="25"/>
                    <a:pt x="120" y="22"/>
                    <a:pt x="117" y="20"/>
                  </a:cubicBezTo>
                  <a:cubicBezTo>
                    <a:pt x="121" y="9"/>
                    <a:pt x="121" y="9"/>
                    <a:pt x="121" y="9"/>
                  </a:cubicBezTo>
                  <a:cubicBezTo>
                    <a:pt x="107" y="3"/>
                    <a:pt x="107" y="3"/>
                    <a:pt x="107" y="3"/>
                  </a:cubicBezTo>
                  <a:cubicBezTo>
                    <a:pt x="103" y="14"/>
                    <a:pt x="103" y="14"/>
                    <a:pt x="103" y="14"/>
                  </a:cubicBezTo>
                  <a:cubicBezTo>
                    <a:pt x="99" y="13"/>
                    <a:pt x="94" y="12"/>
                    <a:pt x="90" y="12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5" y="12"/>
                    <a:pt x="75" y="12"/>
                    <a:pt x="75" y="12"/>
                  </a:cubicBezTo>
                  <a:cubicBezTo>
                    <a:pt x="71" y="12"/>
                    <a:pt x="66" y="13"/>
                    <a:pt x="62" y="14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44" y="22"/>
                    <a:pt x="40" y="24"/>
                    <a:pt x="36" y="27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3" y="41"/>
                    <a:pt x="21" y="45"/>
                    <a:pt x="19" y="48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11" y="66"/>
                    <a:pt x="11" y="71"/>
                    <a:pt x="1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0" y="95"/>
                    <a:pt x="11" y="99"/>
                    <a:pt x="12" y="103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9" y="121"/>
                    <a:pt x="9" y="121"/>
                    <a:pt x="9" y="121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20" y="122"/>
                    <a:pt x="23" y="125"/>
                    <a:pt x="26" y="129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29" y="147"/>
                    <a:pt x="29" y="147"/>
                    <a:pt x="29" y="147"/>
                  </a:cubicBezTo>
                  <a:cubicBezTo>
                    <a:pt x="36" y="140"/>
                    <a:pt x="36" y="140"/>
                    <a:pt x="36" y="140"/>
                  </a:cubicBezTo>
                  <a:cubicBezTo>
                    <a:pt x="40" y="142"/>
                    <a:pt x="44" y="145"/>
                    <a:pt x="48" y="147"/>
                  </a:cubicBezTo>
                  <a:cubicBezTo>
                    <a:pt x="44" y="156"/>
                    <a:pt x="44" y="156"/>
                    <a:pt x="44" y="156"/>
                  </a:cubicBezTo>
                  <a:cubicBezTo>
                    <a:pt x="58" y="162"/>
                    <a:pt x="58" y="162"/>
                    <a:pt x="58" y="162"/>
                  </a:cubicBezTo>
                  <a:cubicBezTo>
                    <a:pt x="62" y="153"/>
                    <a:pt x="62" y="153"/>
                    <a:pt x="62" y="153"/>
                  </a:cubicBezTo>
                  <a:cubicBezTo>
                    <a:pt x="66" y="154"/>
                    <a:pt x="70" y="155"/>
                    <a:pt x="75" y="155"/>
                  </a:cubicBezTo>
                  <a:cubicBezTo>
                    <a:pt x="75" y="166"/>
                    <a:pt x="75" y="166"/>
                    <a:pt x="75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55"/>
                    <a:pt x="90" y="155"/>
                    <a:pt x="90" y="155"/>
                  </a:cubicBezTo>
                  <a:cubicBezTo>
                    <a:pt x="94" y="155"/>
                    <a:pt x="99" y="154"/>
                    <a:pt x="103" y="152"/>
                  </a:cubicBezTo>
                  <a:cubicBezTo>
                    <a:pt x="107" y="162"/>
                    <a:pt x="107" y="162"/>
                    <a:pt x="107" y="162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17" y="146"/>
                    <a:pt x="117" y="146"/>
                    <a:pt x="117" y="146"/>
                  </a:cubicBezTo>
                  <a:cubicBezTo>
                    <a:pt x="121" y="144"/>
                    <a:pt x="124" y="142"/>
                    <a:pt x="127" y="140"/>
                  </a:cubicBezTo>
                  <a:cubicBezTo>
                    <a:pt x="135" y="147"/>
                    <a:pt x="135" y="147"/>
                    <a:pt x="135" y="147"/>
                  </a:cubicBezTo>
                  <a:cubicBezTo>
                    <a:pt x="146" y="137"/>
                    <a:pt x="146" y="137"/>
                    <a:pt x="146" y="137"/>
                  </a:cubicBezTo>
                  <a:cubicBezTo>
                    <a:pt x="138" y="129"/>
                    <a:pt x="138" y="129"/>
                    <a:pt x="138" y="129"/>
                  </a:cubicBezTo>
                  <a:cubicBezTo>
                    <a:pt x="141" y="125"/>
                    <a:pt x="143" y="121"/>
                    <a:pt x="146" y="117"/>
                  </a:cubicBezTo>
                  <a:cubicBezTo>
                    <a:pt x="156" y="122"/>
                    <a:pt x="156" y="122"/>
                    <a:pt x="156" y="122"/>
                  </a:cubicBezTo>
                  <a:cubicBezTo>
                    <a:pt x="162" y="108"/>
                    <a:pt x="162" y="108"/>
                    <a:pt x="162" y="108"/>
                  </a:cubicBezTo>
                  <a:cubicBezTo>
                    <a:pt x="151" y="103"/>
                    <a:pt x="151" y="103"/>
                    <a:pt x="151" y="103"/>
                  </a:cubicBezTo>
                  <a:cubicBezTo>
                    <a:pt x="152" y="99"/>
                    <a:pt x="153" y="95"/>
                    <a:pt x="154" y="90"/>
                  </a:cubicBezTo>
                  <a:lnTo>
                    <a:pt x="165" y="90"/>
                  </a:lnTo>
                  <a:close/>
                  <a:moveTo>
                    <a:pt x="123" y="52"/>
                  </a:moveTo>
                  <a:cubicBezTo>
                    <a:pt x="128" y="59"/>
                    <a:pt x="132" y="67"/>
                    <a:pt x="133" y="75"/>
                  </a:cubicBezTo>
                  <a:cubicBezTo>
                    <a:pt x="106" y="75"/>
                    <a:pt x="106" y="75"/>
                    <a:pt x="106" y="75"/>
                  </a:cubicBezTo>
                  <a:cubicBezTo>
                    <a:pt x="105" y="74"/>
                    <a:pt x="105" y="72"/>
                    <a:pt x="104" y="71"/>
                  </a:cubicBezTo>
                  <a:lnTo>
                    <a:pt x="123" y="52"/>
                  </a:lnTo>
                  <a:close/>
                  <a:moveTo>
                    <a:pt x="113" y="42"/>
                  </a:moveTo>
                  <a:cubicBezTo>
                    <a:pt x="94" y="61"/>
                    <a:pt x="94" y="61"/>
                    <a:pt x="94" y="61"/>
                  </a:cubicBezTo>
                  <a:cubicBezTo>
                    <a:pt x="93" y="61"/>
                    <a:pt x="92" y="60"/>
                    <a:pt x="90" y="59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9" y="34"/>
                    <a:pt x="107" y="37"/>
                    <a:pt x="113" y="42"/>
                  </a:cubicBezTo>
                  <a:close/>
                  <a:moveTo>
                    <a:pt x="90" y="90"/>
                  </a:moveTo>
                  <a:cubicBezTo>
                    <a:pt x="86" y="94"/>
                    <a:pt x="79" y="94"/>
                    <a:pt x="75" y="90"/>
                  </a:cubicBezTo>
                  <a:cubicBezTo>
                    <a:pt x="71" y="86"/>
                    <a:pt x="71" y="80"/>
                    <a:pt x="75" y="76"/>
                  </a:cubicBezTo>
                  <a:cubicBezTo>
                    <a:pt x="79" y="72"/>
                    <a:pt x="86" y="72"/>
                    <a:pt x="90" y="76"/>
                  </a:cubicBezTo>
                  <a:cubicBezTo>
                    <a:pt x="94" y="80"/>
                    <a:pt x="94" y="86"/>
                    <a:pt x="90" y="90"/>
                  </a:cubicBezTo>
                  <a:close/>
                  <a:moveTo>
                    <a:pt x="75" y="32"/>
                  </a:moveTo>
                  <a:cubicBezTo>
                    <a:pt x="75" y="59"/>
                    <a:pt x="75" y="59"/>
                    <a:pt x="75" y="59"/>
                  </a:cubicBezTo>
                  <a:cubicBezTo>
                    <a:pt x="73" y="60"/>
                    <a:pt x="71" y="60"/>
                    <a:pt x="69" y="61"/>
                  </a:cubicBezTo>
                  <a:cubicBezTo>
                    <a:pt x="50" y="42"/>
                    <a:pt x="50" y="42"/>
                    <a:pt x="50" y="42"/>
                  </a:cubicBezTo>
                  <a:cubicBezTo>
                    <a:pt x="57" y="37"/>
                    <a:pt x="66" y="33"/>
                    <a:pt x="75" y="32"/>
                  </a:cubicBezTo>
                  <a:close/>
                  <a:moveTo>
                    <a:pt x="41" y="52"/>
                  </a:moveTo>
                  <a:cubicBezTo>
                    <a:pt x="60" y="71"/>
                    <a:pt x="60" y="71"/>
                    <a:pt x="60" y="71"/>
                  </a:cubicBezTo>
                  <a:cubicBezTo>
                    <a:pt x="59" y="72"/>
                    <a:pt x="58" y="74"/>
                    <a:pt x="58" y="75"/>
                  </a:cubicBezTo>
                  <a:cubicBezTo>
                    <a:pt x="31" y="75"/>
                    <a:pt x="31" y="75"/>
                    <a:pt x="31" y="75"/>
                  </a:cubicBezTo>
                  <a:cubicBezTo>
                    <a:pt x="32" y="67"/>
                    <a:pt x="35" y="59"/>
                    <a:pt x="41" y="52"/>
                  </a:cubicBezTo>
                  <a:close/>
                  <a:moveTo>
                    <a:pt x="41" y="115"/>
                  </a:moveTo>
                  <a:cubicBezTo>
                    <a:pt x="35" y="108"/>
                    <a:pt x="32" y="99"/>
                    <a:pt x="30" y="9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8" y="92"/>
                    <a:pt x="59" y="94"/>
                    <a:pt x="60" y="96"/>
                  </a:cubicBezTo>
                  <a:lnTo>
                    <a:pt x="41" y="115"/>
                  </a:lnTo>
                  <a:close/>
                  <a:moveTo>
                    <a:pt x="50" y="125"/>
                  </a:moveTo>
                  <a:cubicBezTo>
                    <a:pt x="69" y="106"/>
                    <a:pt x="69" y="106"/>
                    <a:pt x="69" y="106"/>
                  </a:cubicBezTo>
                  <a:cubicBezTo>
                    <a:pt x="71" y="107"/>
                    <a:pt x="73" y="107"/>
                    <a:pt x="75" y="108"/>
                  </a:cubicBezTo>
                  <a:cubicBezTo>
                    <a:pt x="75" y="135"/>
                    <a:pt x="75" y="135"/>
                    <a:pt x="75" y="135"/>
                  </a:cubicBezTo>
                  <a:cubicBezTo>
                    <a:pt x="66" y="134"/>
                    <a:pt x="57" y="130"/>
                    <a:pt x="50" y="125"/>
                  </a:cubicBezTo>
                  <a:close/>
                  <a:moveTo>
                    <a:pt x="90" y="135"/>
                  </a:moveTo>
                  <a:cubicBezTo>
                    <a:pt x="90" y="107"/>
                    <a:pt x="90" y="107"/>
                    <a:pt x="90" y="107"/>
                  </a:cubicBezTo>
                  <a:cubicBezTo>
                    <a:pt x="92" y="107"/>
                    <a:pt x="93" y="106"/>
                    <a:pt x="94" y="106"/>
                  </a:cubicBezTo>
                  <a:cubicBezTo>
                    <a:pt x="113" y="125"/>
                    <a:pt x="113" y="125"/>
                    <a:pt x="113" y="125"/>
                  </a:cubicBezTo>
                  <a:cubicBezTo>
                    <a:pt x="107" y="130"/>
                    <a:pt x="99" y="133"/>
                    <a:pt x="90" y="135"/>
                  </a:cubicBezTo>
                  <a:close/>
                  <a:moveTo>
                    <a:pt x="123" y="115"/>
                  </a:moveTo>
                  <a:cubicBezTo>
                    <a:pt x="104" y="96"/>
                    <a:pt x="104" y="96"/>
                    <a:pt x="104" y="96"/>
                  </a:cubicBezTo>
                  <a:cubicBezTo>
                    <a:pt x="105" y="94"/>
                    <a:pt x="106" y="92"/>
                    <a:pt x="106" y="90"/>
                  </a:cubicBezTo>
                  <a:cubicBezTo>
                    <a:pt x="133" y="90"/>
                    <a:pt x="133" y="90"/>
                    <a:pt x="133" y="90"/>
                  </a:cubicBezTo>
                  <a:cubicBezTo>
                    <a:pt x="132" y="99"/>
                    <a:pt x="129" y="108"/>
                    <a:pt x="123" y="115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2" name="Freeform 99"/>
            <p:cNvSpPr>
              <a:spLocks/>
            </p:cNvSpPr>
            <p:nvPr/>
          </p:nvSpPr>
          <p:spPr bwMode="gray">
            <a:xfrm>
              <a:off x="9061750" y="4907283"/>
              <a:ext cx="1035050" cy="211137"/>
            </a:xfrm>
            <a:custGeom>
              <a:avLst/>
              <a:gdLst>
                <a:gd name="T0" fmla="*/ 3 w 748"/>
                <a:gd name="T1" fmla="*/ 0 h 153"/>
                <a:gd name="T2" fmla="*/ 0 w 748"/>
                <a:gd name="T3" fmla="*/ 26 h 153"/>
                <a:gd name="T4" fmla="*/ 127 w 748"/>
                <a:gd name="T5" fmla="*/ 153 h 153"/>
                <a:gd name="T6" fmla="*/ 621 w 748"/>
                <a:gd name="T7" fmla="*/ 153 h 153"/>
                <a:gd name="T8" fmla="*/ 748 w 748"/>
                <a:gd name="T9" fmla="*/ 26 h 153"/>
                <a:gd name="T10" fmla="*/ 745 w 748"/>
                <a:gd name="T11" fmla="*/ 0 h 153"/>
                <a:gd name="T12" fmla="*/ 3 w 748"/>
                <a:gd name="T13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8" h="153">
                  <a:moveTo>
                    <a:pt x="3" y="0"/>
                  </a:moveTo>
                  <a:cubicBezTo>
                    <a:pt x="1" y="9"/>
                    <a:pt x="0" y="17"/>
                    <a:pt x="0" y="26"/>
                  </a:cubicBezTo>
                  <a:cubicBezTo>
                    <a:pt x="0" y="96"/>
                    <a:pt x="57" y="153"/>
                    <a:pt x="127" y="153"/>
                  </a:cubicBezTo>
                  <a:cubicBezTo>
                    <a:pt x="621" y="153"/>
                    <a:pt x="621" y="153"/>
                    <a:pt x="621" y="153"/>
                  </a:cubicBezTo>
                  <a:cubicBezTo>
                    <a:pt x="691" y="153"/>
                    <a:pt x="748" y="96"/>
                    <a:pt x="748" y="26"/>
                  </a:cubicBezTo>
                  <a:cubicBezTo>
                    <a:pt x="748" y="17"/>
                    <a:pt x="747" y="9"/>
                    <a:pt x="745" y="0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3" name="Freeform 100"/>
            <p:cNvSpPr>
              <a:spLocks/>
            </p:cNvSpPr>
            <p:nvPr/>
          </p:nvSpPr>
          <p:spPr bwMode="gray">
            <a:xfrm>
              <a:off x="9101437" y="4907283"/>
              <a:ext cx="995363" cy="211137"/>
            </a:xfrm>
            <a:custGeom>
              <a:avLst/>
              <a:gdLst>
                <a:gd name="T0" fmla="*/ 716 w 719"/>
                <a:gd name="T1" fmla="*/ 0 h 153"/>
                <a:gd name="T2" fmla="*/ 700 w 719"/>
                <a:gd name="T3" fmla="*/ 0 h 153"/>
                <a:gd name="T4" fmla="*/ 701 w 719"/>
                <a:gd name="T5" fmla="*/ 8 h 153"/>
                <a:gd name="T6" fmla="*/ 573 w 719"/>
                <a:gd name="T7" fmla="*/ 135 h 153"/>
                <a:gd name="T8" fmla="*/ 80 w 719"/>
                <a:gd name="T9" fmla="*/ 135 h 153"/>
                <a:gd name="T10" fmla="*/ 0 w 719"/>
                <a:gd name="T11" fmla="*/ 106 h 153"/>
                <a:gd name="T12" fmla="*/ 98 w 719"/>
                <a:gd name="T13" fmla="*/ 153 h 153"/>
                <a:gd name="T14" fmla="*/ 592 w 719"/>
                <a:gd name="T15" fmla="*/ 153 h 153"/>
                <a:gd name="T16" fmla="*/ 719 w 719"/>
                <a:gd name="T17" fmla="*/ 26 h 153"/>
                <a:gd name="T18" fmla="*/ 716 w 719"/>
                <a:gd name="T19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19" h="153">
                  <a:moveTo>
                    <a:pt x="716" y="0"/>
                  </a:moveTo>
                  <a:cubicBezTo>
                    <a:pt x="700" y="0"/>
                    <a:pt x="700" y="0"/>
                    <a:pt x="700" y="0"/>
                  </a:cubicBezTo>
                  <a:cubicBezTo>
                    <a:pt x="701" y="3"/>
                    <a:pt x="701" y="5"/>
                    <a:pt x="701" y="8"/>
                  </a:cubicBezTo>
                  <a:cubicBezTo>
                    <a:pt x="701" y="78"/>
                    <a:pt x="644" y="135"/>
                    <a:pt x="573" y="135"/>
                  </a:cubicBezTo>
                  <a:cubicBezTo>
                    <a:pt x="80" y="135"/>
                    <a:pt x="80" y="135"/>
                    <a:pt x="80" y="135"/>
                  </a:cubicBezTo>
                  <a:cubicBezTo>
                    <a:pt x="50" y="135"/>
                    <a:pt x="22" y="124"/>
                    <a:pt x="0" y="106"/>
                  </a:cubicBezTo>
                  <a:cubicBezTo>
                    <a:pt x="23" y="135"/>
                    <a:pt x="59" y="153"/>
                    <a:pt x="98" y="153"/>
                  </a:cubicBezTo>
                  <a:cubicBezTo>
                    <a:pt x="592" y="153"/>
                    <a:pt x="592" y="153"/>
                    <a:pt x="592" y="153"/>
                  </a:cubicBezTo>
                  <a:cubicBezTo>
                    <a:pt x="662" y="153"/>
                    <a:pt x="719" y="96"/>
                    <a:pt x="719" y="26"/>
                  </a:cubicBezTo>
                  <a:cubicBezTo>
                    <a:pt x="719" y="17"/>
                    <a:pt x="718" y="9"/>
                    <a:pt x="716" y="0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4" name="Freeform 101"/>
            <p:cNvSpPr>
              <a:spLocks/>
            </p:cNvSpPr>
            <p:nvPr/>
          </p:nvSpPr>
          <p:spPr bwMode="gray">
            <a:xfrm>
              <a:off x="9064925" y="4192908"/>
              <a:ext cx="1028700" cy="377825"/>
            </a:xfrm>
            <a:custGeom>
              <a:avLst/>
              <a:gdLst>
                <a:gd name="T0" fmla="*/ 744 w 744"/>
                <a:gd name="T1" fmla="*/ 274 h 274"/>
                <a:gd name="T2" fmla="*/ 621 w 744"/>
                <a:gd name="T3" fmla="*/ 173 h 274"/>
                <a:gd name="T4" fmla="*/ 581 w 744"/>
                <a:gd name="T5" fmla="*/ 179 h 274"/>
                <a:gd name="T6" fmla="*/ 457 w 744"/>
                <a:gd name="T7" fmla="*/ 68 h 274"/>
                <a:gd name="T8" fmla="*/ 372 w 744"/>
                <a:gd name="T9" fmla="*/ 101 h 274"/>
                <a:gd name="T10" fmla="*/ 249 w 744"/>
                <a:gd name="T11" fmla="*/ 0 h 274"/>
                <a:gd name="T12" fmla="*/ 123 w 744"/>
                <a:gd name="T13" fmla="*/ 125 h 274"/>
                <a:gd name="T14" fmla="*/ 133 w 744"/>
                <a:gd name="T15" fmla="*/ 173 h 274"/>
                <a:gd name="T16" fmla="*/ 123 w 744"/>
                <a:gd name="T17" fmla="*/ 173 h 274"/>
                <a:gd name="T18" fmla="*/ 0 w 744"/>
                <a:gd name="T19" fmla="*/ 274 h 274"/>
                <a:gd name="T20" fmla="*/ 744 w 744"/>
                <a:gd name="T21" fmla="*/ 27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44" h="274">
                  <a:moveTo>
                    <a:pt x="744" y="274"/>
                  </a:moveTo>
                  <a:cubicBezTo>
                    <a:pt x="733" y="217"/>
                    <a:pt x="682" y="173"/>
                    <a:pt x="621" y="173"/>
                  </a:cubicBezTo>
                  <a:cubicBezTo>
                    <a:pt x="607" y="173"/>
                    <a:pt x="594" y="175"/>
                    <a:pt x="581" y="179"/>
                  </a:cubicBezTo>
                  <a:cubicBezTo>
                    <a:pt x="574" y="117"/>
                    <a:pt x="521" y="68"/>
                    <a:pt x="457" y="68"/>
                  </a:cubicBezTo>
                  <a:cubicBezTo>
                    <a:pt x="424" y="68"/>
                    <a:pt x="394" y="81"/>
                    <a:pt x="372" y="101"/>
                  </a:cubicBezTo>
                  <a:cubicBezTo>
                    <a:pt x="361" y="44"/>
                    <a:pt x="310" y="0"/>
                    <a:pt x="249" y="0"/>
                  </a:cubicBezTo>
                  <a:cubicBezTo>
                    <a:pt x="179" y="0"/>
                    <a:pt x="123" y="56"/>
                    <a:pt x="123" y="125"/>
                  </a:cubicBezTo>
                  <a:cubicBezTo>
                    <a:pt x="123" y="142"/>
                    <a:pt x="127" y="159"/>
                    <a:pt x="133" y="173"/>
                  </a:cubicBezTo>
                  <a:cubicBezTo>
                    <a:pt x="130" y="173"/>
                    <a:pt x="127" y="173"/>
                    <a:pt x="123" y="173"/>
                  </a:cubicBezTo>
                  <a:cubicBezTo>
                    <a:pt x="62" y="173"/>
                    <a:pt x="12" y="217"/>
                    <a:pt x="0" y="274"/>
                  </a:cubicBezTo>
                  <a:lnTo>
                    <a:pt x="744" y="2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5" name="Freeform 102"/>
            <p:cNvSpPr>
              <a:spLocks/>
            </p:cNvSpPr>
            <p:nvPr/>
          </p:nvSpPr>
          <p:spPr bwMode="gray">
            <a:xfrm>
              <a:off x="9268125" y="4192908"/>
              <a:ext cx="825500" cy="377825"/>
            </a:xfrm>
            <a:custGeom>
              <a:avLst/>
              <a:gdLst>
                <a:gd name="T0" fmla="*/ 80 w 597"/>
                <a:gd name="T1" fmla="*/ 23 h 274"/>
                <a:gd name="T2" fmla="*/ 203 w 597"/>
                <a:gd name="T3" fmla="*/ 125 h 274"/>
                <a:gd name="T4" fmla="*/ 288 w 597"/>
                <a:gd name="T5" fmla="*/ 91 h 274"/>
                <a:gd name="T6" fmla="*/ 413 w 597"/>
                <a:gd name="T7" fmla="*/ 203 h 274"/>
                <a:gd name="T8" fmla="*/ 452 w 597"/>
                <a:gd name="T9" fmla="*/ 196 h 274"/>
                <a:gd name="T10" fmla="*/ 568 w 597"/>
                <a:gd name="T11" fmla="*/ 274 h 274"/>
                <a:gd name="T12" fmla="*/ 597 w 597"/>
                <a:gd name="T13" fmla="*/ 274 h 274"/>
                <a:gd name="T14" fmla="*/ 474 w 597"/>
                <a:gd name="T15" fmla="*/ 173 h 274"/>
                <a:gd name="T16" fmla="*/ 434 w 597"/>
                <a:gd name="T17" fmla="*/ 179 h 274"/>
                <a:gd name="T18" fmla="*/ 310 w 597"/>
                <a:gd name="T19" fmla="*/ 68 h 274"/>
                <a:gd name="T20" fmla="*/ 225 w 597"/>
                <a:gd name="T21" fmla="*/ 101 h 274"/>
                <a:gd name="T22" fmla="*/ 102 w 597"/>
                <a:gd name="T23" fmla="*/ 0 h 274"/>
                <a:gd name="T24" fmla="*/ 0 w 597"/>
                <a:gd name="T25" fmla="*/ 52 h 274"/>
                <a:gd name="T26" fmla="*/ 80 w 597"/>
                <a:gd name="T27" fmla="*/ 23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97" h="274">
                  <a:moveTo>
                    <a:pt x="80" y="23"/>
                  </a:moveTo>
                  <a:cubicBezTo>
                    <a:pt x="141" y="23"/>
                    <a:pt x="192" y="67"/>
                    <a:pt x="203" y="125"/>
                  </a:cubicBezTo>
                  <a:cubicBezTo>
                    <a:pt x="225" y="104"/>
                    <a:pt x="255" y="91"/>
                    <a:pt x="288" y="91"/>
                  </a:cubicBezTo>
                  <a:cubicBezTo>
                    <a:pt x="353" y="91"/>
                    <a:pt x="406" y="140"/>
                    <a:pt x="413" y="203"/>
                  </a:cubicBezTo>
                  <a:cubicBezTo>
                    <a:pt x="425" y="199"/>
                    <a:pt x="438" y="196"/>
                    <a:pt x="452" y="196"/>
                  </a:cubicBezTo>
                  <a:cubicBezTo>
                    <a:pt x="505" y="196"/>
                    <a:pt x="549" y="229"/>
                    <a:pt x="568" y="274"/>
                  </a:cubicBezTo>
                  <a:cubicBezTo>
                    <a:pt x="597" y="274"/>
                    <a:pt x="597" y="274"/>
                    <a:pt x="597" y="274"/>
                  </a:cubicBezTo>
                  <a:cubicBezTo>
                    <a:pt x="586" y="217"/>
                    <a:pt x="535" y="173"/>
                    <a:pt x="474" y="173"/>
                  </a:cubicBezTo>
                  <a:cubicBezTo>
                    <a:pt x="460" y="173"/>
                    <a:pt x="447" y="175"/>
                    <a:pt x="434" y="179"/>
                  </a:cubicBezTo>
                  <a:cubicBezTo>
                    <a:pt x="427" y="117"/>
                    <a:pt x="374" y="68"/>
                    <a:pt x="310" y="68"/>
                  </a:cubicBezTo>
                  <a:cubicBezTo>
                    <a:pt x="277" y="68"/>
                    <a:pt x="247" y="81"/>
                    <a:pt x="225" y="101"/>
                  </a:cubicBezTo>
                  <a:cubicBezTo>
                    <a:pt x="214" y="44"/>
                    <a:pt x="163" y="0"/>
                    <a:pt x="102" y="0"/>
                  </a:cubicBezTo>
                  <a:cubicBezTo>
                    <a:pt x="60" y="0"/>
                    <a:pt x="23" y="20"/>
                    <a:pt x="0" y="52"/>
                  </a:cubicBezTo>
                  <a:cubicBezTo>
                    <a:pt x="22" y="34"/>
                    <a:pt x="49" y="23"/>
                    <a:pt x="80" y="23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6" name="Oval 103"/>
            <p:cNvSpPr>
              <a:spLocks noChangeArrowheads="1"/>
            </p:cNvSpPr>
            <p:nvPr/>
          </p:nvSpPr>
          <p:spPr bwMode="gray">
            <a:xfrm>
              <a:off x="11085812" y="5396233"/>
              <a:ext cx="103188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Oval 104"/>
            <p:cNvSpPr>
              <a:spLocks noChangeArrowheads="1"/>
            </p:cNvSpPr>
            <p:nvPr/>
          </p:nvSpPr>
          <p:spPr bwMode="gray">
            <a:xfrm>
              <a:off x="10884200" y="5396233"/>
              <a:ext cx="101600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8" name="Freeform 105"/>
            <p:cNvSpPr>
              <a:spLocks/>
            </p:cNvSpPr>
            <p:nvPr/>
          </p:nvSpPr>
          <p:spPr bwMode="gray">
            <a:xfrm>
              <a:off x="10884200" y="5412108"/>
              <a:ext cx="85725" cy="87312"/>
            </a:xfrm>
            <a:custGeom>
              <a:avLst/>
              <a:gdLst>
                <a:gd name="T0" fmla="*/ 37 w 62"/>
                <a:gd name="T1" fmla="*/ 63 h 63"/>
                <a:gd name="T2" fmla="*/ 62 w 62"/>
                <a:gd name="T3" fmla="*/ 52 h 63"/>
                <a:gd name="T4" fmla="*/ 11 w 62"/>
                <a:gd name="T5" fmla="*/ 0 h 63"/>
                <a:gd name="T6" fmla="*/ 0 w 62"/>
                <a:gd name="T7" fmla="*/ 26 h 63"/>
                <a:gd name="T8" fmla="*/ 37 w 62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63">
                  <a:moveTo>
                    <a:pt x="37" y="63"/>
                  </a:moveTo>
                  <a:cubicBezTo>
                    <a:pt x="47" y="63"/>
                    <a:pt x="56" y="59"/>
                    <a:pt x="62" y="5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6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9" name="Freeform 106"/>
            <p:cNvSpPr>
              <a:spLocks/>
            </p:cNvSpPr>
            <p:nvPr/>
          </p:nvSpPr>
          <p:spPr bwMode="gray">
            <a:xfrm>
              <a:off x="11085812" y="5412108"/>
              <a:ext cx="87313" cy="87312"/>
            </a:xfrm>
            <a:custGeom>
              <a:avLst/>
              <a:gdLst>
                <a:gd name="T0" fmla="*/ 37 w 63"/>
                <a:gd name="T1" fmla="*/ 63 h 63"/>
                <a:gd name="T2" fmla="*/ 63 w 63"/>
                <a:gd name="T3" fmla="*/ 52 h 63"/>
                <a:gd name="T4" fmla="*/ 11 w 63"/>
                <a:gd name="T5" fmla="*/ 0 h 63"/>
                <a:gd name="T6" fmla="*/ 0 w 63"/>
                <a:gd name="T7" fmla="*/ 26 h 63"/>
                <a:gd name="T8" fmla="*/ 37 w 63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63">
                  <a:moveTo>
                    <a:pt x="37" y="63"/>
                  </a:moveTo>
                  <a:cubicBezTo>
                    <a:pt x="47" y="63"/>
                    <a:pt x="56" y="59"/>
                    <a:pt x="63" y="5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7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5882318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200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0258259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728849011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689345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740132"/>
            <a:ext cx="4892040" cy="1514261"/>
          </a:xfrm>
        </p:spPr>
        <p:txBody>
          <a:bodyPr wrap="square" anchor="ctr">
            <a:spAutoFit/>
          </a:bodyPr>
          <a:lstStyle>
            <a:lvl1pPr>
              <a:defRPr sz="48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441315" y="0"/>
            <a:ext cx="6995160" cy="699258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635824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1556723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256753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7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9962453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9" y="6220609"/>
            <a:ext cx="4572000" cy="47705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82880" rIns="182880" bIns="182880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50691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29696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6627" y="372394"/>
            <a:ext cx="10726460" cy="135195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6628" y="2031212"/>
            <a:ext cx="5261211" cy="523733"/>
          </a:xfrm>
        </p:spPr>
        <p:txBody>
          <a:bodyPr anchor="b"/>
          <a:lstStyle>
            <a:lvl1pPr marL="0" indent="0">
              <a:buNone/>
              <a:defRPr sz="2448" b="1"/>
            </a:lvl1pPr>
            <a:lvl2pPr marL="466298" indent="0">
              <a:buNone/>
              <a:defRPr sz="2040" b="1"/>
            </a:lvl2pPr>
            <a:lvl3pPr marL="932597" indent="0">
              <a:buNone/>
              <a:defRPr sz="1836" b="1"/>
            </a:lvl3pPr>
            <a:lvl4pPr marL="1398895" indent="0">
              <a:buNone/>
              <a:defRPr sz="1632" b="1"/>
            </a:lvl4pPr>
            <a:lvl5pPr marL="1865193" indent="0">
              <a:buNone/>
              <a:defRPr sz="1632" b="1"/>
            </a:lvl5pPr>
            <a:lvl6pPr marL="2331491" indent="0">
              <a:buNone/>
              <a:defRPr sz="1632" b="1"/>
            </a:lvl6pPr>
            <a:lvl7pPr marL="2797790" indent="0">
              <a:buNone/>
              <a:defRPr sz="1632" b="1"/>
            </a:lvl7pPr>
            <a:lvl8pPr marL="3264088" indent="0">
              <a:buNone/>
              <a:defRPr sz="1632" b="1"/>
            </a:lvl8pPr>
            <a:lvl9pPr marL="3730386" indent="0">
              <a:buNone/>
              <a:defRPr sz="1632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56628" y="2554944"/>
            <a:ext cx="5261211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95965" y="2031212"/>
            <a:ext cx="5287122" cy="523733"/>
          </a:xfrm>
        </p:spPr>
        <p:txBody>
          <a:bodyPr anchor="b"/>
          <a:lstStyle>
            <a:lvl1pPr marL="0" indent="0">
              <a:buNone/>
              <a:defRPr sz="2448" b="1"/>
            </a:lvl1pPr>
            <a:lvl2pPr marL="466298" indent="0">
              <a:buNone/>
              <a:defRPr sz="2040" b="1"/>
            </a:lvl2pPr>
            <a:lvl3pPr marL="932597" indent="0">
              <a:buNone/>
              <a:defRPr sz="1836" b="1"/>
            </a:lvl3pPr>
            <a:lvl4pPr marL="1398895" indent="0">
              <a:buNone/>
              <a:defRPr sz="1632" b="1"/>
            </a:lvl4pPr>
            <a:lvl5pPr marL="1865193" indent="0">
              <a:buNone/>
              <a:defRPr sz="1632" b="1"/>
            </a:lvl5pPr>
            <a:lvl6pPr marL="2331491" indent="0">
              <a:buNone/>
              <a:defRPr sz="1632" b="1"/>
            </a:lvl6pPr>
            <a:lvl7pPr marL="2797790" indent="0">
              <a:buNone/>
              <a:defRPr sz="1632" b="1"/>
            </a:lvl7pPr>
            <a:lvl8pPr marL="3264088" indent="0">
              <a:buNone/>
              <a:defRPr sz="1632" b="1"/>
            </a:lvl8pPr>
            <a:lvl9pPr marL="3730386" indent="0">
              <a:buNone/>
              <a:defRPr sz="1632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95965" y="2554944"/>
            <a:ext cx="5287122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ACDF76-308E-4240-B457-AF4CFA810176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0/04/2018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769531-8267-4752-8898-AFB2B3DF23B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13927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Freeform: Shape 103"/>
          <p:cNvSpPr>
            <a:spLocks/>
          </p:cNvSpPr>
          <p:nvPr userDrawn="1"/>
        </p:nvSpPr>
        <p:spPr bwMode="gray">
          <a:xfrm>
            <a:off x="352" y="4251226"/>
            <a:ext cx="12436123" cy="2743300"/>
          </a:xfrm>
          <a:custGeom>
            <a:avLst/>
            <a:gdLst>
              <a:gd name="connsiteX0" fmla="*/ 5679089 w 12449404"/>
              <a:gd name="connsiteY0" fmla="*/ 0 h 2048448"/>
              <a:gd name="connsiteX1" fmla="*/ 6408130 w 12449404"/>
              <a:gd name="connsiteY1" fmla="*/ 0 h 2048448"/>
              <a:gd name="connsiteX2" fmla="*/ 6408130 w 12449404"/>
              <a:gd name="connsiteY2" fmla="*/ 578198 h 2048448"/>
              <a:gd name="connsiteX3" fmla="*/ 6867090 w 12449404"/>
              <a:gd name="connsiteY3" fmla="*/ 606386 h 2048448"/>
              <a:gd name="connsiteX4" fmla="*/ 7118635 w 12449404"/>
              <a:gd name="connsiteY4" fmla="*/ 606386 h 2048448"/>
              <a:gd name="connsiteX5" fmla="*/ 7118635 w 12449404"/>
              <a:gd name="connsiteY5" fmla="*/ 483901 h 2048448"/>
              <a:gd name="connsiteX6" fmla="*/ 7128240 w 12449404"/>
              <a:gd name="connsiteY6" fmla="*/ 483901 h 2048448"/>
              <a:gd name="connsiteX7" fmla="*/ 7128240 w 12449404"/>
              <a:gd name="connsiteY7" fmla="*/ 225552 h 2048448"/>
              <a:gd name="connsiteX8" fmla="*/ 7501176 w 12449404"/>
              <a:gd name="connsiteY8" fmla="*/ 225552 h 2048448"/>
              <a:gd name="connsiteX9" fmla="*/ 7501176 w 12449404"/>
              <a:gd name="connsiteY9" fmla="*/ 339268 h 2048448"/>
              <a:gd name="connsiteX10" fmla="*/ 7539643 w 12449404"/>
              <a:gd name="connsiteY10" fmla="*/ 339268 h 2048448"/>
              <a:gd name="connsiteX11" fmla="*/ 7539643 w 12449404"/>
              <a:gd name="connsiteY11" fmla="*/ 483901 h 2048448"/>
              <a:gd name="connsiteX12" fmla="*/ 7646440 w 12449404"/>
              <a:gd name="connsiteY12" fmla="*/ 483901 h 2048448"/>
              <a:gd name="connsiteX13" fmla="*/ 7646440 w 12449404"/>
              <a:gd name="connsiteY13" fmla="*/ 643969 h 2048448"/>
              <a:gd name="connsiteX14" fmla="*/ 8043905 w 12449404"/>
              <a:gd name="connsiteY14" fmla="*/ 643969 h 2048448"/>
              <a:gd name="connsiteX15" fmla="*/ 8043905 w 12449404"/>
              <a:gd name="connsiteY15" fmla="*/ 744644 h 2048448"/>
              <a:gd name="connsiteX16" fmla="*/ 8497281 w 12449404"/>
              <a:gd name="connsiteY16" fmla="*/ 744644 h 2048448"/>
              <a:gd name="connsiteX17" fmla="*/ 8497281 w 12449404"/>
              <a:gd name="connsiteY17" fmla="*/ 777377 h 2048448"/>
              <a:gd name="connsiteX18" fmla="*/ 8516897 w 12449404"/>
              <a:gd name="connsiteY18" fmla="*/ 777377 h 2048448"/>
              <a:gd name="connsiteX19" fmla="*/ 8516897 w 12449404"/>
              <a:gd name="connsiteY19" fmla="*/ 965361 h 2048448"/>
              <a:gd name="connsiteX20" fmla="*/ 8865577 w 12449404"/>
              <a:gd name="connsiteY20" fmla="*/ 965361 h 2048448"/>
              <a:gd name="connsiteX21" fmla="*/ 8865577 w 12449404"/>
              <a:gd name="connsiteY21" fmla="*/ 525721 h 2048448"/>
              <a:gd name="connsiteX22" fmla="*/ 8968665 w 12449404"/>
              <a:gd name="connsiteY22" fmla="*/ 525721 h 2048448"/>
              <a:gd name="connsiteX23" fmla="*/ 8968665 w 12449404"/>
              <a:gd name="connsiteY23" fmla="*/ 386248 h 2048448"/>
              <a:gd name="connsiteX24" fmla="*/ 9271866 w 12449404"/>
              <a:gd name="connsiteY24" fmla="*/ 386248 h 2048448"/>
              <a:gd name="connsiteX25" fmla="*/ 9271866 w 12449404"/>
              <a:gd name="connsiteY25" fmla="*/ 525721 h 2048448"/>
              <a:gd name="connsiteX26" fmla="*/ 9368890 w 12449404"/>
              <a:gd name="connsiteY26" fmla="*/ 525721 h 2048448"/>
              <a:gd name="connsiteX27" fmla="*/ 9368890 w 12449404"/>
              <a:gd name="connsiteY27" fmla="*/ 58792 h 2048448"/>
              <a:gd name="connsiteX28" fmla="*/ 10072314 w 12449404"/>
              <a:gd name="connsiteY28" fmla="*/ 58792 h 2048448"/>
              <a:gd name="connsiteX29" fmla="*/ 10072314 w 12449404"/>
              <a:gd name="connsiteY29" fmla="*/ 616681 h 2048448"/>
              <a:gd name="connsiteX30" fmla="*/ 10514986 w 12449404"/>
              <a:gd name="connsiteY30" fmla="*/ 255872 h 2048448"/>
              <a:gd name="connsiteX31" fmla="*/ 10514986 w 12449404"/>
              <a:gd name="connsiteY31" fmla="*/ 643969 h 2048448"/>
              <a:gd name="connsiteX32" fmla="*/ 10757546 w 12449404"/>
              <a:gd name="connsiteY32" fmla="*/ 643969 h 2048448"/>
              <a:gd name="connsiteX33" fmla="*/ 10757546 w 12449404"/>
              <a:gd name="connsiteY33" fmla="*/ 525721 h 2048448"/>
              <a:gd name="connsiteX34" fmla="*/ 10860634 w 12449404"/>
              <a:gd name="connsiteY34" fmla="*/ 525721 h 2048448"/>
              <a:gd name="connsiteX35" fmla="*/ 10860634 w 12449404"/>
              <a:gd name="connsiteY35" fmla="*/ 386248 h 2048448"/>
              <a:gd name="connsiteX36" fmla="*/ 11163835 w 12449404"/>
              <a:gd name="connsiteY36" fmla="*/ 386248 h 2048448"/>
              <a:gd name="connsiteX37" fmla="*/ 11163835 w 12449404"/>
              <a:gd name="connsiteY37" fmla="*/ 525721 h 2048448"/>
              <a:gd name="connsiteX38" fmla="*/ 11266923 w 12449404"/>
              <a:gd name="connsiteY38" fmla="*/ 525721 h 2048448"/>
              <a:gd name="connsiteX39" fmla="*/ 11266923 w 12449404"/>
              <a:gd name="connsiteY39" fmla="*/ 965361 h 2048448"/>
              <a:gd name="connsiteX40" fmla="*/ 11612572 w 12449404"/>
              <a:gd name="connsiteY40" fmla="*/ 965361 h 2048448"/>
              <a:gd name="connsiteX41" fmla="*/ 11612572 w 12449404"/>
              <a:gd name="connsiteY41" fmla="*/ 777377 h 2048448"/>
              <a:gd name="connsiteX42" fmla="*/ 12088596 w 12449404"/>
              <a:gd name="connsiteY42" fmla="*/ 777377 h 2048448"/>
              <a:gd name="connsiteX43" fmla="*/ 12088596 w 12449404"/>
              <a:gd name="connsiteY43" fmla="*/ 1374681 h 2048448"/>
              <a:gd name="connsiteX44" fmla="*/ 12449404 w 12449404"/>
              <a:gd name="connsiteY44" fmla="*/ 1374681 h 2048448"/>
              <a:gd name="connsiteX45" fmla="*/ 12449404 w 12449404"/>
              <a:gd name="connsiteY45" fmla="*/ 1677881 h 2048448"/>
              <a:gd name="connsiteX46" fmla="*/ 12436715 w 12449404"/>
              <a:gd name="connsiteY46" fmla="*/ 1677881 h 2048448"/>
              <a:gd name="connsiteX47" fmla="*/ 12436715 w 12449404"/>
              <a:gd name="connsiteY47" fmla="*/ 2048448 h 2048448"/>
              <a:gd name="connsiteX48" fmla="*/ 0 w 12449404"/>
              <a:gd name="connsiteY48" fmla="*/ 2048448 h 2048448"/>
              <a:gd name="connsiteX49" fmla="*/ 0 w 12449404"/>
              <a:gd name="connsiteY49" fmla="*/ 1406374 h 2048448"/>
              <a:gd name="connsiteX50" fmla="*/ 45352 w 12449404"/>
              <a:gd name="connsiteY50" fmla="*/ 1406374 h 2048448"/>
              <a:gd name="connsiteX51" fmla="*/ 45352 w 12449404"/>
              <a:gd name="connsiteY51" fmla="*/ 1140624 h 2048448"/>
              <a:gd name="connsiteX52" fmla="*/ 657888 w 12449404"/>
              <a:gd name="connsiteY52" fmla="*/ 1140624 h 2048448"/>
              <a:gd name="connsiteX53" fmla="*/ 657888 w 12449404"/>
              <a:gd name="connsiteY53" fmla="*/ 879713 h 2048448"/>
              <a:gd name="connsiteX54" fmla="*/ 1116848 w 12449404"/>
              <a:gd name="connsiteY54" fmla="*/ 879713 h 2048448"/>
              <a:gd name="connsiteX55" fmla="*/ 1116848 w 12449404"/>
              <a:gd name="connsiteY55" fmla="*/ 1197168 h 2048448"/>
              <a:gd name="connsiteX56" fmla="*/ 1597874 w 12449404"/>
              <a:gd name="connsiteY56" fmla="*/ 1197168 h 2048448"/>
              <a:gd name="connsiteX57" fmla="*/ 1597874 w 12449404"/>
              <a:gd name="connsiteY57" fmla="*/ 807564 h 2048448"/>
              <a:gd name="connsiteX58" fmla="*/ 1701140 w 12449404"/>
              <a:gd name="connsiteY58" fmla="*/ 807564 h 2048448"/>
              <a:gd name="connsiteX59" fmla="*/ 1701140 w 12449404"/>
              <a:gd name="connsiteY59" fmla="*/ 662931 h 2048448"/>
              <a:gd name="connsiteX60" fmla="*/ 2018881 w 12449404"/>
              <a:gd name="connsiteY60" fmla="*/ 662931 h 2048448"/>
              <a:gd name="connsiteX61" fmla="*/ 2018881 w 12449404"/>
              <a:gd name="connsiteY61" fmla="*/ 807564 h 2048448"/>
              <a:gd name="connsiteX62" fmla="*/ 2122148 w 12449404"/>
              <a:gd name="connsiteY62" fmla="*/ 807564 h 2048448"/>
              <a:gd name="connsiteX63" fmla="*/ 2122148 w 12449404"/>
              <a:gd name="connsiteY63" fmla="*/ 939446 h 2048448"/>
              <a:gd name="connsiteX64" fmla="*/ 2484020 w 12449404"/>
              <a:gd name="connsiteY64" fmla="*/ 939446 h 2048448"/>
              <a:gd name="connsiteX65" fmla="*/ 2484020 w 12449404"/>
              <a:gd name="connsiteY65" fmla="*/ 744644 h 2048448"/>
              <a:gd name="connsiteX66" fmla="*/ 2549333 w 12449404"/>
              <a:gd name="connsiteY66" fmla="*/ 744644 h 2048448"/>
              <a:gd name="connsiteX67" fmla="*/ 2976519 w 12449404"/>
              <a:gd name="connsiteY67" fmla="*/ 744644 h 2048448"/>
              <a:gd name="connsiteX68" fmla="*/ 3008294 w 12449404"/>
              <a:gd name="connsiteY68" fmla="*/ 744644 h 2048448"/>
              <a:gd name="connsiteX69" fmla="*/ 3008294 w 12449404"/>
              <a:gd name="connsiteY69" fmla="*/ 879713 h 2048448"/>
              <a:gd name="connsiteX70" fmla="*/ 3356927 w 12449404"/>
              <a:gd name="connsiteY70" fmla="*/ 879713 h 2048448"/>
              <a:gd name="connsiteX71" fmla="*/ 3356927 w 12449404"/>
              <a:gd name="connsiteY71" fmla="*/ 172822 h 2048448"/>
              <a:gd name="connsiteX72" fmla="*/ 3743513 w 12449404"/>
              <a:gd name="connsiteY72" fmla="*/ 172822 h 2048448"/>
              <a:gd name="connsiteX73" fmla="*/ 3743513 w 12449404"/>
              <a:gd name="connsiteY73" fmla="*/ 606386 h 2048448"/>
              <a:gd name="connsiteX74" fmla="*/ 4305739 w 12449404"/>
              <a:gd name="connsiteY74" fmla="*/ 606386 h 2048448"/>
              <a:gd name="connsiteX75" fmla="*/ 4305739 w 12449404"/>
              <a:gd name="connsiteY75" fmla="*/ 744644 h 2048448"/>
              <a:gd name="connsiteX76" fmla="*/ 4796473 w 12449404"/>
              <a:gd name="connsiteY76" fmla="*/ 744644 h 2048448"/>
              <a:gd name="connsiteX77" fmla="*/ 4796473 w 12449404"/>
              <a:gd name="connsiteY77" fmla="*/ 907753 h 2048448"/>
              <a:gd name="connsiteX78" fmla="*/ 4966423 w 12449404"/>
              <a:gd name="connsiteY78" fmla="*/ 907753 h 2048448"/>
              <a:gd name="connsiteX79" fmla="*/ 4966423 w 12449404"/>
              <a:gd name="connsiteY79" fmla="*/ 939446 h 2048448"/>
              <a:gd name="connsiteX80" fmla="*/ 5157463 w 12449404"/>
              <a:gd name="connsiteY80" fmla="*/ 939446 h 2048448"/>
              <a:gd name="connsiteX81" fmla="*/ 5157463 w 12449404"/>
              <a:gd name="connsiteY81" fmla="*/ 483901 h 2048448"/>
              <a:gd name="connsiteX82" fmla="*/ 5264259 w 12449404"/>
              <a:gd name="connsiteY82" fmla="*/ 483901 h 2048448"/>
              <a:gd name="connsiteX83" fmla="*/ 5264259 w 12449404"/>
              <a:gd name="connsiteY83" fmla="*/ 339268 h 2048448"/>
              <a:gd name="connsiteX84" fmla="*/ 5578471 w 12449404"/>
              <a:gd name="connsiteY84" fmla="*/ 339268 h 2048448"/>
              <a:gd name="connsiteX85" fmla="*/ 5578471 w 12449404"/>
              <a:gd name="connsiteY85" fmla="*/ 483901 h 2048448"/>
              <a:gd name="connsiteX86" fmla="*/ 5679089 w 12449404"/>
              <a:gd name="connsiteY86" fmla="*/ 483901 h 2048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</a:cxnLst>
            <a:rect l="l" t="t" r="r" b="b"/>
            <a:pathLst>
              <a:path w="12449404" h="2048448">
                <a:moveTo>
                  <a:pt x="5679089" y="0"/>
                </a:moveTo>
                <a:lnTo>
                  <a:pt x="6408130" y="0"/>
                </a:lnTo>
                <a:lnTo>
                  <a:pt x="6408130" y="578198"/>
                </a:lnTo>
                <a:lnTo>
                  <a:pt x="6867090" y="606386"/>
                </a:lnTo>
                <a:lnTo>
                  <a:pt x="7118635" y="606386"/>
                </a:lnTo>
                <a:lnTo>
                  <a:pt x="7118635" y="483901"/>
                </a:lnTo>
                <a:lnTo>
                  <a:pt x="7128240" y="483901"/>
                </a:lnTo>
                <a:lnTo>
                  <a:pt x="7128240" y="225552"/>
                </a:lnTo>
                <a:lnTo>
                  <a:pt x="7501176" y="225552"/>
                </a:lnTo>
                <a:lnTo>
                  <a:pt x="7501176" y="339268"/>
                </a:lnTo>
                <a:lnTo>
                  <a:pt x="7539643" y="339268"/>
                </a:lnTo>
                <a:lnTo>
                  <a:pt x="7539643" y="483901"/>
                </a:lnTo>
                <a:lnTo>
                  <a:pt x="7646440" y="483901"/>
                </a:lnTo>
                <a:lnTo>
                  <a:pt x="7646440" y="643969"/>
                </a:lnTo>
                <a:lnTo>
                  <a:pt x="8043905" y="643969"/>
                </a:lnTo>
                <a:lnTo>
                  <a:pt x="8043905" y="744644"/>
                </a:lnTo>
                <a:lnTo>
                  <a:pt x="8497281" y="744644"/>
                </a:lnTo>
                <a:lnTo>
                  <a:pt x="8497281" y="777377"/>
                </a:lnTo>
                <a:lnTo>
                  <a:pt x="8516897" y="777377"/>
                </a:lnTo>
                <a:lnTo>
                  <a:pt x="8516897" y="965361"/>
                </a:lnTo>
                <a:lnTo>
                  <a:pt x="8865577" y="965361"/>
                </a:lnTo>
                <a:lnTo>
                  <a:pt x="8865577" y="525721"/>
                </a:lnTo>
                <a:lnTo>
                  <a:pt x="8968665" y="525721"/>
                </a:lnTo>
                <a:lnTo>
                  <a:pt x="8968665" y="386248"/>
                </a:lnTo>
                <a:lnTo>
                  <a:pt x="9271866" y="386248"/>
                </a:lnTo>
                <a:lnTo>
                  <a:pt x="9271866" y="525721"/>
                </a:lnTo>
                <a:lnTo>
                  <a:pt x="9368890" y="525721"/>
                </a:lnTo>
                <a:lnTo>
                  <a:pt x="9368890" y="58792"/>
                </a:lnTo>
                <a:lnTo>
                  <a:pt x="10072314" y="58792"/>
                </a:lnTo>
                <a:lnTo>
                  <a:pt x="10072314" y="616681"/>
                </a:lnTo>
                <a:lnTo>
                  <a:pt x="10514986" y="255872"/>
                </a:lnTo>
                <a:lnTo>
                  <a:pt x="10514986" y="643969"/>
                </a:lnTo>
                <a:lnTo>
                  <a:pt x="10757546" y="643969"/>
                </a:lnTo>
                <a:lnTo>
                  <a:pt x="10757546" y="525721"/>
                </a:lnTo>
                <a:lnTo>
                  <a:pt x="10860634" y="525721"/>
                </a:lnTo>
                <a:lnTo>
                  <a:pt x="10860634" y="386248"/>
                </a:lnTo>
                <a:lnTo>
                  <a:pt x="11163835" y="386248"/>
                </a:lnTo>
                <a:lnTo>
                  <a:pt x="11163835" y="525721"/>
                </a:lnTo>
                <a:lnTo>
                  <a:pt x="11266923" y="525721"/>
                </a:lnTo>
                <a:lnTo>
                  <a:pt x="11266923" y="965361"/>
                </a:lnTo>
                <a:lnTo>
                  <a:pt x="11612572" y="965361"/>
                </a:lnTo>
                <a:lnTo>
                  <a:pt x="11612572" y="777377"/>
                </a:lnTo>
                <a:lnTo>
                  <a:pt x="12088596" y="777377"/>
                </a:lnTo>
                <a:lnTo>
                  <a:pt x="12088596" y="1374681"/>
                </a:lnTo>
                <a:lnTo>
                  <a:pt x="12449404" y="1374681"/>
                </a:lnTo>
                <a:lnTo>
                  <a:pt x="12449404" y="1677881"/>
                </a:lnTo>
                <a:lnTo>
                  <a:pt x="12436715" y="1677881"/>
                </a:lnTo>
                <a:lnTo>
                  <a:pt x="12436715" y="2048448"/>
                </a:lnTo>
                <a:lnTo>
                  <a:pt x="0" y="2048448"/>
                </a:lnTo>
                <a:lnTo>
                  <a:pt x="0" y="1406374"/>
                </a:lnTo>
                <a:lnTo>
                  <a:pt x="45352" y="1406374"/>
                </a:lnTo>
                <a:lnTo>
                  <a:pt x="45352" y="1140624"/>
                </a:lnTo>
                <a:lnTo>
                  <a:pt x="657888" y="1140624"/>
                </a:lnTo>
                <a:lnTo>
                  <a:pt x="657888" y="879713"/>
                </a:lnTo>
                <a:lnTo>
                  <a:pt x="1116848" y="879713"/>
                </a:lnTo>
                <a:lnTo>
                  <a:pt x="1116848" y="1197168"/>
                </a:lnTo>
                <a:lnTo>
                  <a:pt x="1597874" y="1197168"/>
                </a:lnTo>
                <a:lnTo>
                  <a:pt x="1597874" y="807564"/>
                </a:lnTo>
                <a:lnTo>
                  <a:pt x="1701140" y="807564"/>
                </a:lnTo>
                <a:lnTo>
                  <a:pt x="1701140" y="662931"/>
                </a:lnTo>
                <a:lnTo>
                  <a:pt x="2018881" y="662931"/>
                </a:lnTo>
                <a:lnTo>
                  <a:pt x="2018881" y="807564"/>
                </a:lnTo>
                <a:lnTo>
                  <a:pt x="2122148" y="807564"/>
                </a:lnTo>
                <a:lnTo>
                  <a:pt x="2122148" y="939446"/>
                </a:lnTo>
                <a:lnTo>
                  <a:pt x="2484020" y="939446"/>
                </a:lnTo>
                <a:lnTo>
                  <a:pt x="2484020" y="744644"/>
                </a:lnTo>
                <a:lnTo>
                  <a:pt x="2549333" y="744644"/>
                </a:lnTo>
                <a:lnTo>
                  <a:pt x="2976519" y="744644"/>
                </a:lnTo>
                <a:lnTo>
                  <a:pt x="3008294" y="744644"/>
                </a:lnTo>
                <a:lnTo>
                  <a:pt x="3008294" y="879713"/>
                </a:lnTo>
                <a:lnTo>
                  <a:pt x="3356927" y="879713"/>
                </a:lnTo>
                <a:lnTo>
                  <a:pt x="3356927" y="172822"/>
                </a:lnTo>
                <a:lnTo>
                  <a:pt x="3743513" y="172822"/>
                </a:lnTo>
                <a:lnTo>
                  <a:pt x="3743513" y="606386"/>
                </a:lnTo>
                <a:lnTo>
                  <a:pt x="4305739" y="606386"/>
                </a:lnTo>
                <a:lnTo>
                  <a:pt x="4305739" y="744644"/>
                </a:lnTo>
                <a:lnTo>
                  <a:pt x="4796473" y="744644"/>
                </a:lnTo>
                <a:lnTo>
                  <a:pt x="4796473" y="907753"/>
                </a:lnTo>
                <a:lnTo>
                  <a:pt x="4966423" y="907753"/>
                </a:lnTo>
                <a:lnTo>
                  <a:pt x="4966423" y="939446"/>
                </a:lnTo>
                <a:lnTo>
                  <a:pt x="5157463" y="939446"/>
                </a:lnTo>
                <a:lnTo>
                  <a:pt x="5157463" y="483901"/>
                </a:lnTo>
                <a:lnTo>
                  <a:pt x="5264259" y="483901"/>
                </a:lnTo>
                <a:lnTo>
                  <a:pt x="5264259" y="339268"/>
                </a:lnTo>
                <a:lnTo>
                  <a:pt x="5578471" y="339268"/>
                </a:lnTo>
                <a:lnTo>
                  <a:pt x="5578471" y="483901"/>
                </a:lnTo>
                <a:lnTo>
                  <a:pt x="5679089" y="483901"/>
                </a:lnTo>
                <a:close/>
              </a:path>
            </a:pathLst>
          </a:custGeom>
          <a:solidFill>
            <a:srgbClr val="409AE1">
              <a:alpha val="4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955786"/>
            <a:ext cx="7315137" cy="1828007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0" name="Picture 13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  <p:grpSp>
        <p:nvGrpSpPr>
          <p:cNvPr id="141" name="Group 140"/>
          <p:cNvGrpSpPr>
            <a:grpSpLocks noChangeAspect="1"/>
          </p:cNvGrpSpPr>
          <p:nvPr userDrawn="1"/>
        </p:nvGrpSpPr>
        <p:grpSpPr bwMode="gray">
          <a:xfrm>
            <a:off x="7462446" y="3200401"/>
            <a:ext cx="4577461" cy="3539940"/>
            <a:chOff x="8496600" y="3495586"/>
            <a:chExt cx="3009906" cy="2327684"/>
          </a:xfrm>
        </p:grpSpPr>
        <p:sp>
          <p:nvSpPr>
            <p:cNvPr id="142" name="Freeform 9"/>
            <p:cNvSpPr>
              <a:spLocks/>
            </p:cNvSpPr>
            <p:nvPr/>
          </p:nvSpPr>
          <p:spPr bwMode="gray">
            <a:xfrm>
              <a:off x="8496600" y="5501008"/>
              <a:ext cx="646113" cy="82550"/>
            </a:xfrm>
            <a:custGeom>
              <a:avLst/>
              <a:gdLst>
                <a:gd name="T0" fmla="*/ 437 w 467"/>
                <a:gd name="T1" fmla="*/ 60 h 60"/>
                <a:gd name="T2" fmla="*/ 30 w 467"/>
                <a:gd name="T3" fmla="*/ 60 h 60"/>
                <a:gd name="T4" fmla="*/ 0 w 467"/>
                <a:gd name="T5" fmla="*/ 30 h 60"/>
                <a:gd name="T6" fmla="*/ 30 w 467"/>
                <a:gd name="T7" fmla="*/ 0 h 60"/>
                <a:gd name="T8" fmla="*/ 437 w 467"/>
                <a:gd name="T9" fmla="*/ 0 h 60"/>
                <a:gd name="T10" fmla="*/ 467 w 467"/>
                <a:gd name="T11" fmla="*/ 30 h 60"/>
                <a:gd name="T12" fmla="*/ 437 w 467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7" h="60">
                  <a:moveTo>
                    <a:pt x="437" y="60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13" y="60"/>
                    <a:pt x="0" y="46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37" y="0"/>
                    <a:pt x="437" y="0"/>
                    <a:pt x="437" y="0"/>
                  </a:cubicBezTo>
                  <a:cubicBezTo>
                    <a:pt x="453" y="0"/>
                    <a:pt x="467" y="13"/>
                    <a:pt x="467" y="30"/>
                  </a:cubicBezTo>
                  <a:cubicBezTo>
                    <a:pt x="467" y="46"/>
                    <a:pt x="453" y="60"/>
                    <a:pt x="437" y="6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10"/>
            <p:cNvSpPr>
              <a:spLocks/>
            </p:cNvSpPr>
            <p:nvPr/>
          </p:nvSpPr>
          <p:spPr bwMode="gray">
            <a:xfrm>
              <a:off x="10804831" y="3495586"/>
              <a:ext cx="701675" cy="371475"/>
            </a:xfrm>
            <a:custGeom>
              <a:avLst/>
              <a:gdLst>
                <a:gd name="T0" fmla="*/ 440 w 507"/>
                <a:gd name="T1" fmla="*/ 127 h 271"/>
                <a:gd name="T2" fmla="*/ 306 w 507"/>
                <a:gd name="T3" fmla="*/ 0 h 271"/>
                <a:gd name="T4" fmla="*/ 174 w 507"/>
                <a:gd name="T5" fmla="*/ 106 h 271"/>
                <a:gd name="T6" fmla="*/ 99 w 507"/>
                <a:gd name="T7" fmla="*/ 72 h 271"/>
                <a:gd name="T8" fmla="*/ 0 w 507"/>
                <a:gd name="T9" fmla="*/ 171 h 271"/>
                <a:gd name="T10" fmla="*/ 99 w 507"/>
                <a:gd name="T11" fmla="*/ 271 h 271"/>
                <a:gd name="T12" fmla="*/ 435 w 507"/>
                <a:gd name="T13" fmla="*/ 271 h 271"/>
                <a:gd name="T14" fmla="*/ 507 w 507"/>
                <a:gd name="T15" fmla="*/ 199 h 271"/>
                <a:gd name="T16" fmla="*/ 440 w 507"/>
                <a:gd name="T17" fmla="*/ 127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7" h="271">
                  <a:moveTo>
                    <a:pt x="440" y="127"/>
                  </a:moveTo>
                  <a:cubicBezTo>
                    <a:pt x="436" y="56"/>
                    <a:pt x="378" y="0"/>
                    <a:pt x="306" y="0"/>
                  </a:cubicBezTo>
                  <a:cubicBezTo>
                    <a:pt x="241" y="0"/>
                    <a:pt x="187" y="46"/>
                    <a:pt x="174" y="106"/>
                  </a:cubicBezTo>
                  <a:cubicBezTo>
                    <a:pt x="156" y="85"/>
                    <a:pt x="129" y="72"/>
                    <a:pt x="99" y="72"/>
                  </a:cubicBezTo>
                  <a:cubicBezTo>
                    <a:pt x="44" y="72"/>
                    <a:pt x="0" y="116"/>
                    <a:pt x="0" y="171"/>
                  </a:cubicBezTo>
                  <a:cubicBezTo>
                    <a:pt x="0" y="226"/>
                    <a:pt x="44" y="271"/>
                    <a:pt x="99" y="271"/>
                  </a:cubicBezTo>
                  <a:cubicBezTo>
                    <a:pt x="99" y="271"/>
                    <a:pt x="434" y="271"/>
                    <a:pt x="435" y="271"/>
                  </a:cubicBezTo>
                  <a:cubicBezTo>
                    <a:pt x="475" y="271"/>
                    <a:pt x="507" y="238"/>
                    <a:pt x="507" y="199"/>
                  </a:cubicBezTo>
                  <a:cubicBezTo>
                    <a:pt x="507" y="161"/>
                    <a:pt x="478" y="130"/>
                    <a:pt x="440" y="1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11"/>
            <p:cNvSpPr>
              <a:spLocks/>
            </p:cNvSpPr>
            <p:nvPr/>
          </p:nvSpPr>
          <p:spPr bwMode="gray">
            <a:xfrm>
              <a:off x="10001550" y="5497833"/>
              <a:ext cx="1504950" cy="82550"/>
            </a:xfrm>
            <a:custGeom>
              <a:avLst/>
              <a:gdLst>
                <a:gd name="T0" fmla="*/ 1059 w 1089"/>
                <a:gd name="T1" fmla="*/ 60 h 60"/>
                <a:gd name="T2" fmla="*/ 30 w 1089"/>
                <a:gd name="T3" fmla="*/ 60 h 60"/>
                <a:gd name="T4" fmla="*/ 0 w 1089"/>
                <a:gd name="T5" fmla="*/ 30 h 60"/>
                <a:gd name="T6" fmla="*/ 30 w 1089"/>
                <a:gd name="T7" fmla="*/ 0 h 60"/>
                <a:gd name="T8" fmla="*/ 1059 w 1089"/>
                <a:gd name="T9" fmla="*/ 0 h 60"/>
                <a:gd name="T10" fmla="*/ 1089 w 1089"/>
                <a:gd name="T11" fmla="*/ 30 h 60"/>
                <a:gd name="T12" fmla="*/ 1059 w 1089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9" h="60">
                  <a:moveTo>
                    <a:pt x="1059" y="60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14" y="60"/>
                    <a:pt x="0" y="46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1059" y="0"/>
                    <a:pt x="1059" y="0"/>
                    <a:pt x="1059" y="0"/>
                  </a:cubicBezTo>
                  <a:cubicBezTo>
                    <a:pt x="1076" y="0"/>
                    <a:pt x="1089" y="13"/>
                    <a:pt x="1089" y="30"/>
                  </a:cubicBezTo>
                  <a:cubicBezTo>
                    <a:pt x="1089" y="46"/>
                    <a:pt x="1076" y="60"/>
                    <a:pt x="1059" y="6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12"/>
            <p:cNvSpPr>
              <a:spLocks/>
            </p:cNvSpPr>
            <p:nvPr/>
          </p:nvSpPr>
          <p:spPr bwMode="gray">
            <a:xfrm>
              <a:off x="9110962" y="5713733"/>
              <a:ext cx="1012825" cy="109537"/>
            </a:xfrm>
            <a:custGeom>
              <a:avLst/>
              <a:gdLst>
                <a:gd name="T0" fmla="*/ 692 w 732"/>
                <a:gd name="T1" fmla="*/ 80 h 80"/>
                <a:gd name="T2" fmla="*/ 40 w 732"/>
                <a:gd name="T3" fmla="*/ 80 h 80"/>
                <a:gd name="T4" fmla="*/ 0 w 732"/>
                <a:gd name="T5" fmla="*/ 40 h 80"/>
                <a:gd name="T6" fmla="*/ 40 w 732"/>
                <a:gd name="T7" fmla="*/ 0 h 80"/>
                <a:gd name="T8" fmla="*/ 692 w 732"/>
                <a:gd name="T9" fmla="*/ 0 h 80"/>
                <a:gd name="T10" fmla="*/ 732 w 732"/>
                <a:gd name="T11" fmla="*/ 40 h 80"/>
                <a:gd name="T12" fmla="*/ 692 w 732"/>
                <a:gd name="T13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2" h="80">
                  <a:moveTo>
                    <a:pt x="692" y="80"/>
                  </a:moveTo>
                  <a:cubicBezTo>
                    <a:pt x="40" y="80"/>
                    <a:pt x="40" y="80"/>
                    <a:pt x="40" y="80"/>
                  </a:cubicBezTo>
                  <a:cubicBezTo>
                    <a:pt x="18" y="80"/>
                    <a:pt x="0" y="62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692" y="0"/>
                    <a:pt x="692" y="0"/>
                    <a:pt x="692" y="0"/>
                  </a:cubicBezTo>
                  <a:cubicBezTo>
                    <a:pt x="714" y="0"/>
                    <a:pt x="732" y="18"/>
                    <a:pt x="732" y="40"/>
                  </a:cubicBezTo>
                  <a:cubicBezTo>
                    <a:pt x="732" y="62"/>
                    <a:pt x="714" y="80"/>
                    <a:pt x="692" y="8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13"/>
            <p:cNvSpPr>
              <a:spLocks/>
            </p:cNvSpPr>
            <p:nvPr/>
          </p:nvSpPr>
          <p:spPr bwMode="gray">
            <a:xfrm>
              <a:off x="8910937" y="4935858"/>
              <a:ext cx="33338" cy="77787"/>
            </a:xfrm>
            <a:custGeom>
              <a:avLst/>
              <a:gdLst>
                <a:gd name="T0" fmla="*/ 0 w 21"/>
                <a:gd name="T1" fmla="*/ 0 h 49"/>
                <a:gd name="T2" fmla="*/ 1 w 21"/>
                <a:gd name="T3" fmla="*/ 10 h 49"/>
                <a:gd name="T4" fmla="*/ 0 w 21"/>
                <a:gd name="T5" fmla="*/ 49 h 49"/>
                <a:gd name="T6" fmla="*/ 12 w 21"/>
                <a:gd name="T7" fmla="*/ 49 h 49"/>
                <a:gd name="T8" fmla="*/ 21 w 21"/>
                <a:gd name="T9" fmla="*/ 11 h 49"/>
                <a:gd name="T10" fmla="*/ 21 w 21"/>
                <a:gd name="T11" fmla="*/ 0 h 49"/>
                <a:gd name="T12" fmla="*/ 0 w 21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49">
                  <a:moveTo>
                    <a:pt x="0" y="0"/>
                  </a:moveTo>
                  <a:lnTo>
                    <a:pt x="1" y="10"/>
                  </a:lnTo>
                  <a:lnTo>
                    <a:pt x="0" y="49"/>
                  </a:lnTo>
                  <a:lnTo>
                    <a:pt x="12" y="49"/>
                  </a:lnTo>
                  <a:lnTo>
                    <a:pt x="21" y="11"/>
                  </a:lnTo>
                  <a:lnTo>
                    <a:pt x="2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14"/>
            <p:cNvSpPr>
              <a:spLocks/>
            </p:cNvSpPr>
            <p:nvPr/>
          </p:nvSpPr>
          <p:spPr bwMode="gray">
            <a:xfrm>
              <a:off x="8929987" y="4935858"/>
              <a:ext cx="14288" cy="77787"/>
            </a:xfrm>
            <a:custGeom>
              <a:avLst/>
              <a:gdLst>
                <a:gd name="T0" fmla="*/ 5 w 9"/>
                <a:gd name="T1" fmla="*/ 0 h 49"/>
                <a:gd name="T2" fmla="*/ 5 w 9"/>
                <a:gd name="T3" fmla="*/ 11 h 49"/>
                <a:gd name="T4" fmla="*/ 0 w 9"/>
                <a:gd name="T5" fmla="*/ 49 h 49"/>
                <a:gd name="T6" fmla="*/ 9 w 9"/>
                <a:gd name="T7" fmla="*/ 11 h 49"/>
                <a:gd name="T8" fmla="*/ 9 w 9"/>
                <a:gd name="T9" fmla="*/ 0 h 49"/>
                <a:gd name="T10" fmla="*/ 5 w 9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49">
                  <a:moveTo>
                    <a:pt x="5" y="0"/>
                  </a:moveTo>
                  <a:lnTo>
                    <a:pt x="5" y="11"/>
                  </a:lnTo>
                  <a:lnTo>
                    <a:pt x="0" y="49"/>
                  </a:lnTo>
                  <a:lnTo>
                    <a:pt x="9" y="11"/>
                  </a:lnTo>
                  <a:lnTo>
                    <a:pt x="9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99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15"/>
            <p:cNvSpPr>
              <a:spLocks/>
            </p:cNvSpPr>
            <p:nvPr/>
          </p:nvSpPr>
          <p:spPr bwMode="gray">
            <a:xfrm>
              <a:off x="8910937" y="4935858"/>
              <a:ext cx="6350" cy="77787"/>
            </a:xfrm>
            <a:custGeom>
              <a:avLst/>
              <a:gdLst>
                <a:gd name="T0" fmla="*/ 0 w 4"/>
                <a:gd name="T1" fmla="*/ 0 h 49"/>
                <a:gd name="T2" fmla="*/ 1 w 4"/>
                <a:gd name="T3" fmla="*/ 10 h 49"/>
                <a:gd name="T4" fmla="*/ 0 w 4"/>
                <a:gd name="T5" fmla="*/ 49 h 49"/>
                <a:gd name="T6" fmla="*/ 4 w 4"/>
                <a:gd name="T7" fmla="*/ 10 h 49"/>
                <a:gd name="T8" fmla="*/ 4 w 4"/>
                <a:gd name="T9" fmla="*/ 0 h 49"/>
                <a:gd name="T10" fmla="*/ 0 w 4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9">
                  <a:moveTo>
                    <a:pt x="0" y="0"/>
                  </a:moveTo>
                  <a:lnTo>
                    <a:pt x="1" y="10"/>
                  </a:lnTo>
                  <a:lnTo>
                    <a:pt x="0" y="49"/>
                  </a:lnTo>
                  <a:lnTo>
                    <a:pt x="4" y="1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16"/>
            <p:cNvSpPr>
              <a:spLocks/>
            </p:cNvSpPr>
            <p:nvPr/>
          </p:nvSpPr>
          <p:spPr bwMode="gray">
            <a:xfrm>
              <a:off x="8912525" y="4997770"/>
              <a:ext cx="33338" cy="47625"/>
            </a:xfrm>
            <a:custGeom>
              <a:avLst/>
              <a:gdLst>
                <a:gd name="T0" fmla="*/ 0 w 24"/>
                <a:gd name="T1" fmla="*/ 0 h 34"/>
                <a:gd name="T2" fmla="*/ 0 w 24"/>
                <a:gd name="T3" fmla="*/ 34 h 34"/>
                <a:gd name="T4" fmla="*/ 22 w 24"/>
                <a:gd name="T5" fmla="*/ 34 h 34"/>
                <a:gd name="T6" fmla="*/ 24 w 24"/>
                <a:gd name="T7" fmla="*/ 32 h 34"/>
                <a:gd name="T8" fmla="*/ 24 w 24"/>
                <a:gd name="T9" fmla="*/ 27 h 34"/>
                <a:gd name="T10" fmla="*/ 22 w 24"/>
                <a:gd name="T11" fmla="*/ 24 h 34"/>
                <a:gd name="T12" fmla="*/ 15 w 24"/>
                <a:gd name="T13" fmla="*/ 16 h 34"/>
                <a:gd name="T14" fmla="*/ 15 w 24"/>
                <a:gd name="T15" fmla="*/ 0 h 34"/>
                <a:gd name="T16" fmla="*/ 0 w 24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34">
                  <a:moveTo>
                    <a:pt x="0" y="0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4" y="34"/>
                    <a:pt x="24" y="32"/>
                  </a:cubicBezTo>
                  <a:cubicBezTo>
                    <a:pt x="24" y="30"/>
                    <a:pt x="24" y="27"/>
                    <a:pt x="24" y="27"/>
                  </a:cubicBezTo>
                  <a:cubicBezTo>
                    <a:pt x="24" y="27"/>
                    <a:pt x="24" y="26"/>
                    <a:pt x="22" y="24"/>
                  </a:cubicBezTo>
                  <a:cubicBezTo>
                    <a:pt x="20" y="23"/>
                    <a:pt x="16" y="18"/>
                    <a:pt x="15" y="16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17"/>
            <p:cNvSpPr>
              <a:spLocks/>
            </p:cNvSpPr>
            <p:nvPr/>
          </p:nvSpPr>
          <p:spPr bwMode="gray">
            <a:xfrm>
              <a:off x="8912525" y="5042220"/>
              <a:ext cx="33338" cy="4762"/>
            </a:xfrm>
            <a:custGeom>
              <a:avLst/>
              <a:gdLst>
                <a:gd name="T0" fmla="*/ 24 w 24"/>
                <a:gd name="T1" fmla="*/ 0 h 4"/>
                <a:gd name="T2" fmla="*/ 24 w 24"/>
                <a:gd name="T3" fmla="*/ 2 h 4"/>
                <a:gd name="T4" fmla="*/ 22 w 24"/>
                <a:gd name="T5" fmla="*/ 4 h 4"/>
                <a:gd name="T6" fmla="*/ 0 w 24"/>
                <a:gd name="T7" fmla="*/ 4 h 4"/>
                <a:gd name="T8" fmla="*/ 0 w 24"/>
                <a:gd name="T9" fmla="*/ 2 h 4"/>
                <a:gd name="T10" fmla="*/ 22 w 24"/>
                <a:gd name="T11" fmla="*/ 2 h 4"/>
                <a:gd name="T12" fmla="*/ 24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4" y="0"/>
                  </a:moveTo>
                  <a:cubicBezTo>
                    <a:pt x="24" y="0"/>
                    <a:pt x="24" y="1"/>
                    <a:pt x="24" y="2"/>
                  </a:cubicBezTo>
                  <a:cubicBezTo>
                    <a:pt x="24" y="4"/>
                    <a:pt x="22" y="4"/>
                    <a:pt x="22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2"/>
                    <a:pt x="24" y="2"/>
                    <a:pt x="24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18"/>
            <p:cNvSpPr>
              <a:spLocks/>
            </p:cNvSpPr>
            <p:nvPr/>
          </p:nvSpPr>
          <p:spPr bwMode="gray">
            <a:xfrm>
              <a:off x="8933162" y="5019995"/>
              <a:ext cx="12700" cy="25400"/>
            </a:xfrm>
            <a:custGeom>
              <a:avLst/>
              <a:gdLst>
                <a:gd name="T0" fmla="*/ 7 w 9"/>
                <a:gd name="T1" fmla="*/ 18 h 18"/>
                <a:gd name="T2" fmla="*/ 9 w 9"/>
                <a:gd name="T3" fmla="*/ 16 h 18"/>
                <a:gd name="T4" fmla="*/ 9 w 9"/>
                <a:gd name="T5" fmla="*/ 11 h 18"/>
                <a:gd name="T6" fmla="*/ 7 w 9"/>
                <a:gd name="T7" fmla="*/ 8 h 18"/>
                <a:gd name="T8" fmla="*/ 0 w 9"/>
                <a:gd name="T9" fmla="*/ 0 h 18"/>
                <a:gd name="T10" fmla="*/ 0 w 9"/>
                <a:gd name="T11" fmla="*/ 18 h 18"/>
                <a:gd name="T12" fmla="*/ 7 w 9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8">
                  <a:moveTo>
                    <a:pt x="7" y="18"/>
                  </a:moveTo>
                  <a:cubicBezTo>
                    <a:pt x="7" y="18"/>
                    <a:pt x="9" y="18"/>
                    <a:pt x="9" y="16"/>
                  </a:cubicBezTo>
                  <a:cubicBezTo>
                    <a:pt x="9" y="14"/>
                    <a:pt x="9" y="11"/>
                    <a:pt x="9" y="11"/>
                  </a:cubicBezTo>
                  <a:cubicBezTo>
                    <a:pt x="9" y="11"/>
                    <a:pt x="9" y="10"/>
                    <a:pt x="7" y="8"/>
                  </a:cubicBezTo>
                  <a:cubicBezTo>
                    <a:pt x="5" y="7"/>
                    <a:pt x="1" y="2"/>
                    <a:pt x="0" y="0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7" y="18"/>
                  </a:lnTo>
                  <a:close/>
                </a:path>
              </a:pathLst>
            </a:custGeom>
            <a:solidFill>
              <a:srgbClr val="3131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19"/>
            <p:cNvSpPr>
              <a:spLocks/>
            </p:cNvSpPr>
            <p:nvPr/>
          </p:nvSpPr>
          <p:spPr bwMode="gray">
            <a:xfrm>
              <a:off x="8874425" y="4935858"/>
              <a:ext cx="33338" cy="77787"/>
            </a:xfrm>
            <a:custGeom>
              <a:avLst/>
              <a:gdLst>
                <a:gd name="T0" fmla="*/ 0 w 21"/>
                <a:gd name="T1" fmla="*/ 0 h 49"/>
                <a:gd name="T2" fmla="*/ 0 w 21"/>
                <a:gd name="T3" fmla="*/ 10 h 49"/>
                <a:gd name="T4" fmla="*/ 0 w 21"/>
                <a:gd name="T5" fmla="*/ 49 h 49"/>
                <a:gd name="T6" fmla="*/ 13 w 21"/>
                <a:gd name="T7" fmla="*/ 49 h 49"/>
                <a:gd name="T8" fmla="*/ 21 w 21"/>
                <a:gd name="T9" fmla="*/ 11 h 49"/>
                <a:gd name="T10" fmla="*/ 21 w 21"/>
                <a:gd name="T11" fmla="*/ 0 h 49"/>
                <a:gd name="T12" fmla="*/ 0 w 21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49">
                  <a:moveTo>
                    <a:pt x="0" y="0"/>
                  </a:moveTo>
                  <a:lnTo>
                    <a:pt x="0" y="10"/>
                  </a:lnTo>
                  <a:lnTo>
                    <a:pt x="0" y="49"/>
                  </a:lnTo>
                  <a:lnTo>
                    <a:pt x="13" y="49"/>
                  </a:lnTo>
                  <a:lnTo>
                    <a:pt x="21" y="11"/>
                  </a:lnTo>
                  <a:lnTo>
                    <a:pt x="2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20"/>
            <p:cNvSpPr>
              <a:spLocks/>
            </p:cNvSpPr>
            <p:nvPr/>
          </p:nvSpPr>
          <p:spPr bwMode="gray">
            <a:xfrm>
              <a:off x="8895062" y="4935858"/>
              <a:ext cx="12700" cy="77787"/>
            </a:xfrm>
            <a:custGeom>
              <a:avLst/>
              <a:gdLst>
                <a:gd name="T0" fmla="*/ 4 w 8"/>
                <a:gd name="T1" fmla="*/ 0 h 49"/>
                <a:gd name="T2" fmla="*/ 4 w 8"/>
                <a:gd name="T3" fmla="*/ 11 h 49"/>
                <a:gd name="T4" fmla="*/ 0 w 8"/>
                <a:gd name="T5" fmla="*/ 49 h 49"/>
                <a:gd name="T6" fmla="*/ 8 w 8"/>
                <a:gd name="T7" fmla="*/ 11 h 49"/>
                <a:gd name="T8" fmla="*/ 8 w 8"/>
                <a:gd name="T9" fmla="*/ 0 h 49"/>
                <a:gd name="T10" fmla="*/ 4 w 8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49">
                  <a:moveTo>
                    <a:pt x="4" y="0"/>
                  </a:moveTo>
                  <a:lnTo>
                    <a:pt x="4" y="11"/>
                  </a:lnTo>
                  <a:lnTo>
                    <a:pt x="0" y="49"/>
                  </a:lnTo>
                  <a:lnTo>
                    <a:pt x="8" y="11"/>
                  </a:lnTo>
                  <a:lnTo>
                    <a:pt x="8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99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21"/>
            <p:cNvSpPr>
              <a:spLocks/>
            </p:cNvSpPr>
            <p:nvPr/>
          </p:nvSpPr>
          <p:spPr bwMode="gray">
            <a:xfrm>
              <a:off x="8874425" y="4935858"/>
              <a:ext cx="6350" cy="77787"/>
            </a:xfrm>
            <a:custGeom>
              <a:avLst/>
              <a:gdLst>
                <a:gd name="T0" fmla="*/ 0 w 4"/>
                <a:gd name="T1" fmla="*/ 0 h 49"/>
                <a:gd name="T2" fmla="*/ 0 w 4"/>
                <a:gd name="T3" fmla="*/ 10 h 49"/>
                <a:gd name="T4" fmla="*/ 0 w 4"/>
                <a:gd name="T5" fmla="*/ 49 h 49"/>
                <a:gd name="T6" fmla="*/ 4 w 4"/>
                <a:gd name="T7" fmla="*/ 10 h 49"/>
                <a:gd name="T8" fmla="*/ 4 w 4"/>
                <a:gd name="T9" fmla="*/ 0 h 49"/>
                <a:gd name="T10" fmla="*/ 0 w 4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9">
                  <a:moveTo>
                    <a:pt x="0" y="0"/>
                  </a:moveTo>
                  <a:lnTo>
                    <a:pt x="0" y="10"/>
                  </a:lnTo>
                  <a:lnTo>
                    <a:pt x="0" y="49"/>
                  </a:lnTo>
                  <a:lnTo>
                    <a:pt x="4" y="1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22"/>
            <p:cNvSpPr>
              <a:spLocks/>
            </p:cNvSpPr>
            <p:nvPr/>
          </p:nvSpPr>
          <p:spPr bwMode="gray">
            <a:xfrm>
              <a:off x="8874425" y="4997770"/>
              <a:ext cx="34925" cy="47625"/>
            </a:xfrm>
            <a:custGeom>
              <a:avLst/>
              <a:gdLst>
                <a:gd name="T0" fmla="*/ 0 w 25"/>
                <a:gd name="T1" fmla="*/ 0 h 34"/>
                <a:gd name="T2" fmla="*/ 0 w 25"/>
                <a:gd name="T3" fmla="*/ 34 h 34"/>
                <a:gd name="T4" fmla="*/ 23 w 25"/>
                <a:gd name="T5" fmla="*/ 34 h 34"/>
                <a:gd name="T6" fmla="*/ 24 w 25"/>
                <a:gd name="T7" fmla="*/ 32 h 34"/>
                <a:gd name="T8" fmla="*/ 24 w 25"/>
                <a:gd name="T9" fmla="*/ 27 h 34"/>
                <a:gd name="T10" fmla="*/ 22 w 25"/>
                <a:gd name="T11" fmla="*/ 24 h 34"/>
                <a:gd name="T12" fmla="*/ 16 w 25"/>
                <a:gd name="T13" fmla="*/ 16 h 34"/>
                <a:gd name="T14" fmla="*/ 16 w 25"/>
                <a:gd name="T15" fmla="*/ 0 h 34"/>
                <a:gd name="T16" fmla="*/ 0 w 25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34">
                  <a:moveTo>
                    <a:pt x="0" y="0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23" y="34"/>
                    <a:pt x="24" y="34"/>
                    <a:pt x="24" y="32"/>
                  </a:cubicBezTo>
                  <a:cubicBezTo>
                    <a:pt x="24" y="30"/>
                    <a:pt x="24" y="27"/>
                    <a:pt x="24" y="27"/>
                  </a:cubicBezTo>
                  <a:cubicBezTo>
                    <a:pt x="24" y="27"/>
                    <a:pt x="25" y="26"/>
                    <a:pt x="22" y="24"/>
                  </a:cubicBezTo>
                  <a:cubicBezTo>
                    <a:pt x="20" y="23"/>
                    <a:pt x="16" y="18"/>
                    <a:pt x="16" y="16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23"/>
            <p:cNvSpPr>
              <a:spLocks/>
            </p:cNvSpPr>
            <p:nvPr/>
          </p:nvSpPr>
          <p:spPr bwMode="gray">
            <a:xfrm>
              <a:off x="8874425" y="5042220"/>
              <a:ext cx="33338" cy="4762"/>
            </a:xfrm>
            <a:custGeom>
              <a:avLst/>
              <a:gdLst>
                <a:gd name="T0" fmla="*/ 24 w 24"/>
                <a:gd name="T1" fmla="*/ 0 h 4"/>
                <a:gd name="T2" fmla="*/ 24 w 24"/>
                <a:gd name="T3" fmla="*/ 2 h 4"/>
                <a:gd name="T4" fmla="*/ 23 w 24"/>
                <a:gd name="T5" fmla="*/ 4 h 4"/>
                <a:gd name="T6" fmla="*/ 0 w 24"/>
                <a:gd name="T7" fmla="*/ 4 h 4"/>
                <a:gd name="T8" fmla="*/ 0 w 24"/>
                <a:gd name="T9" fmla="*/ 2 h 4"/>
                <a:gd name="T10" fmla="*/ 23 w 24"/>
                <a:gd name="T11" fmla="*/ 2 h 4"/>
                <a:gd name="T12" fmla="*/ 24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4" y="0"/>
                  </a:moveTo>
                  <a:cubicBezTo>
                    <a:pt x="24" y="0"/>
                    <a:pt x="24" y="1"/>
                    <a:pt x="24" y="2"/>
                  </a:cubicBezTo>
                  <a:cubicBezTo>
                    <a:pt x="24" y="4"/>
                    <a:pt x="23" y="4"/>
                    <a:pt x="23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3" y="2"/>
                    <a:pt x="24" y="2"/>
                    <a:pt x="24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24"/>
            <p:cNvSpPr>
              <a:spLocks/>
            </p:cNvSpPr>
            <p:nvPr/>
          </p:nvSpPr>
          <p:spPr bwMode="gray">
            <a:xfrm>
              <a:off x="8896650" y="5019995"/>
              <a:ext cx="11113" cy="25400"/>
            </a:xfrm>
            <a:custGeom>
              <a:avLst/>
              <a:gdLst>
                <a:gd name="T0" fmla="*/ 0 w 8"/>
                <a:gd name="T1" fmla="*/ 0 h 18"/>
                <a:gd name="T2" fmla="*/ 0 w 8"/>
                <a:gd name="T3" fmla="*/ 18 h 18"/>
                <a:gd name="T4" fmla="*/ 7 w 8"/>
                <a:gd name="T5" fmla="*/ 18 h 18"/>
                <a:gd name="T6" fmla="*/ 8 w 8"/>
                <a:gd name="T7" fmla="*/ 16 h 18"/>
                <a:gd name="T8" fmla="*/ 8 w 8"/>
                <a:gd name="T9" fmla="*/ 11 h 18"/>
                <a:gd name="T10" fmla="*/ 8 w 8"/>
                <a:gd name="T11" fmla="*/ 11 h 18"/>
                <a:gd name="T12" fmla="*/ 8 w 8"/>
                <a:gd name="T13" fmla="*/ 11 h 18"/>
                <a:gd name="T14" fmla="*/ 8 w 8"/>
                <a:gd name="T15" fmla="*/ 11 h 18"/>
                <a:gd name="T16" fmla="*/ 6 w 8"/>
                <a:gd name="T17" fmla="*/ 8 h 18"/>
                <a:gd name="T18" fmla="*/ 0 w 8"/>
                <a:gd name="T1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18">
                  <a:moveTo>
                    <a:pt x="0" y="0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7" y="18"/>
                    <a:pt x="8" y="18"/>
                    <a:pt x="8" y="16"/>
                  </a:cubicBezTo>
                  <a:cubicBezTo>
                    <a:pt x="8" y="14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0"/>
                    <a:pt x="8" y="9"/>
                    <a:pt x="6" y="8"/>
                  </a:cubicBezTo>
                  <a:cubicBezTo>
                    <a:pt x="4" y="7"/>
                    <a:pt x="0" y="2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25"/>
            <p:cNvSpPr>
              <a:spLocks/>
            </p:cNvSpPr>
            <p:nvPr/>
          </p:nvSpPr>
          <p:spPr bwMode="gray">
            <a:xfrm>
              <a:off x="8929987" y="4756470"/>
              <a:ext cx="9525" cy="1587"/>
            </a:xfrm>
            <a:custGeom>
              <a:avLst/>
              <a:gdLst>
                <a:gd name="T0" fmla="*/ 0 w 6"/>
                <a:gd name="T1" fmla="*/ 0 h 1"/>
                <a:gd name="T2" fmla="*/ 6 w 6"/>
                <a:gd name="T3" fmla="*/ 1 h 1"/>
                <a:gd name="T4" fmla="*/ 6 w 6"/>
                <a:gd name="T5" fmla="*/ 1 h 1"/>
                <a:gd name="T6" fmla="*/ 0 w 6"/>
                <a:gd name="T7" fmla="*/ 0 h 1"/>
                <a:gd name="T8" fmla="*/ 0 w 6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">
                  <a:moveTo>
                    <a:pt x="0" y="0"/>
                  </a:moveTo>
                  <a:lnTo>
                    <a:pt x="6" y="1"/>
                  </a:lnTo>
                  <a:lnTo>
                    <a:pt x="6" y="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BD9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26"/>
            <p:cNvSpPr>
              <a:spLocks/>
            </p:cNvSpPr>
            <p:nvPr/>
          </p:nvSpPr>
          <p:spPr bwMode="gray">
            <a:xfrm>
              <a:off x="8917287" y="4731070"/>
              <a:ext cx="0" cy="1587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F6CA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27"/>
            <p:cNvSpPr>
              <a:spLocks/>
            </p:cNvSpPr>
            <p:nvPr/>
          </p:nvSpPr>
          <p:spPr bwMode="gray">
            <a:xfrm>
              <a:off x="8899825" y="4724720"/>
              <a:ext cx="50800" cy="57150"/>
            </a:xfrm>
            <a:custGeom>
              <a:avLst/>
              <a:gdLst>
                <a:gd name="T0" fmla="*/ 33 w 36"/>
                <a:gd name="T1" fmla="*/ 16 h 42"/>
                <a:gd name="T2" fmla="*/ 28 w 36"/>
                <a:gd name="T3" fmla="*/ 7 h 42"/>
                <a:gd name="T4" fmla="*/ 27 w 36"/>
                <a:gd name="T5" fmla="*/ 5 h 42"/>
                <a:gd name="T6" fmla="*/ 27 w 36"/>
                <a:gd name="T7" fmla="*/ 5 h 42"/>
                <a:gd name="T8" fmla="*/ 17 w 36"/>
                <a:gd name="T9" fmla="*/ 4 h 42"/>
                <a:gd name="T10" fmla="*/ 13 w 36"/>
                <a:gd name="T11" fmla="*/ 0 h 42"/>
                <a:gd name="T12" fmla="*/ 13 w 36"/>
                <a:gd name="T13" fmla="*/ 0 h 42"/>
                <a:gd name="T14" fmla="*/ 13 w 36"/>
                <a:gd name="T15" fmla="*/ 5 h 42"/>
                <a:gd name="T16" fmla="*/ 13 w 36"/>
                <a:gd name="T17" fmla="*/ 6 h 42"/>
                <a:gd name="T18" fmla="*/ 13 w 36"/>
                <a:gd name="T19" fmla="*/ 11 h 42"/>
                <a:gd name="T20" fmla="*/ 14 w 36"/>
                <a:gd name="T21" fmla="*/ 14 h 42"/>
                <a:gd name="T22" fmla="*/ 11 w 36"/>
                <a:gd name="T23" fmla="*/ 14 h 42"/>
                <a:gd name="T24" fmla="*/ 6 w 36"/>
                <a:gd name="T25" fmla="*/ 11 h 42"/>
                <a:gd name="T26" fmla="*/ 3 w 36"/>
                <a:gd name="T27" fmla="*/ 12 h 42"/>
                <a:gd name="T28" fmla="*/ 4 w 36"/>
                <a:gd name="T29" fmla="*/ 17 h 42"/>
                <a:gd name="T30" fmla="*/ 5 w 36"/>
                <a:gd name="T31" fmla="*/ 20 h 42"/>
                <a:gd name="T32" fmla="*/ 6 w 36"/>
                <a:gd name="T33" fmla="*/ 22 h 42"/>
                <a:gd name="T34" fmla="*/ 6 w 36"/>
                <a:gd name="T35" fmla="*/ 22 h 42"/>
                <a:gd name="T36" fmla="*/ 6 w 36"/>
                <a:gd name="T37" fmla="*/ 22 h 42"/>
                <a:gd name="T38" fmla="*/ 2 w 36"/>
                <a:gd name="T39" fmla="*/ 31 h 42"/>
                <a:gd name="T40" fmla="*/ 0 w 36"/>
                <a:gd name="T41" fmla="*/ 30 h 42"/>
                <a:gd name="T42" fmla="*/ 2 w 36"/>
                <a:gd name="T43" fmla="*/ 41 h 42"/>
                <a:gd name="T44" fmla="*/ 19 w 36"/>
                <a:gd name="T45" fmla="*/ 42 h 42"/>
                <a:gd name="T46" fmla="*/ 18 w 36"/>
                <a:gd name="T47" fmla="*/ 36 h 42"/>
                <a:gd name="T48" fmla="*/ 23 w 36"/>
                <a:gd name="T49" fmla="*/ 37 h 42"/>
                <a:gd name="T50" fmla="*/ 28 w 36"/>
                <a:gd name="T51" fmla="*/ 34 h 42"/>
                <a:gd name="T52" fmla="*/ 29 w 36"/>
                <a:gd name="T53" fmla="*/ 29 h 42"/>
                <a:gd name="T54" fmla="*/ 29 w 36"/>
                <a:gd name="T55" fmla="*/ 24 h 42"/>
                <a:gd name="T56" fmla="*/ 30 w 36"/>
                <a:gd name="T57" fmla="*/ 20 h 42"/>
                <a:gd name="T58" fmla="*/ 33 w 36"/>
                <a:gd name="T59" fmla="*/ 1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6" h="42">
                  <a:moveTo>
                    <a:pt x="33" y="16"/>
                  </a:moveTo>
                  <a:cubicBezTo>
                    <a:pt x="33" y="16"/>
                    <a:pt x="28" y="8"/>
                    <a:pt x="28" y="7"/>
                  </a:cubicBezTo>
                  <a:cubicBezTo>
                    <a:pt x="27" y="6"/>
                    <a:pt x="27" y="5"/>
                    <a:pt x="27" y="5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3" y="6"/>
                    <a:pt x="20" y="5"/>
                    <a:pt x="17" y="4"/>
                  </a:cubicBezTo>
                  <a:cubicBezTo>
                    <a:pt x="15" y="2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13" y="9"/>
                    <a:pt x="13" y="11"/>
                  </a:cubicBezTo>
                  <a:cubicBezTo>
                    <a:pt x="14" y="12"/>
                    <a:pt x="14" y="14"/>
                    <a:pt x="14" y="14"/>
                  </a:cubicBezTo>
                  <a:cubicBezTo>
                    <a:pt x="14" y="16"/>
                    <a:pt x="11" y="14"/>
                    <a:pt x="11" y="14"/>
                  </a:cubicBezTo>
                  <a:cubicBezTo>
                    <a:pt x="11" y="14"/>
                    <a:pt x="9" y="12"/>
                    <a:pt x="6" y="11"/>
                  </a:cubicBezTo>
                  <a:cubicBezTo>
                    <a:pt x="5" y="11"/>
                    <a:pt x="4" y="11"/>
                    <a:pt x="3" y="12"/>
                  </a:cubicBezTo>
                  <a:cubicBezTo>
                    <a:pt x="3" y="13"/>
                    <a:pt x="3" y="15"/>
                    <a:pt x="4" y="17"/>
                  </a:cubicBezTo>
                  <a:cubicBezTo>
                    <a:pt x="4" y="18"/>
                    <a:pt x="4" y="20"/>
                    <a:pt x="5" y="20"/>
                  </a:cubicBezTo>
                  <a:cubicBezTo>
                    <a:pt x="5" y="21"/>
                    <a:pt x="6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6" y="28"/>
                    <a:pt x="2" y="31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20" y="37"/>
                    <a:pt x="21" y="37"/>
                    <a:pt x="23" y="37"/>
                  </a:cubicBezTo>
                  <a:cubicBezTo>
                    <a:pt x="28" y="37"/>
                    <a:pt x="28" y="34"/>
                    <a:pt x="28" y="34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6" y="19"/>
                    <a:pt x="34" y="17"/>
                    <a:pt x="33" y="16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28"/>
            <p:cNvSpPr>
              <a:spLocks/>
            </p:cNvSpPr>
            <p:nvPr/>
          </p:nvSpPr>
          <p:spPr bwMode="gray">
            <a:xfrm>
              <a:off x="8907762" y="4772345"/>
              <a:ext cx="17463" cy="4762"/>
            </a:xfrm>
            <a:custGeom>
              <a:avLst/>
              <a:gdLst>
                <a:gd name="T0" fmla="*/ 0 w 12"/>
                <a:gd name="T1" fmla="*/ 0 h 3"/>
                <a:gd name="T2" fmla="*/ 12 w 12"/>
                <a:gd name="T3" fmla="*/ 3 h 3"/>
                <a:gd name="T4" fmla="*/ 12 w 12"/>
                <a:gd name="T5" fmla="*/ 1 h 3"/>
                <a:gd name="T6" fmla="*/ 0 w 1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3">
                  <a:moveTo>
                    <a:pt x="0" y="0"/>
                  </a:moveTo>
                  <a:cubicBezTo>
                    <a:pt x="1" y="1"/>
                    <a:pt x="4" y="3"/>
                    <a:pt x="12" y="3"/>
                  </a:cubicBezTo>
                  <a:cubicBezTo>
                    <a:pt x="12" y="2"/>
                    <a:pt x="12" y="2"/>
                    <a:pt x="12" y="1"/>
                  </a:cubicBezTo>
                  <a:cubicBezTo>
                    <a:pt x="8" y="1"/>
                    <a:pt x="4" y="1"/>
                    <a:pt x="0" y="0"/>
                  </a:cubicBezTo>
                  <a:close/>
                </a:path>
              </a:pathLst>
            </a:custGeom>
            <a:solidFill>
              <a:srgbClr val="8054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29"/>
            <p:cNvSpPr>
              <a:spLocks/>
            </p:cNvSpPr>
            <p:nvPr/>
          </p:nvSpPr>
          <p:spPr bwMode="gray">
            <a:xfrm>
              <a:off x="8934750" y="4758058"/>
              <a:ext cx="4763" cy="4762"/>
            </a:xfrm>
            <a:custGeom>
              <a:avLst/>
              <a:gdLst>
                <a:gd name="T0" fmla="*/ 4 w 4"/>
                <a:gd name="T1" fmla="*/ 3 h 4"/>
                <a:gd name="T2" fmla="*/ 2 w 4"/>
                <a:gd name="T3" fmla="*/ 0 h 4"/>
                <a:gd name="T4" fmla="*/ 0 w 4"/>
                <a:gd name="T5" fmla="*/ 0 h 4"/>
                <a:gd name="T6" fmla="*/ 4 w 4"/>
                <a:gd name="T7" fmla="*/ 4 h 4"/>
                <a:gd name="T8" fmla="*/ 4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4" y="3"/>
                  </a:moveTo>
                  <a:cubicBezTo>
                    <a:pt x="3" y="2"/>
                    <a:pt x="2" y="1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2" y="2"/>
                    <a:pt x="4" y="4"/>
                  </a:cubicBezTo>
                  <a:lnTo>
                    <a:pt x="4" y="3"/>
                  </a:lnTo>
                  <a:close/>
                </a:path>
              </a:pathLst>
            </a:custGeom>
            <a:solidFill>
              <a:srgbClr val="8054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30"/>
            <p:cNvSpPr>
              <a:spLocks/>
            </p:cNvSpPr>
            <p:nvPr/>
          </p:nvSpPr>
          <p:spPr bwMode="gray">
            <a:xfrm>
              <a:off x="8937925" y="4758058"/>
              <a:ext cx="1588" cy="3175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0 h 3"/>
                <a:gd name="T4" fmla="*/ 2 w 2"/>
                <a:gd name="T5" fmla="*/ 3 h 3"/>
                <a:gd name="T6" fmla="*/ 2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2"/>
                    <a:pt x="2" y="3"/>
                  </a:cubicBezTo>
                  <a:lnTo>
                    <a:pt x="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31"/>
            <p:cNvSpPr>
              <a:spLocks/>
            </p:cNvSpPr>
            <p:nvPr/>
          </p:nvSpPr>
          <p:spPr bwMode="gray">
            <a:xfrm>
              <a:off x="8934750" y="4739008"/>
              <a:ext cx="4763" cy="3175"/>
            </a:xfrm>
            <a:custGeom>
              <a:avLst/>
              <a:gdLst>
                <a:gd name="T0" fmla="*/ 3 w 3"/>
                <a:gd name="T1" fmla="*/ 1 h 3"/>
                <a:gd name="T2" fmla="*/ 1 w 3"/>
                <a:gd name="T3" fmla="*/ 3 h 3"/>
                <a:gd name="T4" fmla="*/ 0 w 3"/>
                <a:gd name="T5" fmla="*/ 2 h 3"/>
                <a:gd name="T6" fmla="*/ 1 w 3"/>
                <a:gd name="T7" fmla="*/ 0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3" y="2"/>
                    <a:pt x="2" y="3"/>
                    <a:pt x="1" y="3"/>
                  </a:cubicBezTo>
                  <a:cubicBezTo>
                    <a:pt x="1" y="3"/>
                    <a:pt x="0" y="3"/>
                    <a:pt x="0" y="2"/>
                  </a:cubicBezTo>
                  <a:cubicBezTo>
                    <a:pt x="0" y="1"/>
                    <a:pt x="0" y="1"/>
                    <a:pt x="1" y="0"/>
                  </a:cubicBezTo>
                  <a:cubicBezTo>
                    <a:pt x="2" y="0"/>
                    <a:pt x="2" y="1"/>
                    <a:pt x="3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32"/>
            <p:cNvSpPr>
              <a:spLocks/>
            </p:cNvSpPr>
            <p:nvPr/>
          </p:nvSpPr>
          <p:spPr bwMode="gray">
            <a:xfrm>
              <a:off x="8893475" y="4772345"/>
              <a:ext cx="34925" cy="22225"/>
            </a:xfrm>
            <a:custGeom>
              <a:avLst/>
              <a:gdLst>
                <a:gd name="T0" fmla="*/ 0 w 22"/>
                <a:gd name="T1" fmla="*/ 8 h 14"/>
                <a:gd name="T2" fmla="*/ 2 w 22"/>
                <a:gd name="T3" fmla="*/ 0 h 14"/>
                <a:gd name="T4" fmla="*/ 22 w 22"/>
                <a:gd name="T5" fmla="*/ 4 h 14"/>
                <a:gd name="T6" fmla="*/ 22 w 22"/>
                <a:gd name="T7" fmla="*/ 14 h 14"/>
                <a:gd name="T8" fmla="*/ 0 w 22"/>
                <a:gd name="T9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4">
                  <a:moveTo>
                    <a:pt x="0" y="8"/>
                  </a:moveTo>
                  <a:lnTo>
                    <a:pt x="2" y="0"/>
                  </a:lnTo>
                  <a:lnTo>
                    <a:pt x="22" y="4"/>
                  </a:lnTo>
                  <a:lnTo>
                    <a:pt x="22" y="14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33"/>
            <p:cNvSpPr>
              <a:spLocks/>
            </p:cNvSpPr>
            <p:nvPr/>
          </p:nvSpPr>
          <p:spPr bwMode="gray">
            <a:xfrm>
              <a:off x="8855375" y="4777108"/>
              <a:ext cx="103188" cy="166687"/>
            </a:xfrm>
            <a:custGeom>
              <a:avLst/>
              <a:gdLst>
                <a:gd name="T0" fmla="*/ 31 w 74"/>
                <a:gd name="T1" fmla="*/ 4 h 121"/>
                <a:gd name="T2" fmla="*/ 14 w 74"/>
                <a:gd name="T3" fmla="*/ 24 h 121"/>
                <a:gd name="T4" fmla="*/ 0 w 74"/>
                <a:gd name="T5" fmla="*/ 119 h 121"/>
                <a:gd name="T6" fmla="*/ 68 w 74"/>
                <a:gd name="T7" fmla="*/ 115 h 121"/>
                <a:gd name="T8" fmla="*/ 62 w 74"/>
                <a:gd name="T9" fmla="*/ 16 h 121"/>
                <a:gd name="T10" fmla="*/ 31 w 74"/>
                <a:gd name="T11" fmla="*/ 4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121">
                  <a:moveTo>
                    <a:pt x="31" y="4"/>
                  </a:moveTo>
                  <a:cubicBezTo>
                    <a:pt x="17" y="5"/>
                    <a:pt x="14" y="22"/>
                    <a:pt x="14" y="24"/>
                  </a:cubicBezTo>
                  <a:cubicBezTo>
                    <a:pt x="13" y="49"/>
                    <a:pt x="11" y="118"/>
                    <a:pt x="0" y="119"/>
                  </a:cubicBezTo>
                  <a:cubicBezTo>
                    <a:pt x="60" y="119"/>
                    <a:pt x="62" y="121"/>
                    <a:pt x="68" y="115"/>
                  </a:cubicBezTo>
                  <a:cubicBezTo>
                    <a:pt x="74" y="109"/>
                    <a:pt x="62" y="16"/>
                    <a:pt x="62" y="16"/>
                  </a:cubicBezTo>
                  <a:cubicBezTo>
                    <a:pt x="61" y="0"/>
                    <a:pt x="48" y="3"/>
                    <a:pt x="31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34"/>
            <p:cNvSpPr>
              <a:spLocks/>
            </p:cNvSpPr>
            <p:nvPr/>
          </p:nvSpPr>
          <p:spPr bwMode="gray">
            <a:xfrm>
              <a:off x="8855375" y="4780283"/>
              <a:ext cx="69850" cy="160337"/>
            </a:xfrm>
            <a:custGeom>
              <a:avLst/>
              <a:gdLst>
                <a:gd name="T0" fmla="*/ 31 w 50"/>
                <a:gd name="T1" fmla="*/ 1 h 116"/>
                <a:gd name="T2" fmla="*/ 14 w 50"/>
                <a:gd name="T3" fmla="*/ 21 h 116"/>
                <a:gd name="T4" fmla="*/ 0 w 50"/>
                <a:gd name="T5" fmla="*/ 116 h 116"/>
                <a:gd name="T6" fmla="*/ 9 w 50"/>
                <a:gd name="T7" fmla="*/ 116 h 116"/>
                <a:gd name="T8" fmla="*/ 8 w 50"/>
                <a:gd name="T9" fmla="*/ 116 h 116"/>
                <a:gd name="T10" fmla="*/ 22 w 50"/>
                <a:gd name="T11" fmla="*/ 31 h 116"/>
                <a:gd name="T12" fmla="*/ 40 w 50"/>
                <a:gd name="T13" fmla="*/ 2 h 116"/>
                <a:gd name="T14" fmla="*/ 49 w 50"/>
                <a:gd name="T15" fmla="*/ 0 h 116"/>
                <a:gd name="T16" fmla="*/ 31 w 50"/>
                <a:gd name="T17" fmla="*/ 1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" h="116">
                  <a:moveTo>
                    <a:pt x="31" y="1"/>
                  </a:moveTo>
                  <a:cubicBezTo>
                    <a:pt x="17" y="2"/>
                    <a:pt x="14" y="19"/>
                    <a:pt x="14" y="21"/>
                  </a:cubicBezTo>
                  <a:cubicBezTo>
                    <a:pt x="13" y="46"/>
                    <a:pt x="11" y="115"/>
                    <a:pt x="0" y="116"/>
                  </a:cubicBezTo>
                  <a:cubicBezTo>
                    <a:pt x="3" y="116"/>
                    <a:pt x="6" y="116"/>
                    <a:pt x="9" y="116"/>
                  </a:cubicBezTo>
                  <a:cubicBezTo>
                    <a:pt x="8" y="116"/>
                    <a:pt x="8" y="116"/>
                    <a:pt x="8" y="116"/>
                  </a:cubicBezTo>
                  <a:cubicBezTo>
                    <a:pt x="20" y="115"/>
                    <a:pt x="21" y="55"/>
                    <a:pt x="22" y="31"/>
                  </a:cubicBezTo>
                  <a:cubicBezTo>
                    <a:pt x="22" y="29"/>
                    <a:pt x="26" y="3"/>
                    <a:pt x="40" y="2"/>
                  </a:cubicBezTo>
                  <a:cubicBezTo>
                    <a:pt x="43" y="2"/>
                    <a:pt x="50" y="1"/>
                    <a:pt x="49" y="0"/>
                  </a:cubicBezTo>
                  <a:cubicBezTo>
                    <a:pt x="44" y="0"/>
                    <a:pt x="38" y="0"/>
                    <a:pt x="31" y="1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35"/>
            <p:cNvSpPr>
              <a:spLocks/>
            </p:cNvSpPr>
            <p:nvPr/>
          </p:nvSpPr>
          <p:spPr bwMode="gray">
            <a:xfrm>
              <a:off x="8890300" y="4850133"/>
              <a:ext cx="87313" cy="55562"/>
            </a:xfrm>
            <a:custGeom>
              <a:avLst/>
              <a:gdLst>
                <a:gd name="T0" fmla="*/ 63 w 63"/>
                <a:gd name="T1" fmla="*/ 36 h 41"/>
                <a:gd name="T2" fmla="*/ 57 w 63"/>
                <a:gd name="T3" fmla="*/ 41 h 41"/>
                <a:gd name="T4" fmla="*/ 6 w 63"/>
                <a:gd name="T5" fmla="*/ 41 h 41"/>
                <a:gd name="T6" fmla="*/ 0 w 63"/>
                <a:gd name="T7" fmla="*/ 36 h 41"/>
                <a:gd name="T8" fmla="*/ 0 w 63"/>
                <a:gd name="T9" fmla="*/ 6 h 41"/>
                <a:gd name="T10" fmla="*/ 6 w 63"/>
                <a:gd name="T11" fmla="*/ 0 h 41"/>
                <a:gd name="T12" fmla="*/ 57 w 63"/>
                <a:gd name="T13" fmla="*/ 0 h 41"/>
                <a:gd name="T14" fmla="*/ 63 w 63"/>
                <a:gd name="T15" fmla="*/ 6 h 41"/>
                <a:gd name="T16" fmla="*/ 63 w 63"/>
                <a:gd name="T17" fmla="*/ 3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3" h="41">
                  <a:moveTo>
                    <a:pt x="63" y="36"/>
                  </a:moveTo>
                  <a:cubicBezTo>
                    <a:pt x="63" y="39"/>
                    <a:pt x="60" y="41"/>
                    <a:pt x="57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3" y="41"/>
                    <a:pt x="0" y="39"/>
                    <a:pt x="0" y="3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60" y="0"/>
                    <a:pt x="63" y="3"/>
                    <a:pt x="63" y="6"/>
                  </a:cubicBezTo>
                  <a:lnTo>
                    <a:pt x="63" y="36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36"/>
            <p:cNvSpPr>
              <a:spLocks/>
            </p:cNvSpPr>
            <p:nvPr/>
          </p:nvSpPr>
          <p:spPr bwMode="gray">
            <a:xfrm>
              <a:off x="8960150" y="4897758"/>
              <a:ext cx="19050" cy="20637"/>
            </a:xfrm>
            <a:custGeom>
              <a:avLst/>
              <a:gdLst>
                <a:gd name="T0" fmla="*/ 0 w 14"/>
                <a:gd name="T1" fmla="*/ 10 h 15"/>
                <a:gd name="T2" fmla="*/ 0 w 14"/>
                <a:gd name="T3" fmla="*/ 10 h 15"/>
                <a:gd name="T4" fmla="*/ 1 w 14"/>
                <a:gd name="T5" fmla="*/ 12 h 15"/>
                <a:gd name="T6" fmla="*/ 6 w 14"/>
                <a:gd name="T7" fmla="*/ 15 h 15"/>
                <a:gd name="T8" fmla="*/ 8 w 14"/>
                <a:gd name="T9" fmla="*/ 14 h 15"/>
                <a:gd name="T10" fmla="*/ 9 w 14"/>
                <a:gd name="T11" fmla="*/ 13 h 15"/>
                <a:gd name="T12" fmla="*/ 11 w 14"/>
                <a:gd name="T13" fmla="*/ 12 h 15"/>
                <a:gd name="T14" fmla="*/ 11 w 14"/>
                <a:gd name="T15" fmla="*/ 10 h 15"/>
                <a:gd name="T16" fmla="*/ 13 w 14"/>
                <a:gd name="T17" fmla="*/ 9 h 15"/>
                <a:gd name="T18" fmla="*/ 12 w 14"/>
                <a:gd name="T19" fmla="*/ 6 h 15"/>
                <a:gd name="T20" fmla="*/ 11 w 14"/>
                <a:gd name="T21" fmla="*/ 6 h 15"/>
                <a:gd name="T22" fmla="*/ 13 w 14"/>
                <a:gd name="T23" fmla="*/ 5 h 15"/>
                <a:gd name="T24" fmla="*/ 13 w 14"/>
                <a:gd name="T25" fmla="*/ 3 h 15"/>
                <a:gd name="T26" fmla="*/ 8 w 14"/>
                <a:gd name="T27" fmla="*/ 0 h 15"/>
                <a:gd name="T28" fmla="*/ 6 w 14"/>
                <a:gd name="T29" fmla="*/ 0 h 15"/>
                <a:gd name="T30" fmla="*/ 0 w 14"/>
                <a:gd name="T31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" h="15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1" y="12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5"/>
                    <a:pt x="8" y="15"/>
                    <a:pt x="8" y="14"/>
                  </a:cubicBezTo>
                  <a:cubicBezTo>
                    <a:pt x="9" y="14"/>
                    <a:pt x="9" y="13"/>
                    <a:pt x="9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1" y="11"/>
                    <a:pt x="11" y="10"/>
                    <a:pt x="11" y="10"/>
                  </a:cubicBezTo>
                  <a:cubicBezTo>
                    <a:pt x="11" y="10"/>
                    <a:pt x="12" y="10"/>
                    <a:pt x="13" y="9"/>
                  </a:cubicBezTo>
                  <a:cubicBezTo>
                    <a:pt x="13" y="8"/>
                    <a:pt x="13" y="7"/>
                    <a:pt x="1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3" y="6"/>
                    <a:pt x="13" y="5"/>
                  </a:cubicBezTo>
                  <a:cubicBezTo>
                    <a:pt x="14" y="4"/>
                    <a:pt x="14" y="3"/>
                    <a:pt x="13" y="3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2" y="2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37"/>
            <p:cNvSpPr>
              <a:spLocks/>
            </p:cNvSpPr>
            <p:nvPr/>
          </p:nvSpPr>
          <p:spPr bwMode="gray">
            <a:xfrm>
              <a:off x="8960150" y="4892995"/>
              <a:ext cx="15875" cy="6350"/>
            </a:xfrm>
            <a:custGeom>
              <a:avLst/>
              <a:gdLst>
                <a:gd name="T0" fmla="*/ 0 w 11"/>
                <a:gd name="T1" fmla="*/ 2 h 4"/>
                <a:gd name="T2" fmla="*/ 2 w 11"/>
                <a:gd name="T3" fmla="*/ 0 h 4"/>
                <a:gd name="T4" fmla="*/ 10 w 11"/>
                <a:gd name="T5" fmla="*/ 0 h 4"/>
                <a:gd name="T6" fmla="*/ 11 w 11"/>
                <a:gd name="T7" fmla="*/ 2 h 4"/>
                <a:gd name="T8" fmla="*/ 11 w 11"/>
                <a:gd name="T9" fmla="*/ 2 h 4"/>
                <a:gd name="T10" fmla="*/ 10 w 11"/>
                <a:gd name="T11" fmla="*/ 4 h 4"/>
                <a:gd name="T12" fmla="*/ 2 w 11"/>
                <a:gd name="T13" fmla="*/ 4 h 4"/>
                <a:gd name="T14" fmla="*/ 0 w 11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4"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1" y="1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0" y="4"/>
                    <a:pt x="10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38"/>
            <p:cNvSpPr>
              <a:spLocks/>
            </p:cNvSpPr>
            <p:nvPr/>
          </p:nvSpPr>
          <p:spPr bwMode="gray">
            <a:xfrm>
              <a:off x="8893475" y="4797745"/>
              <a:ext cx="77788" cy="115887"/>
            </a:xfrm>
            <a:custGeom>
              <a:avLst/>
              <a:gdLst>
                <a:gd name="T0" fmla="*/ 48 w 57"/>
                <a:gd name="T1" fmla="*/ 84 h 84"/>
                <a:gd name="T2" fmla="*/ 42 w 57"/>
                <a:gd name="T3" fmla="*/ 82 h 84"/>
                <a:gd name="T4" fmla="*/ 18 w 57"/>
                <a:gd name="T5" fmla="*/ 59 h 84"/>
                <a:gd name="T6" fmla="*/ 1 w 57"/>
                <a:gd name="T7" fmla="*/ 11 h 84"/>
                <a:gd name="T8" fmla="*/ 6 w 57"/>
                <a:gd name="T9" fmla="*/ 1 h 84"/>
                <a:gd name="T10" fmla="*/ 16 w 57"/>
                <a:gd name="T11" fmla="*/ 6 h 84"/>
                <a:gd name="T12" fmla="*/ 32 w 57"/>
                <a:gd name="T13" fmla="*/ 50 h 84"/>
                <a:gd name="T14" fmla="*/ 53 w 57"/>
                <a:gd name="T15" fmla="*/ 70 h 84"/>
                <a:gd name="T16" fmla="*/ 54 w 57"/>
                <a:gd name="T17" fmla="*/ 81 h 84"/>
                <a:gd name="T18" fmla="*/ 48 w 57"/>
                <a:gd name="T1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84">
                  <a:moveTo>
                    <a:pt x="48" y="84"/>
                  </a:moveTo>
                  <a:cubicBezTo>
                    <a:pt x="46" y="84"/>
                    <a:pt x="44" y="83"/>
                    <a:pt x="42" y="82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7"/>
                    <a:pt x="2" y="2"/>
                    <a:pt x="6" y="1"/>
                  </a:cubicBezTo>
                  <a:cubicBezTo>
                    <a:pt x="10" y="0"/>
                    <a:pt x="15" y="2"/>
                    <a:pt x="16" y="6"/>
                  </a:cubicBezTo>
                  <a:cubicBezTo>
                    <a:pt x="32" y="50"/>
                    <a:pt x="32" y="50"/>
                    <a:pt x="32" y="50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57" y="73"/>
                    <a:pt x="57" y="78"/>
                    <a:pt x="54" y="81"/>
                  </a:cubicBezTo>
                  <a:cubicBezTo>
                    <a:pt x="52" y="83"/>
                    <a:pt x="50" y="84"/>
                    <a:pt x="48" y="8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39"/>
            <p:cNvSpPr>
              <a:spLocks/>
            </p:cNvSpPr>
            <p:nvPr/>
          </p:nvSpPr>
          <p:spPr bwMode="gray">
            <a:xfrm>
              <a:off x="8893475" y="4799333"/>
              <a:ext cx="69850" cy="114300"/>
            </a:xfrm>
            <a:custGeom>
              <a:avLst/>
              <a:gdLst>
                <a:gd name="T0" fmla="*/ 48 w 51"/>
                <a:gd name="T1" fmla="*/ 76 h 82"/>
                <a:gd name="T2" fmla="*/ 23 w 51"/>
                <a:gd name="T3" fmla="*/ 53 h 82"/>
                <a:gd name="T4" fmla="*/ 5 w 51"/>
                <a:gd name="T5" fmla="*/ 2 h 82"/>
                <a:gd name="T6" fmla="*/ 4 w 51"/>
                <a:gd name="T7" fmla="*/ 0 h 82"/>
                <a:gd name="T8" fmla="*/ 1 w 51"/>
                <a:gd name="T9" fmla="*/ 9 h 82"/>
                <a:gd name="T10" fmla="*/ 18 w 51"/>
                <a:gd name="T11" fmla="*/ 57 h 82"/>
                <a:gd name="T12" fmla="*/ 42 w 51"/>
                <a:gd name="T13" fmla="*/ 80 h 82"/>
                <a:gd name="T14" fmla="*/ 48 w 51"/>
                <a:gd name="T15" fmla="*/ 82 h 82"/>
                <a:gd name="T16" fmla="*/ 51 w 51"/>
                <a:gd name="T17" fmla="*/ 81 h 82"/>
                <a:gd name="T18" fmla="*/ 48 w 51"/>
                <a:gd name="T19" fmla="*/ 76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82">
                  <a:moveTo>
                    <a:pt x="48" y="76"/>
                  </a:moveTo>
                  <a:cubicBezTo>
                    <a:pt x="23" y="53"/>
                    <a:pt x="23" y="53"/>
                    <a:pt x="23" y="53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1"/>
                    <a:pt x="5" y="1"/>
                    <a:pt x="4" y="0"/>
                  </a:cubicBezTo>
                  <a:cubicBezTo>
                    <a:pt x="1" y="2"/>
                    <a:pt x="0" y="6"/>
                    <a:pt x="1" y="9"/>
                  </a:cubicBezTo>
                  <a:cubicBezTo>
                    <a:pt x="18" y="57"/>
                    <a:pt x="18" y="57"/>
                    <a:pt x="18" y="57"/>
                  </a:cubicBezTo>
                  <a:cubicBezTo>
                    <a:pt x="42" y="80"/>
                    <a:pt x="42" y="80"/>
                    <a:pt x="42" y="80"/>
                  </a:cubicBezTo>
                  <a:cubicBezTo>
                    <a:pt x="44" y="81"/>
                    <a:pt x="46" y="82"/>
                    <a:pt x="48" y="82"/>
                  </a:cubicBezTo>
                  <a:cubicBezTo>
                    <a:pt x="49" y="82"/>
                    <a:pt x="50" y="82"/>
                    <a:pt x="51" y="81"/>
                  </a:cubicBezTo>
                  <a:cubicBezTo>
                    <a:pt x="51" y="79"/>
                    <a:pt x="50" y="78"/>
                    <a:pt x="48" y="76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40"/>
            <p:cNvSpPr>
              <a:spLocks/>
            </p:cNvSpPr>
            <p:nvPr/>
          </p:nvSpPr>
          <p:spPr bwMode="gray">
            <a:xfrm>
              <a:off x="8869662" y="4696145"/>
              <a:ext cx="73025" cy="73025"/>
            </a:xfrm>
            <a:custGeom>
              <a:avLst/>
              <a:gdLst>
                <a:gd name="T0" fmla="*/ 49 w 53"/>
                <a:gd name="T1" fmla="*/ 11 h 53"/>
                <a:gd name="T2" fmla="*/ 42 w 53"/>
                <a:gd name="T3" fmla="*/ 6 h 53"/>
                <a:gd name="T4" fmla="*/ 40 w 53"/>
                <a:gd name="T5" fmla="*/ 6 h 53"/>
                <a:gd name="T6" fmla="*/ 33 w 53"/>
                <a:gd name="T7" fmla="*/ 1 h 53"/>
                <a:gd name="T8" fmla="*/ 29 w 53"/>
                <a:gd name="T9" fmla="*/ 3 h 53"/>
                <a:gd name="T10" fmla="*/ 23 w 53"/>
                <a:gd name="T11" fmla="*/ 0 h 53"/>
                <a:gd name="T12" fmla="*/ 15 w 53"/>
                <a:gd name="T13" fmla="*/ 4 h 53"/>
                <a:gd name="T14" fmla="*/ 14 w 53"/>
                <a:gd name="T15" fmla="*/ 4 h 53"/>
                <a:gd name="T16" fmla="*/ 6 w 53"/>
                <a:gd name="T17" fmla="*/ 12 h 53"/>
                <a:gd name="T18" fmla="*/ 6 w 53"/>
                <a:gd name="T19" fmla="*/ 13 h 53"/>
                <a:gd name="T20" fmla="*/ 0 w 53"/>
                <a:gd name="T21" fmla="*/ 21 h 53"/>
                <a:gd name="T22" fmla="*/ 1 w 53"/>
                <a:gd name="T23" fmla="*/ 25 h 53"/>
                <a:gd name="T24" fmla="*/ 0 w 53"/>
                <a:gd name="T25" fmla="*/ 30 h 53"/>
                <a:gd name="T26" fmla="*/ 4 w 53"/>
                <a:gd name="T27" fmla="*/ 37 h 53"/>
                <a:gd name="T28" fmla="*/ 4 w 53"/>
                <a:gd name="T29" fmla="*/ 38 h 53"/>
                <a:gd name="T30" fmla="*/ 3 w 53"/>
                <a:gd name="T31" fmla="*/ 39 h 53"/>
                <a:gd name="T32" fmla="*/ 11 w 53"/>
                <a:gd name="T33" fmla="*/ 48 h 53"/>
                <a:gd name="T34" fmla="*/ 11 w 53"/>
                <a:gd name="T35" fmla="*/ 48 h 53"/>
                <a:gd name="T36" fmla="*/ 16 w 53"/>
                <a:gd name="T37" fmla="*/ 52 h 53"/>
                <a:gd name="T38" fmla="*/ 19 w 53"/>
                <a:gd name="T39" fmla="*/ 52 h 53"/>
                <a:gd name="T40" fmla="*/ 22 w 53"/>
                <a:gd name="T41" fmla="*/ 53 h 53"/>
                <a:gd name="T42" fmla="*/ 22 w 53"/>
                <a:gd name="T43" fmla="*/ 53 h 53"/>
                <a:gd name="T44" fmla="*/ 22 w 53"/>
                <a:gd name="T45" fmla="*/ 53 h 53"/>
                <a:gd name="T46" fmla="*/ 26 w 53"/>
                <a:gd name="T47" fmla="*/ 50 h 53"/>
                <a:gd name="T48" fmla="*/ 31 w 53"/>
                <a:gd name="T49" fmla="*/ 49 h 53"/>
                <a:gd name="T50" fmla="*/ 31 w 53"/>
                <a:gd name="T51" fmla="*/ 40 h 53"/>
                <a:gd name="T52" fmla="*/ 38 w 53"/>
                <a:gd name="T53" fmla="*/ 39 h 53"/>
                <a:gd name="T54" fmla="*/ 38 w 53"/>
                <a:gd name="T55" fmla="*/ 31 h 53"/>
                <a:gd name="T56" fmla="*/ 43 w 53"/>
                <a:gd name="T57" fmla="*/ 30 h 53"/>
                <a:gd name="T58" fmla="*/ 45 w 53"/>
                <a:gd name="T59" fmla="*/ 26 h 53"/>
                <a:gd name="T60" fmla="*/ 49 w 53"/>
                <a:gd name="T61" fmla="*/ 26 h 53"/>
                <a:gd name="T62" fmla="*/ 49 w 53"/>
                <a:gd name="T63" fmla="*/ 26 h 53"/>
                <a:gd name="T64" fmla="*/ 53 w 53"/>
                <a:gd name="T65" fmla="*/ 17 h 53"/>
                <a:gd name="T66" fmla="*/ 49 w 53"/>
                <a:gd name="T67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3" h="53">
                  <a:moveTo>
                    <a:pt x="49" y="11"/>
                  </a:moveTo>
                  <a:cubicBezTo>
                    <a:pt x="48" y="8"/>
                    <a:pt x="45" y="6"/>
                    <a:pt x="42" y="6"/>
                  </a:cubicBezTo>
                  <a:cubicBezTo>
                    <a:pt x="41" y="6"/>
                    <a:pt x="41" y="6"/>
                    <a:pt x="40" y="6"/>
                  </a:cubicBezTo>
                  <a:cubicBezTo>
                    <a:pt x="39" y="3"/>
                    <a:pt x="36" y="1"/>
                    <a:pt x="33" y="1"/>
                  </a:cubicBezTo>
                  <a:cubicBezTo>
                    <a:pt x="32" y="1"/>
                    <a:pt x="30" y="2"/>
                    <a:pt x="29" y="3"/>
                  </a:cubicBezTo>
                  <a:cubicBezTo>
                    <a:pt x="27" y="1"/>
                    <a:pt x="25" y="0"/>
                    <a:pt x="23" y="0"/>
                  </a:cubicBezTo>
                  <a:cubicBezTo>
                    <a:pt x="19" y="0"/>
                    <a:pt x="16" y="2"/>
                    <a:pt x="15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0" y="4"/>
                    <a:pt x="6" y="8"/>
                    <a:pt x="6" y="12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3" y="14"/>
                    <a:pt x="0" y="17"/>
                    <a:pt x="0" y="21"/>
                  </a:cubicBezTo>
                  <a:cubicBezTo>
                    <a:pt x="0" y="22"/>
                    <a:pt x="1" y="24"/>
                    <a:pt x="1" y="25"/>
                  </a:cubicBezTo>
                  <a:cubicBezTo>
                    <a:pt x="0" y="26"/>
                    <a:pt x="0" y="28"/>
                    <a:pt x="0" y="30"/>
                  </a:cubicBezTo>
                  <a:cubicBezTo>
                    <a:pt x="0" y="33"/>
                    <a:pt x="1" y="36"/>
                    <a:pt x="4" y="37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3" y="38"/>
                    <a:pt x="3" y="39"/>
                    <a:pt x="3" y="39"/>
                  </a:cubicBezTo>
                  <a:cubicBezTo>
                    <a:pt x="3" y="44"/>
                    <a:pt x="7" y="47"/>
                    <a:pt x="11" y="48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50"/>
                    <a:pt x="14" y="52"/>
                    <a:pt x="16" y="52"/>
                  </a:cubicBezTo>
                  <a:cubicBezTo>
                    <a:pt x="17" y="52"/>
                    <a:pt x="18" y="52"/>
                    <a:pt x="19" y="52"/>
                  </a:cubicBezTo>
                  <a:cubicBezTo>
                    <a:pt x="20" y="52"/>
                    <a:pt x="21" y="53"/>
                    <a:pt x="22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4" y="52"/>
                    <a:pt x="25" y="51"/>
                    <a:pt x="26" y="50"/>
                  </a:cubicBezTo>
                  <a:cubicBezTo>
                    <a:pt x="27" y="50"/>
                    <a:pt x="29" y="50"/>
                    <a:pt x="31" y="49"/>
                  </a:cubicBezTo>
                  <a:cubicBezTo>
                    <a:pt x="39" y="46"/>
                    <a:pt x="32" y="45"/>
                    <a:pt x="31" y="40"/>
                  </a:cubicBezTo>
                  <a:cubicBezTo>
                    <a:pt x="31" y="35"/>
                    <a:pt x="36" y="40"/>
                    <a:pt x="38" y="39"/>
                  </a:cubicBezTo>
                  <a:cubicBezTo>
                    <a:pt x="40" y="39"/>
                    <a:pt x="38" y="35"/>
                    <a:pt x="38" y="31"/>
                  </a:cubicBezTo>
                  <a:cubicBezTo>
                    <a:pt x="37" y="27"/>
                    <a:pt x="39" y="30"/>
                    <a:pt x="43" y="30"/>
                  </a:cubicBezTo>
                  <a:cubicBezTo>
                    <a:pt x="46" y="29"/>
                    <a:pt x="46" y="28"/>
                    <a:pt x="45" y="26"/>
                  </a:cubicBezTo>
                  <a:cubicBezTo>
                    <a:pt x="47" y="26"/>
                    <a:pt x="48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52" y="24"/>
                    <a:pt x="53" y="20"/>
                    <a:pt x="53" y="17"/>
                  </a:cubicBezTo>
                  <a:cubicBezTo>
                    <a:pt x="52" y="14"/>
                    <a:pt x="51" y="13"/>
                    <a:pt x="49" y="1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41"/>
            <p:cNvSpPr>
              <a:spLocks/>
            </p:cNvSpPr>
            <p:nvPr/>
          </p:nvSpPr>
          <p:spPr bwMode="gray">
            <a:xfrm>
              <a:off x="8861725" y="4683445"/>
              <a:ext cx="82550" cy="65087"/>
            </a:xfrm>
            <a:custGeom>
              <a:avLst/>
              <a:gdLst>
                <a:gd name="T0" fmla="*/ 60 w 60"/>
                <a:gd name="T1" fmla="*/ 26 h 47"/>
                <a:gd name="T2" fmla="*/ 59 w 60"/>
                <a:gd name="T3" fmla="*/ 21 h 47"/>
                <a:gd name="T4" fmla="*/ 22 w 60"/>
                <a:gd name="T5" fmla="*/ 6 h 47"/>
                <a:gd name="T6" fmla="*/ 6 w 60"/>
                <a:gd name="T7" fmla="*/ 43 h 47"/>
                <a:gd name="T8" fmla="*/ 8 w 60"/>
                <a:gd name="T9" fmla="*/ 47 h 47"/>
                <a:gd name="T10" fmla="*/ 60 w 60"/>
                <a:gd name="T11" fmla="*/ 2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47">
                  <a:moveTo>
                    <a:pt x="60" y="26"/>
                  </a:moveTo>
                  <a:cubicBezTo>
                    <a:pt x="60" y="24"/>
                    <a:pt x="59" y="23"/>
                    <a:pt x="59" y="21"/>
                  </a:cubicBezTo>
                  <a:cubicBezTo>
                    <a:pt x="53" y="7"/>
                    <a:pt x="36" y="0"/>
                    <a:pt x="22" y="6"/>
                  </a:cubicBezTo>
                  <a:cubicBezTo>
                    <a:pt x="7" y="12"/>
                    <a:pt x="0" y="29"/>
                    <a:pt x="6" y="43"/>
                  </a:cubicBezTo>
                  <a:cubicBezTo>
                    <a:pt x="7" y="44"/>
                    <a:pt x="7" y="46"/>
                    <a:pt x="8" y="47"/>
                  </a:cubicBezTo>
                  <a:lnTo>
                    <a:pt x="60" y="26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42"/>
            <p:cNvSpPr>
              <a:spLocks/>
            </p:cNvSpPr>
            <p:nvPr/>
          </p:nvSpPr>
          <p:spPr bwMode="gray">
            <a:xfrm>
              <a:off x="8885537" y="4683445"/>
              <a:ext cx="58738" cy="38100"/>
            </a:xfrm>
            <a:custGeom>
              <a:avLst/>
              <a:gdLst>
                <a:gd name="T0" fmla="*/ 34 w 42"/>
                <a:gd name="T1" fmla="*/ 24 h 28"/>
                <a:gd name="T2" fmla="*/ 35 w 42"/>
                <a:gd name="T3" fmla="*/ 28 h 28"/>
                <a:gd name="T4" fmla="*/ 42 w 42"/>
                <a:gd name="T5" fmla="*/ 26 h 28"/>
                <a:gd name="T6" fmla="*/ 41 w 42"/>
                <a:gd name="T7" fmla="*/ 21 h 28"/>
                <a:gd name="T8" fmla="*/ 4 w 42"/>
                <a:gd name="T9" fmla="*/ 6 h 28"/>
                <a:gd name="T10" fmla="*/ 0 w 42"/>
                <a:gd name="T11" fmla="*/ 8 h 28"/>
                <a:gd name="T12" fmla="*/ 34 w 42"/>
                <a:gd name="T13" fmla="*/ 2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28">
                  <a:moveTo>
                    <a:pt x="34" y="24"/>
                  </a:moveTo>
                  <a:cubicBezTo>
                    <a:pt x="34" y="26"/>
                    <a:pt x="34" y="27"/>
                    <a:pt x="35" y="28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2" y="24"/>
                    <a:pt x="41" y="23"/>
                    <a:pt x="41" y="21"/>
                  </a:cubicBezTo>
                  <a:cubicBezTo>
                    <a:pt x="35" y="7"/>
                    <a:pt x="18" y="0"/>
                    <a:pt x="4" y="6"/>
                  </a:cubicBezTo>
                  <a:cubicBezTo>
                    <a:pt x="2" y="7"/>
                    <a:pt x="1" y="7"/>
                    <a:pt x="0" y="8"/>
                  </a:cubicBezTo>
                  <a:cubicBezTo>
                    <a:pt x="14" y="4"/>
                    <a:pt x="28" y="11"/>
                    <a:pt x="34" y="24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43"/>
            <p:cNvSpPr>
              <a:spLocks/>
            </p:cNvSpPr>
            <p:nvPr/>
          </p:nvSpPr>
          <p:spPr bwMode="gray">
            <a:xfrm>
              <a:off x="8864900" y="4692970"/>
              <a:ext cx="26988" cy="55562"/>
            </a:xfrm>
            <a:custGeom>
              <a:avLst/>
              <a:gdLst>
                <a:gd name="T0" fmla="*/ 20 w 20"/>
                <a:gd name="T1" fmla="*/ 0 h 40"/>
                <a:gd name="T2" fmla="*/ 16 w 20"/>
                <a:gd name="T3" fmla="*/ 1 h 40"/>
                <a:gd name="T4" fmla="*/ 3 w 20"/>
                <a:gd name="T5" fmla="*/ 30 h 40"/>
                <a:gd name="T6" fmla="*/ 3 w 20"/>
                <a:gd name="T7" fmla="*/ 30 h 40"/>
                <a:gd name="T8" fmla="*/ 3 w 20"/>
                <a:gd name="T9" fmla="*/ 31 h 40"/>
                <a:gd name="T10" fmla="*/ 4 w 20"/>
                <a:gd name="T11" fmla="*/ 36 h 40"/>
                <a:gd name="T12" fmla="*/ 6 w 20"/>
                <a:gd name="T13" fmla="*/ 40 h 40"/>
                <a:gd name="T14" fmla="*/ 10 w 20"/>
                <a:gd name="T15" fmla="*/ 38 h 40"/>
                <a:gd name="T16" fmla="*/ 13 w 20"/>
                <a:gd name="T17" fmla="*/ 37 h 40"/>
                <a:gd name="T18" fmla="*/ 11 w 20"/>
                <a:gd name="T19" fmla="*/ 33 h 40"/>
                <a:gd name="T20" fmla="*/ 20 w 20"/>
                <a:gd name="T2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0">
                  <a:moveTo>
                    <a:pt x="20" y="0"/>
                  </a:moveTo>
                  <a:cubicBezTo>
                    <a:pt x="18" y="0"/>
                    <a:pt x="17" y="1"/>
                    <a:pt x="16" y="1"/>
                  </a:cubicBezTo>
                  <a:cubicBezTo>
                    <a:pt x="6" y="7"/>
                    <a:pt x="0" y="19"/>
                    <a:pt x="3" y="30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3" y="33"/>
                    <a:pt x="4" y="34"/>
                    <a:pt x="4" y="36"/>
                  </a:cubicBezTo>
                  <a:cubicBezTo>
                    <a:pt x="5" y="37"/>
                    <a:pt x="6" y="39"/>
                    <a:pt x="6" y="40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36"/>
                    <a:pt x="12" y="34"/>
                    <a:pt x="11" y="33"/>
                  </a:cubicBezTo>
                  <a:cubicBezTo>
                    <a:pt x="6" y="21"/>
                    <a:pt x="10" y="8"/>
                    <a:pt x="20" y="0"/>
                  </a:cubicBez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44"/>
            <p:cNvSpPr>
              <a:spLocks/>
            </p:cNvSpPr>
            <p:nvPr/>
          </p:nvSpPr>
          <p:spPr bwMode="gray">
            <a:xfrm>
              <a:off x="8864900" y="4708845"/>
              <a:ext cx="84138" cy="39687"/>
            </a:xfrm>
            <a:custGeom>
              <a:avLst/>
              <a:gdLst>
                <a:gd name="T0" fmla="*/ 58 w 61"/>
                <a:gd name="T1" fmla="*/ 0 h 29"/>
                <a:gd name="T2" fmla="*/ 1 w 61"/>
                <a:gd name="T3" fmla="*/ 23 h 29"/>
                <a:gd name="T4" fmla="*/ 1 w 61"/>
                <a:gd name="T5" fmla="*/ 27 h 29"/>
                <a:gd name="T6" fmla="*/ 3 w 61"/>
                <a:gd name="T7" fmla="*/ 29 h 29"/>
                <a:gd name="T8" fmla="*/ 61 w 61"/>
                <a:gd name="T9" fmla="*/ 5 h 29"/>
                <a:gd name="T10" fmla="*/ 61 w 61"/>
                <a:gd name="T11" fmla="*/ 2 h 29"/>
                <a:gd name="T12" fmla="*/ 58 w 61"/>
                <a:gd name="T13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29">
                  <a:moveTo>
                    <a:pt x="58" y="0"/>
                  </a:move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0" y="25"/>
                    <a:pt x="1" y="27"/>
                  </a:cubicBezTo>
                  <a:cubicBezTo>
                    <a:pt x="2" y="28"/>
                    <a:pt x="3" y="29"/>
                    <a:pt x="3" y="29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5"/>
                    <a:pt x="61" y="4"/>
                    <a:pt x="61" y="2"/>
                  </a:cubicBezTo>
                  <a:cubicBezTo>
                    <a:pt x="60" y="0"/>
                    <a:pt x="58" y="0"/>
                    <a:pt x="58" y="0"/>
                  </a:cubicBez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45"/>
            <p:cNvSpPr>
              <a:spLocks noEditPoints="1"/>
            </p:cNvSpPr>
            <p:nvPr/>
          </p:nvSpPr>
          <p:spPr bwMode="gray">
            <a:xfrm>
              <a:off x="8693450" y="5112070"/>
              <a:ext cx="246063" cy="301625"/>
            </a:xfrm>
            <a:custGeom>
              <a:avLst/>
              <a:gdLst>
                <a:gd name="T0" fmla="*/ 100 w 178"/>
                <a:gd name="T1" fmla="*/ 161 h 219"/>
                <a:gd name="T2" fmla="*/ 175 w 178"/>
                <a:gd name="T3" fmla="*/ 114 h 219"/>
                <a:gd name="T4" fmla="*/ 176 w 178"/>
                <a:gd name="T5" fmla="*/ 113 h 219"/>
                <a:gd name="T6" fmla="*/ 176 w 178"/>
                <a:gd name="T7" fmla="*/ 113 h 219"/>
                <a:gd name="T8" fmla="*/ 177 w 178"/>
                <a:gd name="T9" fmla="*/ 112 h 219"/>
                <a:gd name="T10" fmla="*/ 177 w 178"/>
                <a:gd name="T11" fmla="*/ 110 h 219"/>
                <a:gd name="T12" fmla="*/ 177 w 178"/>
                <a:gd name="T13" fmla="*/ 109 h 219"/>
                <a:gd name="T14" fmla="*/ 177 w 178"/>
                <a:gd name="T15" fmla="*/ 108 h 219"/>
                <a:gd name="T16" fmla="*/ 176 w 178"/>
                <a:gd name="T17" fmla="*/ 107 h 219"/>
                <a:gd name="T18" fmla="*/ 176 w 178"/>
                <a:gd name="T19" fmla="*/ 107 h 219"/>
                <a:gd name="T20" fmla="*/ 175 w 178"/>
                <a:gd name="T21" fmla="*/ 106 h 219"/>
                <a:gd name="T22" fmla="*/ 174 w 178"/>
                <a:gd name="T23" fmla="*/ 105 h 219"/>
                <a:gd name="T24" fmla="*/ 100 w 178"/>
                <a:gd name="T25" fmla="*/ 58 h 219"/>
                <a:gd name="T26" fmla="*/ 176 w 178"/>
                <a:gd name="T27" fmla="*/ 3 h 219"/>
                <a:gd name="T28" fmla="*/ 89 w 178"/>
                <a:gd name="T29" fmla="*/ 51 h 219"/>
                <a:gd name="T30" fmla="*/ 2 w 178"/>
                <a:gd name="T31" fmla="*/ 3 h 219"/>
                <a:gd name="T32" fmla="*/ 78 w 178"/>
                <a:gd name="T33" fmla="*/ 58 h 219"/>
                <a:gd name="T34" fmla="*/ 3 w 178"/>
                <a:gd name="T35" fmla="*/ 105 h 219"/>
                <a:gd name="T36" fmla="*/ 2 w 178"/>
                <a:gd name="T37" fmla="*/ 106 h 219"/>
                <a:gd name="T38" fmla="*/ 2 w 178"/>
                <a:gd name="T39" fmla="*/ 107 h 219"/>
                <a:gd name="T40" fmla="*/ 2 w 178"/>
                <a:gd name="T41" fmla="*/ 107 h 219"/>
                <a:gd name="T42" fmla="*/ 1 w 178"/>
                <a:gd name="T43" fmla="*/ 108 h 219"/>
                <a:gd name="T44" fmla="*/ 1 w 178"/>
                <a:gd name="T45" fmla="*/ 109 h 219"/>
                <a:gd name="T46" fmla="*/ 1 w 178"/>
                <a:gd name="T47" fmla="*/ 110 h 219"/>
                <a:gd name="T48" fmla="*/ 1 w 178"/>
                <a:gd name="T49" fmla="*/ 112 h 219"/>
                <a:gd name="T50" fmla="*/ 1 w 178"/>
                <a:gd name="T51" fmla="*/ 113 h 219"/>
                <a:gd name="T52" fmla="*/ 2 w 178"/>
                <a:gd name="T53" fmla="*/ 113 h 219"/>
                <a:gd name="T54" fmla="*/ 3 w 178"/>
                <a:gd name="T55" fmla="*/ 114 h 219"/>
                <a:gd name="T56" fmla="*/ 78 w 178"/>
                <a:gd name="T57" fmla="*/ 161 h 219"/>
                <a:gd name="T58" fmla="*/ 2 w 178"/>
                <a:gd name="T59" fmla="*/ 216 h 219"/>
                <a:gd name="T60" fmla="*/ 10 w 178"/>
                <a:gd name="T61" fmla="*/ 218 h 219"/>
                <a:gd name="T62" fmla="*/ 168 w 178"/>
                <a:gd name="T63" fmla="*/ 218 h 219"/>
                <a:gd name="T64" fmla="*/ 176 w 178"/>
                <a:gd name="T65" fmla="*/ 216 h 219"/>
                <a:gd name="T66" fmla="*/ 18 w 178"/>
                <a:gd name="T67" fmla="*/ 110 h 219"/>
                <a:gd name="T68" fmla="*/ 160 w 178"/>
                <a:gd name="T69" fmla="*/ 110 h 219"/>
                <a:gd name="T70" fmla="*/ 18 w 178"/>
                <a:gd name="T71" fmla="*/ 11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78" h="219">
                  <a:moveTo>
                    <a:pt x="174" y="208"/>
                  </a:moveTo>
                  <a:cubicBezTo>
                    <a:pt x="100" y="161"/>
                    <a:pt x="100" y="161"/>
                    <a:pt x="100" y="161"/>
                  </a:cubicBezTo>
                  <a:cubicBezTo>
                    <a:pt x="174" y="115"/>
                    <a:pt x="174" y="115"/>
                    <a:pt x="174" y="115"/>
                  </a:cubicBezTo>
                  <a:cubicBezTo>
                    <a:pt x="175" y="114"/>
                    <a:pt x="175" y="114"/>
                    <a:pt x="175" y="114"/>
                  </a:cubicBezTo>
                  <a:cubicBezTo>
                    <a:pt x="175" y="114"/>
                    <a:pt x="175" y="114"/>
                    <a:pt x="175" y="114"/>
                  </a:cubicBezTo>
                  <a:cubicBezTo>
                    <a:pt x="175" y="114"/>
                    <a:pt x="176" y="114"/>
                    <a:pt x="176" y="113"/>
                  </a:cubicBezTo>
                  <a:cubicBezTo>
                    <a:pt x="176" y="113"/>
                    <a:pt x="176" y="113"/>
                    <a:pt x="176" y="113"/>
                  </a:cubicBezTo>
                  <a:cubicBezTo>
                    <a:pt x="176" y="113"/>
                    <a:pt x="176" y="113"/>
                    <a:pt x="176" y="113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77" y="111"/>
                    <a:pt x="177" y="111"/>
                    <a:pt x="177" y="111"/>
                  </a:cubicBezTo>
                  <a:cubicBezTo>
                    <a:pt x="177" y="110"/>
                    <a:pt x="177" y="110"/>
                    <a:pt x="177" y="110"/>
                  </a:cubicBezTo>
                  <a:cubicBezTo>
                    <a:pt x="177" y="110"/>
                    <a:pt x="177" y="110"/>
                    <a:pt x="177" y="110"/>
                  </a:cubicBezTo>
                  <a:cubicBezTo>
                    <a:pt x="177" y="109"/>
                    <a:pt x="177" y="109"/>
                    <a:pt x="177" y="109"/>
                  </a:cubicBezTo>
                  <a:cubicBezTo>
                    <a:pt x="177" y="109"/>
                    <a:pt x="177" y="109"/>
                    <a:pt x="177" y="109"/>
                  </a:cubicBezTo>
                  <a:cubicBezTo>
                    <a:pt x="177" y="108"/>
                    <a:pt x="177" y="108"/>
                    <a:pt x="177" y="108"/>
                  </a:cubicBezTo>
                  <a:cubicBezTo>
                    <a:pt x="177" y="108"/>
                    <a:pt x="177" y="108"/>
                    <a:pt x="177" y="108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6"/>
                    <a:pt x="176" y="106"/>
                    <a:pt x="176" y="106"/>
                  </a:cubicBezTo>
                  <a:cubicBezTo>
                    <a:pt x="175" y="106"/>
                    <a:pt x="175" y="106"/>
                    <a:pt x="175" y="106"/>
                  </a:cubicBezTo>
                  <a:cubicBezTo>
                    <a:pt x="175" y="105"/>
                    <a:pt x="175" y="105"/>
                    <a:pt x="175" y="105"/>
                  </a:cubicBezTo>
                  <a:cubicBezTo>
                    <a:pt x="174" y="105"/>
                    <a:pt x="174" y="105"/>
                    <a:pt x="174" y="105"/>
                  </a:cubicBezTo>
                  <a:cubicBezTo>
                    <a:pt x="174" y="105"/>
                    <a:pt x="174" y="105"/>
                    <a:pt x="174" y="105"/>
                  </a:cubicBezTo>
                  <a:cubicBezTo>
                    <a:pt x="100" y="58"/>
                    <a:pt x="100" y="58"/>
                    <a:pt x="100" y="58"/>
                  </a:cubicBezTo>
                  <a:cubicBezTo>
                    <a:pt x="174" y="12"/>
                    <a:pt x="174" y="12"/>
                    <a:pt x="174" y="12"/>
                  </a:cubicBezTo>
                  <a:cubicBezTo>
                    <a:pt x="177" y="10"/>
                    <a:pt x="178" y="6"/>
                    <a:pt x="176" y="3"/>
                  </a:cubicBezTo>
                  <a:cubicBezTo>
                    <a:pt x="174" y="1"/>
                    <a:pt x="171" y="0"/>
                    <a:pt x="168" y="2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7" y="0"/>
                    <a:pt x="3" y="1"/>
                    <a:pt x="2" y="3"/>
                  </a:cubicBezTo>
                  <a:cubicBezTo>
                    <a:pt x="0" y="6"/>
                    <a:pt x="1" y="10"/>
                    <a:pt x="4" y="12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4" y="105"/>
                    <a:pt x="4" y="105"/>
                    <a:pt x="4" y="105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11"/>
                    <a:pt x="1" y="111"/>
                    <a:pt x="1" y="111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1" y="113"/>
                    <a:pt x="1" y="113"/>
                    <a:pt x="1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4"/>
                    <a:pt x="2" y="114"/>
                    <a:pt x="3" y="114"/>
                  </a:cubicBezTo>
                  <a:cubicBezTo>
                    <a:pt x="3" y="114"/>
                    <a:pt x="3" y="114"/>
                    <a:pt x="3" y="114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78" y="161"/>
                    <a:pt x="78" y="161"/>
                    <a:pt x="78" y="161"/>
                  </a:cubicBezTo>
                  <a:cubicBezTo>
                    <a:pt x="4" y="208"/>
                    <a:pt x="4" y="208"/>
                    <a:pt x="4" y="208"/>
                  </a:cubicBezTo>
                  <a:cubicBezTo>
                    <a:pt x="1" y="210"/>
                    <a:pt x="0" y="213"/>
                    <a:pt x="2" y="216"/>
                  </a:cubicBezTo>
                  <a:cubicBezTo>
                    <a:pt x="3" y="218"/>
                    <a:pt x="5" y="219"/>
                    <a:pt x="7" y="219"/>
                  </a:cubicBezTo>
                  <a:cubicBezTo>
                    <a:pt x="8" y="219"/>
                    <a:pt x="9" y="219"/>
                    <a:pt x="10" y="218"/>
                  </a:cubicBezTo>
                  <a:cubicBezTo>
                    <a:pt x="89" y="169"/>
                    <a:pt x="89" y="169"/>
                    <a:pt x="89" y="169"/>
                  </a:cubicBezTo>
                  <a:cubicBezTo>
                    <a:pt x="168" y="218"/>
                    <a:pt x="168" y="218"/>
                    <a:pt x="168" y="218"/>
                  </a:cubicBezTo>
                  <a:cubicBezTo>
                    <a:pt x="169" y="219"/>
                    <a:pt x="170" y="219"/>
                    <a:pt x="171" y="219"/>
                  </a:cubicBezTo>
                  <a:cubicBezTo>
                    <a:pt x="173" y="219"/>
                    <a:pt x="175" y="218"/>
                    <a:pt x="176" y="216"/>
                  </a:cubicBezTo>
                  <a:cubicBezTo>
                    <a:pt x="178" y="213"/>
                    <a:pt x="177" y="210"/>
                    <a:pt x="174" y="208"/>
                  </a:cubicBezTo>
                  <a:close/>
                  <a:moveTo>
                    <a:pt x="18" y="110"/>
                  </a:moveTo>
                  <a:cubicBezTo>
                    <a:pt x="89" y="65"/>
                    <a:pt x="89" y="65"/>
                    <a:pt x="89" y="65"/>
                  </a:cubicBezTo>
                  <a:cubicBezTo>
                    <a:pt x="160" y="110"/>
                    <a:pt x="160" y="110"/>
                    <a:pt x="160" y="110"/>
                  </a:cubicBezTo>
                  <a:cubicBezTo>
                    <a:pt x="89" y="154"/>
                    <a:pt x="89" y="154"/>
                    <a:pt x="89" y="154"/>
                  </a:cubicBezTo>
                  <a:lnTo>
                    <a:pt x="18" y="11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46"/>
            <p:cNvSpPr>
              <a:spLocks/>
            </p:cNvSpPr>
            <p:nvPr/>
          </p:nvSpPr>
          <p:spPr bwMode="gray">
            <a:xfrm>
              <a:off x="8642650" y="5386708"/>
              <a:ext cx="346075" cy="112712"/>
            </a:xfrm>
            <a:custGeom>
              <a:avLst/>
              <a:gdLst>
                <a:gd name="T0" fmla="*/ 250 w 250"/>
                <a:gd name="T1" fmla="*/ 72 h 81"/>
                <a:gd name="T2" fmla="*/ 241 w 250"/>
                <a:gd name="T3" fmla="*/ 81 h 81"/>
                <a:gd name="T4" fmla="*/ 9 w 250"/>
                <a:gd name="T5" fmla="*/ 81 h 81"/>
                <a:gd name="T6" fmla="*/ 0 w 250"/>
                <a:gd name="T7" fmla="*/ 72 h 81"/>
                <a:gd name="T8" fmla="*/ 0 w 250"/>
                <a:gd name="T9" fmla="*/ 9 h 81"/>
                <a:gd name="T10" fmla="*/ 9 w 250"/>
                <a:gd name="T11" fmla="*/ 0 h 81"/>
                <a:gd name="T12" fmla="*/ 241 w 250"/>
                <a:gd name="T13" fmla="*/ 0 h 81"/>
                <a:gd name="T14" fmla="*/ 250 w 250"/>
                <a:gd name="T15" fmla="*/ 9 h 81"/>
                <a:gd name="T16" fmla="*/ 250 w 250"/>
                <a:gd name="T17" fmla="*/ 7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81">
                  <a:moveTo>
                    <a:pt x="250" y="72"/>
                  </a:moveTo>
                  <a:cubicBezTo>
                    <a:pt x="250" y="77"/>
                    <a:pt x="246" y="81"/>
                    <a:pt x="241" y="81"/>
                  </a:cubicBezTo>
                  <a:cubicBezTo>
                    <a:pt x="9" y="81"/>
                    <a:pt x="9" y="81"/>
                    <a:pt x="9" y="81"/>
                  </a:cubicBezTo>
                  <a:cubicBezTo>
                    <a:pt x="4" y="81"/>
                    <a:pt x="0" y="77"/>
                    <a:pt x="0" y="72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lnTo>
                    <a:pt x="250" y="7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47"/>
            <p:cNvSpPr>
              <a:spLocks/>
            </p:cNvSpPr>
            <p:nvPr/>
          </p:nvSpPr>
          <p:spPr bwMode="gray">
            <a:xfrm>
              <a:off x="8642650" y="5405758"/>
              <a:ext cx="327025" cy="93662"/>
            </a:xfrm>
            <a:custGeom>
              <a:avLst/>
              <a:gdLst>
                <a:gd name="T0" fmla="*/ 22 w 236"/>
                <a:gd name="T1" fmla="*/ 55 h 68"/>
                <a:gd name="T2" fmla="*/ 14 w 236"/>
                <a:gd name="T3" fmla="*/ 46 h 68"/>
                <a:gd name="T4" fmla="*/ 14 w 236"/>
                <a:gd name="T5" fmla="*/ 0 h 68"/>
                <a:gd name="T6" fmla="*/ 0 w 236"/>
                <a:gd name="T7" fmla="*/ 0 h 68"/>
                <a:gd name="T8" fmla="*/ 0 w 236"/>
                <a:gd name="T9" fmla="*/ 59 h 68"/>
                <a:gd name="T10" fmla="*/ 9 w 236"/>
                <a:gd name="T11" fmla="*/ 68 h 68"/>
                <a:gd name="T12" fmla="*/ 236 w 236"/>
                <a:gd name="T13" fmla="*/ 68 h 68"/>
                <a:gd name="T14" fmla="*/ 236 w 236"/>
                <a:gd name="T15" fmla="*/ 55 h 68"/>
                <a:gd name="T16" fmla="*/ 22 w 236"/>
                <a:gd name="T17" fmla="*/ 55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6" h="68">
                  <a:moveTo>
                    <a:pt x="22" y="55"/>
                  </a:moveTo>
                  <a:cubicBezTo>
                    <a:pt x="17" y="55"/>
                    <a:pt x="14" y="51"/>
                    <a:pt x="14" y="46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64"/>
                    <a:pt x="4" y="68"/>
                    <a:pt x="9" y="68"/>
                  </a:cubicBezTo>
                  <a:cubicBezTo>
                    <a:pt x="236" y="68"/>
                    <a:pt x="236" y="68"/>
                    <a:pt x="236" y="68"/>
                  </a:cubicBezTo>
                  <a:cubicBezTo>
                    <a:pt x="236" y="55"/>
                    <a:pt x="236" y="55"/>
                    <a:pt x="236" y="55"/>
                  </a:cubicBezTo>
                  <a:lnTo>
                    <a:pt x="22" y="55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48"/>
            <p:cNvSpPr>
              <a:spLocks/>
            </p:cNvSpPr>
            <p:nvPr/>
          </p:nvSpPr>
          <p:spPr bwMode="gray">
            <a:xfrm>
              <a:off x="8642650" y="5386708"/>
              <a:ext cx="346075" cy="112712"/>
            </a:xfrm>
            <a:custGeom>
              <a:avLst/>
              <a:gdLst>
                <a:gd name="T0" fmla="*/ 241 w 250"/>
                <a:gd name="T1" fmla="*/ 81 h 81"/>
                <a:gd name="T2" fmla="*/ 236 w 250"/>
                <a:gd name="T3" fmla="*/ 81 h 81"/>
                <a:gd name="T4" fmla="*/ 236 w 250"/>
                <a:gd name="T5" fmla="*/ 22 h 81"/>
                <a:gd name="T6" fmla="*/ 228 w 250"/>
                <a:gd name="T7" fmla="*/ 13 h 81"/>
                <a:gd name="T8" fmla="*/ 0 w 250"/>
                <a:gd name="T9" fmla="*/ 13 h 81"/>
                <a:gd name="T10" fmla="*/ 0 w 250"/>
                <a:gd name="T11" fmla="*/ 9 h 81"/>
                <a:gd name="T12" fmla="*/ 9 w 250"/>
                <a:gd name="T13" fmla="*/ 0 h 81"/>
                <a:gd name="T14" fmla="*/ 241 w 250"/>
                <a:gd name="T15" fmla="*/ 0 h 81"/>
                <a:gd name="T16" fmla="*/ 250 w 250"/>
                <a:gd name="T17" fmla="*/ 9 h 81"/>
                <a:gd name="T18" fmla="*/ 250 w 250"/>
                <a:gd name="T19" fmla="*/ 72 h 81"/>
                <a:gd name="T20" fmla="*/ 241 w 250"/>
                <a:gd name="T21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" h="81">
                  <a:moveTo>
                    <a:pt x="241" y="81"/>
                  </a:moveTo>
                  <a:cubicBezTo>
                    <a:pt x="236" y="81"/>
                    <a:pt x="236" y="81"/>
                    <a:pt x="236" y="81"/>
                  </a:cubicBezTo>
                  <a:cubicBezTo>
                    <a:pt x="236" y="22"/>
                    <a:pt x="236" y="22"/>
                    <a:pt x="236" y="22"/>
                  </a:cubicBezTo>
                  <a:cubicBezTo>
                    <a:pt x="236" y="17"/>
                    <a:pt x="232" y="13"/>
                    <a:pt x="228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cubicBezTo>
                    <a:pt x="250" y="72"/>
                    <a:pt x="250" y="72"/>
                    <a:pt x="250" y="72"/>
                  </a:cubicBezTo>
                  <a:cubicBezTo>
                    <a:pt x="250" y="77"/>
                    <a:pt x="246" y="81"/>
                    <a:pt x="241" y="8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Oval 49"/>
            <p:cNvSpPr>
              <a:spLocks noChangeArrowheads="1"/>
            </p:cNvSpPr>
            <p:nvPr/>
          </p:nvSpPr>
          <p:spPr bwMode="gray">
            <a:xfrm>
              <a:off x="8674400" y="5454970"/>
              <a:ext cx="87313" cy="873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Oval 50"/>
            <p:cNvSpPr>
              <a:spLocks noChangeArrowheads="1"/>
            </p:cNvSpPr>
            <p:nvPr/>
          </p:nvSpPr>
          <p:spPr bwMode="gray">
            <a:xfrm>
              <a:off x="8693450" y="5474020"/>
              <a:ext cx="49213" cy="49212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51"/>
            <p:cNvSpPr>
              <a:spLocks/>
            </p:cNvSpPr>
            <p:nvPr/>
          </p:nvSpPr>
          <p:spPr bwMode="gray">
            <a:xfrm>
              <a:off x="8693450" y="5480370"/>
              <a:ext cx="42863" cy="42862"/>
            </a:xfrm>
            <a:custGeom>
              <a:avLst/>
              <a:gdLst>
                <a:gd name="T0" fmla="*/ 18 w 31"/>
                <a:gd name="T1" fmla="*/ 31 h 31"/>
                <a:gd name="T2" fmla="*/ 31 w 31"/>
                <a:gd name="T3" fmla="*/ 26 h 31"/>
                <a:gd name="T4" fmla="*/ 6 w 31"/>
                <a:gd name="T5" fmla="*/ 0 h 31"/>
                <a:gd name="T6" fmla="*/ 0 w 31"/>
                <a:gd name="T7" fmla="*/ 13 h 31"/>
                <a:gd name="T8" fmla="*/ 18 w 31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18" y="31"/>
                  </a:moveTo>
                  <a:cubicBezTo>
                    <a:pt x="23" y="31"/>
                    <a:pt x="28" y="29"/>
                    <a:pt x="31" y="2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4"/>
                    <a:pt x="0" y="8"/>
                    <a:pt x="0" y="13"/>
                  </a:cubicBezTo>
                  <a:cubicBezTo>
                    <a:pt x="0" y="23"/>
                    <a:pt x="8" y="31"/>
                    <a:pt x="18" y="3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Oval 52"/>
            <p:cNvSpPr>
              <a:spLocks noChangeArrowheads="1"/>
            </p:cNvSpPr>
            <p:nvPr/>
          </p:nvSpPr>
          <p:spPr bwMode="gray">
            <a:xfrm>
              <a:off x="8869662" y="5454970"/>
              <a:ext cx="87313" cy="873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Oval 53"/>
            <p:cNvSpPr>
              <a:spLocks noChangeArrowheads="1"/>
            </p:cNvSpPr>
            <p:nvPr/>
          </p:nvSpPr>
          <p:spPr bwMode="gray">
            <a:xfrm>
              <a:off x="8887125" y="5474020"/>
              <a:ext cx="50800" cy="49212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54"/>
            <p:cNvSpPr>
              <a:spLocks/>
            </p:cNvSpPr>
            <p:nvPr/>
          </p:nvSpPr>
          <p:spPr bwMode="gray">
            <a:xfrm>
              <a:off x="8887125" y="5480370"/>
              <a:ext cx="42863" cy="42862"/>
            </a:xfrm>
            <a:custGeom>
              <a:avLst/>
              <a:gdLst>
                <a:gd name="T0" fmla="*/ 18 w 31"/>
                <a:gd name="T1" fmla="*/ 31 h 31"/>
                <a:gd name="T2" fmla="*/ 31 w 31"/>
                <a:gd name="T3" fmla="*/ 26 h 31"/>
                <a:gd name="T4" fmla="*/ 6 w 31"/>
                <a:gd name="T5" fmla="*/ 0 h 31"/>
                <a:gd name="T6" fmla="*/ 0 w 31"/>
                <a:gd name="T7" fmla="*/ 13 h 31"/>
                <a:gd name="T8" fmla="*/ 18 w 31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18" y="31"/>
                  </a:moveTo>
                  <a:cubicBezTo>
                    <a:pt x="23" y="31"/>
                    <a:pt x="28" y="29"/>
                    <a:pt x="31" y="2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4"/>
                    <a:pt x="0" y="8"/>
                    <a:pt x="0" y="13"/>
                  </a:cubicBezTo>
                  <a:cubicBezTo>
                    <a:pt x="0" y="23"/>
                    <a:pt x="8" y="31"/>
                    <a:pt x="18" y="3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55"/>
            <p:cNvSpPr>
              <a:spLocks noEditPoints="1"/>
            </p:cNvSpPr>
            <p:nvPr/>
          </p:nvSpPr>
          <p:spPr bwMode="gray">
            <a:xfrm>
              <a:off x="8631537" y="4907283"/>
              <a:ext cx="368300" cy="223837"/>
            </a:xfrm>
            <a:custGeom>
              <a:avLst/>
              <a:gdLst>
                <a:gd name="T0" fmla="*/ 258 w 266"/>
                <a:gd name="T1" fmla="*/ 0 h 163"/>
                <a:gd name="T2" fmla="*/ 8 w 266"/>
                <a:gd name="T3" fmla="*/ 0 h 163"/>
                <a:gd name="T4" fmla="*/ 0 w 266"/>
                <a:gd name="T5" fmla="*/ 8 h 163"/>
                <a:gd name="T6" fmla="*/ 8 w 266"/>
                <a:gd name="T7" fmla="*/ 16 h 163"/>
                <a:gd name="T8" fmla="*/ 23 w 266"/>
                <a:gd name="T9" fmla="*/ 16 h 163"/>
                <a:gd name="T10" fmla="*/ 23 w 266"/>
                <a:gd name="T11" fmla="*/ 102 h 163"/>
                <a:gd name="T12" fmla="*/ 17 w 266"/>
                <a:gd name="T13" fmla="*/ 102 h 163"/>
                <a:gd name="T14" fmla="*/ 8 w 266"/>
                <a:gd name="T15" fmla="*/ 111 h 163"/>
                <a:gd name="T16" fmla="*/ 8 w 266"/>
                <a:gd name="T17" fmla="*/ 155 h 163"/>
                <a:gd name="T18" fmla="*/ 17 w 266"/>
                <a:gd name="T19" fmla="*/ 163 h 163"/>
                <a:gd name="T20" fmla="*/ 249 w 266"/>
                <a:gd name="T21" fmla="*/ 163 h 163"/>
                <a:gd name="T22" fmla="*/ 258 w 266"/>
                <a:gd name="T23" fmla="*/ 155 h 163"/>
                <a:gd name="T24" fmla="*/ 258 w 266"/>
                <a:gd name="T25" fmla="*/ 111 h 163"/>
                <a:gd name="T26" fmla="*/ 249 w 266"/>
                <a:gd name="T27" fmla="*/ 102 h 163"/>
                <a:gd name="T28" fmla="*/ 243 w 266"/>
                <a:gd name="T29" fmla="*/ 102 h 163"/>
                <a:gd name="T30" fmla="*/ 243 w 266"/>
                <a:gd name="T31" fmla="*/ 16 h 163"/>
                <a:gd name="T32" fmla="*/ 258 w 266"/>
                <a:gd name="T33" fmla="*/ 16 h 163"/>
                <a:gd name="T34" fmla="*/ 266 w 266"/>
                <a:gd name="T35" fmla="*/ 8 h 163"/>
                <a:gd name="T36" fmla="*/ 258 w 266"/>
                <a:gd name="T37" fmla="*/ 0 h 163"/>
                <a:gd name="T38" fmla="*/ 189 w 266"/>
                <a:gd name="T39" fmla="*/ 16 h 163"/>
                <a:gd name="T40" fmla="*/ 189 w 266"/>
                <a:gd name="T41" fmla="*/ 102 h 163"/>
                <a:gd name="T42" fmla="*/ 160 w 266"/>
                <a:gd name="T43" fmla="*/ 102 h 163"/>
                <a:gd name="T44" fmla="*/ 160 w 266"/>
                <a:gd name="T45" fmla="*/ 16 h 163"/>
                <a:gd name="T46" fmla="*/ 189 w 266"/>
                <a:gd name="T47" fmla="*/ 16 h 163"/>
                <a:gd name="T48" fmla="*/ 148 w 266"/>
                <a:gd name="T49" fmla="*/ 16 h 163"/>
                <a:gd name="T50" fmla="*/ 148 w 266"/>
                <a:gd name="T51" fmla="*/ 102 h 163"/>
                <a:gd name="T52" fmla="*/ 118 w 266"/>
                <a:gd name="T53" fmla="*/ 102 h 163"/>
                <a:gd name="T54" fmla="*/ 118 w 266"/>
                <a:gd name="T55" fmla="*/ 16 h 163"/>
                <a:gd name="T56" fmla="*/ 148 w 266"/>
                <a:gd name="T57" fmla="*/ 16 h 163"/>
                <a:gd name="T58" fmla="*/ 106 w 266"/>
                <a:gd name="T59" fmla="*/ 16 h 163"/>
                <a:gd name="T60" fmla="*/ 106 w 266"/>
                <a:gd name="T61" fmla="*/ 102 h 163"/>
                <a:gd name="T62" fmla="*/ 77 w 266"/>
                <a:gd name="T63" fmla="*/ 102 h 163"/>
                <a:gd name="T64" fmla="*/ 77 w 266"/>
                <a:gd name="T65" fmla="*/ 16 h 163"/>
                <a:gd name="T66" fmla="*/ 106 w 266"/>
                <a:gd name="T67" fmla="*/ 16 h 163"/>
                <a:gd name="T68" fmla="*/ 35 w 266"/>
                <a:gd name="T69" fmla="*/ 16 h 163"/>
                <a:gd name="T70" fmla="*/ 65 w 266"/>
                <a:gd name="T71" fmla="*/ 16 h 163"/>
                <a:gd name="T72" fmla="*/ 65 w 266"/>
                <a:gd name="T73" fmla="*/ 102 h 163"/>
                <a:gd name="T74" fmla="*/ 35 w 266"/>
                <a:gd name="T75" fmla="*/ 102 h 163"/>
                <a:gd name="T76" fmla="*/ 35 w 266"/>
                <a:gd name="T77" fmla="*/ 16 h 163"/>
                <a:gd name="T78" fmla="*/ 201 w 266"/>
                <a:gd name="T79" fmla="*/ 102 h 163"/>
                <a:gd name="T80" fmla="*/ 201 w 266"/>
                <a:gd name="T81" fmla="*/ 16 h 163"/>
                <a:gd name="T82" fmla="*/ 231 w 266"/>
                <a:gd name="T83" fmla="*/ 16 h 163"/>
                <a:gd name="T84" fmla="*/ 231 w 266"/>
                <a:gd name="T85" fmla="*/ 102 h 163"/>
                <a:gd name="T86" fmla="*/ 201 w 266"/>
                <a:gd name="T87" fmla="*/ 102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66" h="163">
                  <a:moveTo>
                    <a:pt x="25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3"/>
                    <a:pt x="4" y="16"/>
                    <a:pt x="8" y="16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3" y="102"/>
                    <a:pt x="23" y="102"/>
                    <a:pt x="23" y="102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2" y="102"/>
                    <a:pt x="8" y="106"/>
                    <a:pt x="8" y="111"/>
                  </a:cubicBezTo>
                  <a:cubicBezTo>
                    <a:pt x="8" y="155"/>
                    <a:pt x="8" y="155"/>
                    <a:pt x="8" y="155"/>
                  </a:cubicBezTo>
                  <a:cubicBezTo>
                    <a:pt x="8" y="160"/>
                    <a:pt x="12" y="163"/>
                    <a:pt x="17" y="163"/>
                  </a:cubicBezTo>
                  <a:cubicBezTo>
                    <a:pt x="249" y="163"/>
                    <a:pt x="249" y="163"/>
                    <a:pt x="249" y="163"/>
                  </a:cubicBezTo>
                  <a:cubicBezTo>
                    <a:pt x="254" y="163"/>
                    <a:pt x="258" y="160"/>
                    <a:pt x="258" y="155"/>
                  </a:cubicBezTo>
                  <a:cubicBezTo>
                    <a:pt x="258" y="111"/>
                    <a:pt x="258" y="111"/>
                    <a:pt x="258" y="111"/>
                  </a:cubicBezTo>
                  <a:cubicBezTo>
                    <a:pt x="258" y="106"/>
                    <a:pt x="254" y="102"/>
                    <a:pt x="249" y="102"/>
                  </a:cubicBezTo>
                  <a:cubicBezTo>
                    <a:pt x="243" y="102"/>
                    <a:pt x="243" y="102"/>
                    <a:pt x="243" y="102"/>
                  </a:cubicBezTo>
                  <a:cubicBezTo>
                    <a:pt x="243" y="16"/>
                    <a:pt x="243" y="16"/>
                    <a:pt x="243" y="16"/>
                  </a:cubicBezTo>
                  <a:cubicBezTo>
                    <a:pt x="258" y="16"/>
                    <a:pt x="258" y="16"/>
                    <a:pt x="258" y="16"/>
                  </a:cubicBezTo>
                  <a:cubicBezTo>
                    <a:pt x="262" y="16"/>
                    <a:pt x="266" y="13"/>
                    <a:pt x="266" y="8"/>
                  </a:cubicBezTo>
                  <a:cubicBezTo>
                    <a:pt x="266" y="4"/>
                    <a:pt x="262" y="0"/>
                    <a:pt x="258" y="0"/>
                  </a:cubicBezTo>
                  <a:close/>
                  <a:moveTo>
                    <a:pt x="189" y="16"/>
                  </a:moveTo>
                  <a:cubicBezTo>
                    <a:pt x="189" y="102"/>
                    <a:pt x="189" y="102"/>
                    <a:pt x="189" y="102"/>
                  </a:cubicBezTo>
                  <a:cubicBezTo>
                    <a:pt x="160" y="102"/>
                    <a:pt x="160" y="102"/>
                    <a:pt x="160" y="102"/>
                  </a:cubicBezTo>
                  <a:cubicBezTo>
                    <a:pt x="160" y="16"/>
                    <a:pt x="160" y="16"/>
                    <a:pt x="160" y="16"/>
                  </a:cubicBezTo>
                  <a:lnTo>
                    <a:pt x="189" y="16"/>
                  </a:lnTo>
                  <a:close/>
                  <a:moveTo>
                    <a:pt x="148" y="16"/>
                  </a:moveTo>
                  <a:cubicBezTo>
                    <a:pt x="148" y="102"/>
                    <a:pt x="148" y="102"/>
                    <a:pt x="148" y="102"/>
                  </a:cubicBezTo>
                  <a:cubicBezTo>
                    <a:pt x="118" y="102"/>
                    <a:pt x="118" y="102"/>
                    <a:pt x="118" y="102"/>
                  </a:cubicBezTo>
                  <a:cubicBezTo>
                    <a:pt x="118" y="16"/>
                    <a:pt x="118" y="16"/>
                    <a:pt x="118" y="16"/>
                  </a:cubicBezTo>
                  <a:lnTo>
                    <a:pt x="148" y="16"/>
                  </a:lnTo>
                  <a:close/>
                  <a:moveTo>
                    <a:pt x="106" y="16"/>
                  </a:moveTo>
                  <a:cubicBezTo>
                    <a:pt x="106" y="102"/>
                    <a:pt x="106" y="102"/>
                    <a:pt x="106" y="102"/>
                  </a:cubicBezTo>
                  <a:cubicBezTo>
                    <a:pt x="77" y="102"/>
                    <a:pt x="77" y="102"/>
                    <a:pt x="77" y="102"/>
                  </a:cubicBezTo>
                  <a:cubicBezTo>
                    <a:pt x="77" y="16"/>
                    <a:pt x="77" y="16"/>
                    <a:pt x="77" y="16"/>
                  </a:cubicBezTo>
                  <a:lnTo>
                    <a:pt x="106" y="16"/>
                  </a:lnTo>
                  <a:close/>
                  <a:moveTo>
                    <a:pt x="35" y="16"/>
                  </a:moveTo>
                  <a:cubicBezTo>
                    <a:pt x="65" y="16"/>
                    <a:pt x="65" y="16"/>
                    <a:pt x="65" y="16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35" y="102"/>
                    <a:pt x="35" y="102"/>
                    <a:pt x="35" y="102"/>
                  </a:cubicBezTo>
                  <a:lnTo>
                    <a:pt x="35" y="16"/>
                  </a:lnTo>
                  <a:close/>
                  <a:moveTo>
                    <a:pt x="201" y="102"/>
                  </a:moveTo>
                  <a:cubicBezTo>
                    <a:pt x="201" y="16"/>
                    <a:pt x="201" y="16"/>
                    <a:pt x="201" y="16"/>
                  </a:cubicBezTo>
                  <a:cubicBezTo>
                    <a:pt x="231" y="16"/>
                    <a:pt x="231" y="16"/>
                    <a:pt x="231" y="16"/>
                  </a:cubicBezTo>
                  <a:cubicBezTo>
                    <a:pt x="231" y="102"/>
                    <a:pt x="231" y="102"/>
                    <a:pt x="231" y="102"/>
                  </a:cubicBezTo>
                  <a:lnTo>
                    <a:pt x="201" y="10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56"/>
            <p:cNvSpPr>
              <a:spLocks/>
            </p:cNvSpPr>
            <p:nvPr/>
          </p:nvSpPr>
          <p:spPr bwMode="gray">
            <a:xfrm>
              <a:off x="8642650" y="5067620"/>
              <a:ext cx="327025" cy="63500"/>
            </a:xfrm>
            <a:custGeom>
              <a:avLst/>
              <a:gdLst>
                <a:gd name="T0" fmla="*/ 22 w 236"/>
                <a:gd name="T1" fmla="*/ 34 h 47"/>
                <a:gd name="T2" fmla="*/ 14 w 236"/>
                <a:gd name="T3" fmla="*/ 25 h 47"/>
                <a:gd name="T4" fmla="*/ 14 w 236"/>
                <a:gd name="T5" fmla="*/ 0 h 47"/>
                <a:gd name="T6" fmla="*/ 0 w 236"/>
                <a:gd name="T7" fmla="*/ 0 h 47"/>
                <a:gd name="T8" fmla="*/ 0 w 236"/>
                <a:gd name="T9" fmla="*/ 39 h 47"/>
                <a:gd name="T10" fmla="*/ 9 w 236"/>
                <a:gd name="T11" fmla="*/ 47 h 47"/>
                <a:gd name="T12" fmla="*/ 236 w 236"/>
                <a:gd name="T13" fmla="*/ 47 h 47"/>
                <a:gd name="T14" fmla="*/ 236 w 236"/>
                <a:gd name="T15" fmla="*/ 34 h 47"/>
                <a:gd name="T16" fmla="*/ 22 w 236"/>
                <a:gd name="T17" fmla="*/ 34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6" h="47">
                  <a:moveTo>
                    <a:pt x="22" y="34"/>
                  </a:moveTo>
                  <a:cubicBezTo>
                    <a:pt x="17" y="34"/>
                    <a:pt x="14" y="30"/>
                    <a:pt x="14" y="2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4"/>
                    <a:pt x="4" y="47"/>
                    <a:pt x="9" y="47"/>
                  </a:cubicBezTo>
                  <a:cubicBezTo>
                    <a:pt x="236" y="47"/>
                    <a:pt x="236" y="47"/>
                    <a:pt x="236" y="47"/>
                  </a:cubicBezTo>
                  <a:cubicBezTo>
                    <a:pt x="236" y="34"/>
                    <a:pt x="236" y="34"/>
                    <a:pt x="236" y="34"/>
                  </a:cubicBezTo>
                  <a:lnTo>
                    <a:pt x="22" y="34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57"/>
            <p:cNvSpPr>
              <a:spLocks/>
            </p:cNvSpPr>
            <p:nvPr/>
          </p:nvSpPr>
          <p:spPr bwMode="gray">
            <a:xfrm>
              <a:off x="8642650" y="5046983"/>
              <a:ext cx="346075" cy="84137"/>
            </a:xfrm>
            <a:custGeom>
              <a:avLst/>
              <a:gdLst>
                <a:gd name="T0" fmla="*/ 241 w 250"/>
                <a:gd name="T1" fmla="*/ 61 h 61"/>
                <a:gd name="T2" fmla="*/ 236 w 250"/>
                <a:gd name="T3" fmla="*/ 61 h 61"/>
                <a:gd name="T4" fmla="*/ 236 w 250"/>
                <a:gd name="T5" fmla="*/ 22 h 61"/>
                <a:gd name="T6" fmla="*/ 228 w 250"/>
                <a:gd name="T7" fmla="*/ 14 h 61"/>
                <a:gd name="T8" fmla="*/ 0 w 250"/>
                <a:gd name="T9" fmla="*/ 14 h 61"/>
                <a:gd name="T10" fmla="*/ 0 w 250"/>
                <a:gd name="T11" fmla="*/ 9 h 61"/>
                <a:gd name="T12" fmla="*/ 9 w 250"/>
                <a:gd name="T13" fmla="*/ 0 h 61"/>
                <a:gd name="T14" fmla="*/ 241 w 250"/>
                <a:gd name="T15" fmla="*/ 0 h 61"/>
                <a:gd name="T16" fmla="*/ 250 w 250"/>
                <a:gd name="T17" fmla="*/ 9 h 61"/>
                <a:gd name="T18" fmla="*/ 250 w 250"/>
                <a:gd name="T19" fmla="*/ 53 h 61"/>
                <a:gd name="T20" fmla="*/ 241 w 250"/>
                <a:gd name="T2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" h="61">
                  <a:moveTo>
                    <a:pt x="241" y="61"/>
                  </a:moveTo>
                  <a:cubicBezTo>
                    <a:pt x="236" y="61"/>
                    <a:pt x="236" y="61"/>
                    <a:pt x="236" y="61"/>
                  </a:cubicBezTo>
                  <a:cubicBezTo>
                    <a:pt x="236" y="22"/>
                    <a:pt x="236" y="22"/>
                    <a:pt x="236" y="22"/>
                  </a:cubicBezTo>
                  <a:cubicBezTo>
                    <a:pt x="236" y="18"/>
                    <a:pt x="232" y="14"/>
                    <a:pt x="228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cubicBezTo>
                    <a:pt x="250" y="53"/>
                    <a:pt x="250" y="53"/>
                    <a:pt x="250" y="53"/>
                  </a:cubicBezTo>
                  <a:cubicBezTo>
                    <a:pt x="250" y="58"/>
                    <a:pt x="246" y="61"/>
                    <a:pt x="241" y="6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58"/>
            <p:cNvSpPr>
              <a:spLocks/>
            </p:cNvSpPr>
            <p:nvPr/>
          </p:nvSpPr>
          <p:spPr bwMode="gray">
            <a:xfrm>
              <a:off x="10792125" y="4919983"/>
              <a:ext cx="61913" cy="311150"/>
            </a:xfrm>
            <a:custGeom>
              <a:avLst/>
              <a:gdLst>
                <a:gd name="T0" fmla="*/ 39 w 45"/>
                <a:gd name="T1" fmla="*/ 180 h 226"/>
                <a:gd name="T2" fmla="*/ 33 w 45"/>
                <a:gd name="T3" fmla="*/ 180 h 226"/>
                <a:gd name="T4" fmla="*/ 33 w 45"/>
                <a:gd name="T5" fmla="*/ 0 h 226"/>
                <a:gd name="T6" fmla="*/ 12 w 45"/>
                <a:gd name="T7" fmla="*/ 0 h 226"/>
                <a:gd name="T8" fmla="*/ 12 w 45"/>
                <a:gd name="T9" fmla="*/ 180 h 226"/>
                <a:gd name="T10" fmla="*/ 5 w 45"/>
                <a:gd name="T11" fmla="*/ 180 h 226"/>
                <a:gd name="T12" fmla="*/ 0 w 45"/>
                <a:gd name="T13" fmla="*/ 186 h 226"/>
                <a:gd name="T14" fmla="*/ 0 w 45"/>
                <a:gd name="T15" fmla="*/ 226 h 226"/>
                <a:gd name="T16" fmla="*/ 45 w 45"/>
                <a:gd name="T17" fmla="*/ 226 h 226"/>
                <a:gd name="T18" fmla="*/ 45 w 45"/>
                <a:gd name="T19" fmla="*/ 186 h 226"/>
                <a:gd name="T20" fmla="*/ 39 w 45"/>
                <a:gd name="T21" fmla="*/ 18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" h="226">
                  <a:moveTo>
                    <a:pt x="39" y="180"/>
                  </a:moveTo>
                  <a:cubicBezTo>
                    <a:pt x="33" y="180"/>
                    <a:pt x="33" y="180"/>
                    <a:pt x="33" y="18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80"/>
                    <a:pt x="12" y="180"/>
                    <a:pt x="12" y="180"/>
                  </a:cubicBezTo>
                  <a:cubicBezTo>
                    <a:pt x="5" y="180"/>
                    <a:pt x="5" y="180"/>
                    <a:pt x="5" y="180"/>
                  </a:cubicBezTo>
                  <a:cubicBezTo>
                    <a:pt x="2" y="180"/>
                    <a:pt x="0" y="182"/>
                    <a:pt x="0" y="186"/>
                  </a:cubicBezTo>
                  <a:cubicBezTo>
                    <a:pt x="0" y="226"/>
                    <a:pt x="0" y="226"/>
                    <a:pt x="0" y="226"/>
                  </a:cubicBezTo>
                  <a:cubicBezTo>
                    <a:pt x="45" y="226"/>
                    <a:pt x="45" y="226"/>
                    <a:pt x="45" y="226"/>
                  </a:cubicBezTo>
                  <a:cubicBezTo>
                    <a:pt x="45" y="186"/>
                    <a:pt x="45" y="186"/>
                    <a:pt x="45" y="186"/>
                  </a:cubicBezTo>
                  <a:cubicBezTo>
                    <a:pt x="45" y="182"/>
                    <a:pt x="42" y="180"/>
                    <a:pt x="39" y="180"/>
                  </a:cubicBezTo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59"/>
            <p:cNvSpPr>
              <a:spLocks/>
            </p:cNvSpPr>
            <p:nvPr/>
          </p:nvSpPr>
          <p:spPr bwMode="gray">
            <a:xfrm>
              <a:off x="10827050" y="4919983"/>
              <a:ext cx="26988" cy="311150"/>
            </a:xfrm>
            <a:custGeom>
              <a:avLst/>
              <a:gdLst>
                <a:gd name="T0" fmla="*/ 14 w 20"/>
                <a:gd name="T1" fmla="*/ 180 h 226"/>
                <a:gd name="T2" fmla="*/ 8 w 20"/>
                <a:gd name="T3" fmla="*/ 180 h 226"/>
                <a:gd name="T4" fmla="*/ 8 w 20"/>
                <a:gd name="T5" fmla="*/ 0 h 226"/>
                <a:gd name="T6" fmla="*/ 0 w 20"/>
                <a:gd name="T7" fmla="*/ 0 h 226"/>
                <a:gd name="T8" fmla="*/ 0 w 20"/>
                <a:gd name="T9" fmla="*/ 180 h 226"/>
                <a:gd name="T10" fmla="*/ 6 w 20"/>
                <a:gd name="T11" fmla="*/ 180 h 226"/>
                <a:gd name="T12" fmla="*/ 12 w 20"/>
                <a:gd name="T13" fmla="*/ 186 h 226"/>
                <a:gd name="T14" fmla="*/ 12 w 20"/>
                <a:gd name="T15" fmla="*/ 226 h 226"/>
                <a:gd name="T16" fmla="*/ 20 w 20"/>
                <a:gd name="T17" fmla="*/ 226 h 226"/>
                <a:gd name="T18" fmla="*/ 20 w 20"/>
                <a:gd name="T19" fmla="*/ 186 h 226"/>
                <a:gd name="T20" fmla="*/ 14 w 20"/>
                <a:gd name="T21" fmla="*/ 18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26">
                  <a:moveTo>
                    <a:pt x="14" y="180"/>
                  </a:moveTo>
                  <a:cubicBezTo>
                    <a:pt x="8" y="180"/>
                    <a:pt x="8" y="180"/>
                    <a:pt x="8" y="18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6" y="180"/>
                    <a:pt x="6" y="180"/>
                    <a:pt x="6" y="180"/>
                  </a:cubicBezTo>
                  <a:cubicBezTo>
                    <a:pt x="9" y="180"/>
                    <a:pt x="12" y="182"/>
                    <a:pt x="12" y="186"/>
                  </a:cubicBezTo>
                  <a:cubicBezTo>
                    <a:pt x="12" y="226"/>
                    <a:pt x="12" y="226"/>
                    <a:pt x="12" y="226"/>
                  </a:cubicBezTo>
                  <a:cubicBezTo>
                    <a:pt x="20" y="226"/>
                    <a:pt x="20" y="226"/>
                    <a:pt x="20" y="226"/>
                  </a:cubicBezTo>
                  <a:cubicBezTo>
                    <a:pt x="20" y="186"/>
                    <a:pt x="20" y="186"/>
                    <a:pt x="20" y="186"/>
                  </a:cubicBezTo>
                  <a:cubicBezTo>
                    <a:pt x="20" y="182"/>
                    <a:pt x="17" y="180"/>
                    <a:pt x="14" y="180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60"/>
            <p:cNvSpPr>
              <a:spLocks/>
            </p:cNvSpPr>
            <p:nvPr/>
          </p:nvSpPr>
          <p:spPr bwMode="gray">
            <a:xfrm>
              <a:off x="10792125" y="4919983"/>
              <a:ext cx="25400" cy="311150"/>
            </a:xfrm>
            <a:custGeom>
              <a:avLst/>
              <a:gdLst>
                <a:gd name="T0" fmla="*/ 19 w 19"/>
                <a:gd name="T1" fmla="*/ 0 h 226"/>
                <a:gd name="T2" fmla="*/ 12 w 19"/>
                <a:gd name="T3" fmla="*/ 0 h 226"/>
                <a:gd name="T4" fmla="*/ 12 w 19"/>
                <a:gd name="T5" fmla="*/ 180 h 226"/>
                <a:gd name="T6" fmla="*/ 5 w 19"/>
                <a:gd name="T7" fmla="*/ 180 h 226"/>
                <a:gd name="T8" fmla="*/ 0 w 19"/>
                <a:gd name="T9" fmla="*/ 186 h 226"/>
                <a:gd name="T10" fmla="*/ 0 w 19"/>
                <a:gd name="T11" fmla="*/ 226 h 226"/>
                <a:gd name="T12" fmla="*/ 7 w 19"/>
                <a:gd name="T13" fmla="*/ 226 h 226"/>
                <a:gd name="T14" fmla="*/ 7 w 19"/>
                <a:gd name="T15" fmla="*/ 186 h 226"/>
                <a:gd name="T16" fmla="*/ 13 w 19"/>
                <a:gd name="T17" fmla="*/ 180 h 226"/>
                <a:gd name="T18" fmla="*/ 19 w 19"/>
                <a:gd name="T19" fmla="*/ 180 h 226"/>
                <a:gd name="T20" fmla="*/ 19 w 19"/>
                <a:gd name="T21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226">
                  <a:moveTo>
                    <a:pt x="19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180"/>
                    <a:pt x="12" y="180"/>
                    <a:pt x="12" y="180"/>
                  </a:cubicBezTo>
                  <a:cubicBezTo>
                    <a:pt x="5" y="180"/>
                    <a:pt x="5" y="180"/>
                    <a:pt x="5" y="180"/>
                  </a:cubicBezTo>
                  <a:cubicBezTo>
                    <a:pt x="2" y="180"/>
                    <a:pt x="0" y="182"/>
                    <a:pt x="0" y="186"/>
                  </a:cubicBezTo>
                  <a:cubicBezTo>
                    <a:pt x="0" y="226"/>
                    <a:pt x="0" y="226"/>
                    <a:pt x="0" y="226"/>
                  </a:cubicBezTo>
                  <a:cubicBezTo>
                    <a:pt x="7" y="226"/>
                    <a:pt x="7" y="226"/>
                    <a:pt x="7" y="226"/>
                  </a:cubicBezTo>
                  <a:cubicBezTo>
                    <a:pt x="7" y="186"/>
                    <a:pt x="7" y="186"/>
                    <a:pt x="7" y="186"/>
                  </a:cubicBezTo>
                  <a:cubicBezTo>
                    <a:pt x="7" y="182"/>
                    <a:pt x="10" y="180"/>
                    <a:pt x="13" y="180"/>
                  </a:cubicBezTo>
                  <a:cubicBezTo>
                    <a:pt x="19" y="180"/>
                    <a:pt x="19" y="180"/>
                    <a:pt x="19" y="180"/>
                  </a:cubicBezTo>
                  <a:cubicBezTo>
                    <a:pt x="19" y="0"/>
                    <a:pt x="19" y="0"/>
                    <a:pt x="19" y="0"/>
                  </a:cubicBezTo>
                </a:path>
              </a:pathLst>
            </a:custGeom>
            <a:solidFill>
              <a:srgbClr val="FFC7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61"/>
            <p:cNvSpPr>
              <a:spLocks/>
            </p:cNvSpPr>
            <p:nvPr/>
          </p:nvSpPr>
          <p:spPr bwMode="gray">
            <a:xfrm>
              <a:off x="10068225" y="4172270"/>
              <a:ext cx="242888" cy="239712"/>
            </a:xfrm>
            <a:custGeom>
              <a:avLst/>
              <a:gdLst>
                <a:gd name="T0" fmla="*/ 153 w 153"/>
                <a:gd name="T1" fmla="*/ 98 h 151"/>
                <a:gd name="T2" fmla="*/ 100 w 153"/>
                <a:gd name="T3" fmla="*/ 151 h 151"/>
                <a:gd name="T4" fmla="*/ 0 w 153"/>
                <a:gd name="T5" fmla="*/ 52 h 151"/>
                <a:gd name="T6" fmla="*/ 53 w 153"/>
                <a:gd name="T7" fmla="*/ 0 h 151"/>
                <a:gd name="T8" fmla="*/ 153 w 153"/>
                <a:gd name="T9" fmla="*/ 98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151">
                  <a:moveTo>
                    <a:pt x="153" y="98"/>
                  </a:moveTo>
                  <a:lnTo>
                    <a:pt x="100" y="151"/>
                  </a:lnTo>
                  <a:lnTo>
                    <a:pt x="0" y="52"/>
                  </a:lnTo>
                  <a:lnTo>
                    <a:pt x="53" y="0"/>
                  </a:lnTo>
                  <a:lnTo>
                    <a:pt x="153" y="98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62"/>
            <p:cNvSpPr>
              <a:spLocks/>
            </p:cNvSpPr>
            <p:nvPr/>
          </p:nvSpPr>
          <p:spPr bwMode="gray">
            <a:xfrm>
              <a:off x="9560225" y="3665858"/>
              <a:ext cx="579438" cy="576262"/>
            </a:xfrm>
            <a:custGeom>
              <a:avLst/>
              <a:gdLst>
                <a:gd name="T0" fmla="*/ 415 w 419"/>
                <a:gd name="T1" fmla="*/ 379 h 419"/>
                <a:gd name="T2" fmla="*/ 415 w 419"/>
                <a:gd name="T3" fmla="*/ 392 h 419"/>
                <a:gd name="T4" fmla="*/ 392 w 419"/>
                <a:gd name="T5" fmla="*/ 415 h 419"/>
                <a:gd name="T6" fmla="*/ 380 w 419"/>
                <a:gd name="T7" fmla="*/ 415 h 419"/>
                <a:gd name="T8" fmla="*/ 3 w 419"/>
                <a:gd name="T9" fmla="*/ 39 h 419"/>
                <a:gd name="T10" fmla="*/ 3 w 419"/>
                <a:gd name="T11" fmla="*/ 27 h 419"/>
                <a:gd name="T12" fmla="*/ 27 w 419"/>
                <a:gd name="T13" fmla="*/ 3 h 419"/>
                <a:gd name="T14" fmla="*/ 39 w 419"/>
                <a:gd name="T15" fmla="*/ 3 h 419"/>
                <a:gd name="T16" fmla="*/ 415 w 419"/>
                <a:gd name="T17" fmla="*/ 37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9" h="419">
                  <a:moveTo>
                    <a:pt x="415" y="379"/>
                  </a:moveTo>
                  <a:cubicBezTo>
                    <a:pt x="419" y="383"/>
                    <a:pt x="419" y="388"/>
                    <a:pt x="415" y="392"/>
                  </a:cubicBezTo>
                  <a:cubicBezTo>
                    <a:pt x="392" y="415"/>
                    <a:pt x="392" y="415"/>
                    <a:pt x="392" y="415"/>
                  </a:cubicBezTo>
                  <a:cubicBezTo>
                    <a:pt x="388" y="419"/>
                    <a:pt x="383" y="419"/>
                    <a:pt x="380" y="415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0" y="35"/>
                    <a:pt x="0" y="30"/>
                    <a:pt x="3" y="27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30" y="0"/>
                    <a:pt x="36" y="0"/>
                    <a:pt x="39" y="3"/>
                  </a:cubicBezTo>
                  <a:lnTo>
                    <a:pt x="415" y="37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63"/>
            <p:cNvSpPr>
              <a:spLocks/>
            </p:cNvSpPr>
            <p:nvPr/>
          </p:nvSpPr>
          <p:spPr bwMode="gray">
            <a:xfrm>
              <a:off x="10185700" y="4288158"/>
              <a:ext cx="1066800" cy="1058862"/>
            </a:xfrm>
            <a:custGeom>
              <a:avLst/>
              <a:gdLst>
                <a:gd name="T0" fmla="*/ 672 w 672"/>
                <a:gd name="T1" fmla="*/ 594 h 667"/>
                <a:gd name="T2" fmla="*/ 597 w 672"/>
                <a:gd name="T3" fmla="*/ 667 h 667"/>
                <a:gd name="T4" fmla="*/ 0 w 672"/>
                <a:gd name="T5" fmla="*/ 74 h 667"/>
                <a:gd name="T6" fmla="*/ 74 w 672"/>
                <a:gd name="T7" fmla="*/ 0 h 667"/>
                <a:gd name="T8" fmla="*/ 672 w 672"/>
                <a:gd name="T9" fmla="*/ 594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2" h="667">
                  <a:moveTo>
                    <a:pt x="672" y="594"/>
                  </a:moveTo>
                  <a:lnTo>
                    <a:pt x="597" y="667"/>
                  </a:lnTo>
                  <a:lnTo>
                    <a:pt x="0" y="74"/>
                  </a:lnTo>
                  <a:lnTo>
                    <a:pt x="74" y="0"/>
                  </a:lnTo>
                  <a:lnTo>
                    <a:pt x="672" y="594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64"/>
            <p:cNvSpPr>
              <a:spLocks/>
            </p:cNvSpPr>
            <p:nvPr/>
          </p:nvSpPr>
          <p:spPr bwMode="gray">
            <a:xfrm>
              <a:off x="10055525" y="4159570"/>
              <a:ext cx="109538" cy="106362"/>
            </a:xfrm>
            <a:custGeom>
              <a:avLst/>
              <a:gdLst>
                <a:gd name="T0" fmla="*/ 9 w 79"/>
                <a:gd name="T1" fmla="*/ 77 h 77"/>
                <a:gd name="T2" fmla="*/ 4 w 79"/>
                <a:gd name="T3" fmla="*/ 75 h 77"/>
                <a:gd name="T4" fmla="*/ 4 w 79"/>
                <a:gd name="T5" fmla="*/ 64 h 77"/>
                <a:gd name="T6" fmla="*/ 64 w 79"/>
                <a:gd name="T7" fmla="*/ 3 h 77"/>
                <a:gd name="T8" fmla="*/ 75 w 79"/>
                <a:gd name="T9" fmla="*/ 3 h 77"/>
                <a:gd name="T10" fmla="*/ 75 w 79"/>
                <a:gd name="T11" fmla="*/ 15 h 77"/>
                <a:gd name="T12" fmla="*/ 15 w 79"/>
                <a:gd name="T13" fmla="*/ 75 h 77"/>
                <a:gd name="T14" fmla="*/ 9 w 79"/>
                <a:gd name="T1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9" h="77">
                  <a:moveTo>
                    <a:pt x="9" y="77"/>
                  </a:moveTo>
                  <a:cubicBezTo>
                    <a:pt x="7" y="77"/>
                    <a:pt x="5" y="77"/>
                    <a:pt x="4" y="75"/>
                  </a:cubicBezTo>
                  <a:cubicBezTo>
                    <a:pt x="0" y="72"/>
                    <a:pt x="0" y="67"/>
                    <a:pt x="4" y="64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7" y="0"/>
                    <a:pt x="72" y="0"/>
                    <a:pt x="75" y="3"/>
                  </a:cubicBezTo>
                  <a:cubicBezTo>
                    <a:pt x="79" y="6"/>
                    <a:pt x="79" y="12"/>
                    <a:pt x="75" y="15"/>
                  </a:cubicBezTo>
                  <a:cubicBezTo>
                    <a:pt x="15" y="75"/>
                    <a:pt x="15" y="75"/>
                    <a:pt x="15" y="75"/>
                  </a:cubicBezTo>
                  <a:cubicBezTo>
                    <a:pt x="13" y="77"/>
                    <a:pt x="11" y="77"/>
                    <a:pt x="9" y="77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65"/>
            <p:cNvSpPr>
              <a:spLocks/>
            </p:cNvSpPr>
            <p:nvPr/>
          </p:nvSpPr>
          <p:spPr bwMode="gray">
            <a:xfrm>
              <a:off x="9787237" y="3891283"/>
              <a:ext cx="79375" cy="77787"/>
            </a:xfrm>
            <a:custGeom>
              <a:avLst/>
              <a:gdLst>
                <a:gd name="T0" fmla="*/ 9 w 58"/>
                <a:gd name="T1" fmla="*/ 57 h 57"/>
                <a:gd name="T2" fmla="*/ 3 w 58"/>
                <a:gd name="T3" fmla="*/ 55 h 57"/>
                <a:gd name="T4" fmla="*/ 3 w 58"/>
                <a:gd name="T5" fmla="*/ 44 h 57"/>
                <a:gd name="T6" fmla="*/ 44 w 58"/>
                <a:gd name="T7" fmla="*/ 3 h 57"/>
                <a:gd name="T8" fmla="*/ 55 w 58"/>
                <a:gd name="T9" fmla="*/ 3 h 57"/>
                <a:gd name="T10" fmla="*/ 55 w 58"/>
                <a:gd name="T11" fmla="*/ 14 h 57"/>
                <a:gd name="T12" fmla="*/ 15 w 58"/>
                <a:gd name="T13" fmla="*/ 55 h 57"/>
                <a:gd name="T14" fmla="*/ 9 w 58"/>
                <a:gd name="T15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57">
                  <a:moveTo>
                    <a:pt x="9" y="57"/>
                  </a:moveTo>
                  <a:cubicBezTo>
                    <a:pt x="7" y="57"/>
                    <a:pt x="5" y="56"/>
                    <a:pt x="3" y="55"/>
                  </a:cubicBezTo>
                  <a:cubicBezTo>
                    <a:pt x="0" y="52"/>
                    <a:pt x="0" y="47"/>
                    <a:pt x="3" y="44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7" y="0"/>
                    <a:pt x="52" y="0"/>
                    <a:pt x="55" y="3"/>
                  </a:cubicBezTo>
                  <a:cubicBezTo>
                    <a:pt x="58" y="6"/>
                    <a:pt x="58" y="11"/>
                    <a:pt x="55" y="14"/>
                  </a:cubicBezTo>
                  <a:cubicBezTo>
                    <a:pt x="15" y="55"/>
                    <a:pt x="15" y="55"/>
                    <a:pt x="15" y="55"/>
                  </a:cubicBezTo>
                  <a:cubicBezTo>
                    <a:pt x="13" y="56"/>
                    <a:pt x="11" y="57"/>
                    <a:pt x="9" y="57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66"/>
            <p:cNvSpPr>
              <a:spLocks/>
            </p:cNvSpPr>
            <p:nvPr/>
          </p:nvSpPr>
          <p:spPr bwMode="gray">
            <a:xfrm>
              <a:off x="10168237" y="4270695"/>
              <a:ext cx="153988" cy="150812"/>
            </a:xfrm>
            <a:custGeom>
              <a:avLst/>
              <a:gdLst>
                <a:gd name="T0" fmla="*/ 9 w 111"/>
                <a:gd name="T1" fmla="*/ 110 h 110"/>
                <a:gd name="T2" fmla="*/ 3 w 111"/>
                <a:gd name="T3" fmla="*/ 108 h 110"/>
                <a:gd name="T4" fmla="*/ 3 w 111"/>
                <a:gd name="T5" fmla="*/ 96 h 110"/>
                <a:gd name="T6" fmla="*/ 96 w 111"/>
                <a:gd name="T7" fmla="*/ 3 h 110"/>
                <a:gd name="T8" fmla="*/ 108 w 111"/>
                <a:gd name="T9" fmla="*/ 3 h 110"/>
                <a:gd name="T10" fmla="*/ 108 w 111"/>
                <a:gd name="T11" fmla="*/ 15 h 110"/>
                <a:gd name="T12" fmla="*/ 15 w 111"/>
                <a:gd name="T13" fmla="*/ 108 h 110"/>
                <a:gd name="T14" fmla="*/ 9 w 111"/>
                <a:gd name="T15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1" h="110">
                  <a:moveTo>
                    <a:pt x="9" y="110"/>
                  </a:moveTo>
                  <a:cubicBezTo>
                    <a:pt x="7" y="110"/>
                    <a:pt x="5" y="109"/>
                    <a:pt x="3" y="108"/>
                  </a:cubicBezTo>
                  <a:cubicBezTo>
                    <a:pt x="0" y="104"/>
                    <a:pt x="0" y="99"/>
                    <a:pt x="3" y="96"/>
                  </a:cubicBezTo>
                  <a:cubicBezTo>
                    <a:pt x="96" y="3"/>
                    <a:pt x="96" y="3"/>
                    <a:pt x="96" y="3"/>
                  </a:cubicBezTo>
                  <a:cubicBezTo>
                    <a:pt x="100" y="0"/>
                    <a:pt x="105" y="0"/>
                    <a:pt x="108" y="3"/>
                  </a:cubicBezTo>
                  <a:cubicBezTo>
                    <a:pt x="111" y="6"/>
                    <a:pt x="111" y="11"/>
                    <a:pt x="108" y="15"/>
                  </a:cubicBezTo>
                  <a:cubicBezTo>
                    <a:pt x="15" y="108"/>
                    <a:pt x="15" y="108"/>
                    <a:pt x="15" y="108"/>
                  </a:cubicBezTo>
                  <a:cubicBezTo>
                    <a:pt x="13" y="109"/>
                    <a:pt x="11" y="110"/>
                    <a:pt x="9" y="110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67"/>
            <p:cNvSpPr>
              <a:spLocks/>
            </p:cNvSpPr>
            <p:nvPr/>
          </p:nvSpPr>
          <p:spPr bwMode="gray">
            <a:xfrm>
              <a:off x="10269837" y="4296095"/>
              <a:ext cx="982663" cy="944562"/>
            </a:xfrm>
            <a:custGeom>
              <a:avLst/>
              <a:gdLst>
                <a:gd name="T0" fmla="*/ 619 w 619"/>
                <a:gd name="T1" fmla="*/ 589 h 595"/>
                <a:gd name="T2" fmla="*/ 613 w 619"/>
                <a:gd name="T3" fmla="*/ 595 h 595"/>
                <a:gd name="T4" fmla="*/ 0 w 619"/>
                <a:gd name="T5" fmla="*/ 26 h 595"/>
                <a:gd name="T6" fmla="*/ 27 w 619"/>
                <a:gd name="T7" fmla="*/ 0 h 595"/>
                <a:gd name="T8" fmla="*/ 619 w 619"/>
                <a:gd name="T9" fmla="*/ 589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9" h="595">
                  <a:moveTo>
                    <a:pt x="619" y="589"/>
                  </a:moveTo>
                  <a:lnTo>
                    <a:pt x="613" y="595"/>
                  </a:lnTo>
                  <a:lnTo>
                    <a:pt x="0" y="26"/>
                  </a:lnTo>
                  <a:lnTo>
                    <a:pt x="27" y="0"/>
                  </a:lnTo>
                  <a:lnTo>
                    <a:pt x="619" y="589"/>
                  </a:ln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68"/>
            <p:cNvSpPr>
              <a:spLocks/>
            </p:cNvSpPr>
            <p:nvPr/>
          </p:nvSpPr>
          <p:spPr bwMode="gray">
            <a:xfrm>
              <a:off x="10193637" y="4370708"/>
              <a:ext cx="949325" cy="976312"/>
            </a:xfrm>
            <a:custGeom>
              <a:avLst/>
              <a:gdLst>
                <a:gd name="T0" fmla="*/ 592 w 598"/>
                <a:gd name="T1" fmla="*/ 615 h 615"/>
                <a:gd name="T2" fmla="*/ 598 w 598"/>
                <a:gd name="T3" fmla="*/ 610 h 615"/>
                <a:gd name="T4" fmla="*/ 27 w 598"/>
                <a:gd name="T5" fmla="*/ 0 h 615"/>
                <a:gd name="T6" fmla="*/ 0 w 598"/>
                <a:gd name="T7" fmla="*/ 27 h 615"/>
                <a:gd name="T8" fmla="*/ 592 w 598"/>
                <a:gd name="T9" fmla="*/ 615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8" h="615">
                  <a:moveTo>
                    <a:pt x="592" y="615"/>
                  </a:moveTo>
                  <a:lnTo>
                    <a:pt x="598" y="610"/>
                  </a:lnTo>
                  <a:lnTo>
                    <a:pt x="27" y="0"/>
                  </a:lnTo>
                  <a:lnTo>
                    <a:pt x="0" y="27"/>
                  </a:lnTo>
                  <a:lnTo>
                    <a:pt x="592" y="615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69"/>
            <p:cNvSpPr>
              <a:spLocks/>
            </p:cNvSpPr>
            <p:nvPr/>
          </p:nvSpPr>
          <p:spPr bwMode="gray">
            <a:xfrm>
              <a:off x="10615912" y="5231133"/>
              <a:ext cx="665163" cy="93662"/>
            </a:xfrm>
            <a:custGeom>
              <a:avLst/>
              <a:gdLst>
                <a:gd name="T0" fmla="*/ 481 w 481"/>
                <a:gd name="T1" fmla="*/ 14 h 69"/>
                <a:gd name="T2" fmla="*/ 467 w 481"/>
                <a:gd name="T3" fmla="*/ 0 h 69"/>
                <a:gd name="T4" fmla="*/ 15 w 481"/>
                <a:gd name="T5" fmla="*/ 0 h 69"/>
                <a:gd name="T6" fmla="*/ 0 w 481"/>
                <a:gd name="T7" fmla="*/ 14 h 69"/>
                <a:gd name="T8" fmla="*/ 0 w 481"/>
                <a:gd name="T9" fmla="*/ 55 h 69"/>
                <a:gd name="T10" fmla="*/ 15 w 481"/>
                <a:gd name="T11" fmla="*/ 69 h 69"/>
                <a:gd name="T12" fmla="*/ 467 w 481"/>
                <a:gd name="T13" fmla="*/ 69 h 69"/>
                <a:gd name="T14" fmla="*/ 481 w 481"/>
                <a:gd name="T15" fmla="*/ 55 h 69"/>
                <a:gd name="T16" fmla="*/ 481 w 481"/>
                <a:gd name="T17" fmla="*/ 1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1" h="69">
                  <a:moveTo>
                    <a:pt x="481" y="14"/>
                  </a:moveTo>
                  <a:cubicBezTo>
                    <a:pt x="481" y="6"/>
                    <a:pt x="475" y="0"/>
                    <a:pt x="467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6"/>
                    <a:pt x="0" y="14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63"/>
                    <a:pt x="7" y="69"/>
                    <a:pt x="15" y="69"/>
                  </a:cubicBezTo>
                  <a:cubicBezTo>
                    <a:pt x="467" y="69"/>
                    <a:pt x="467" y="69"/>
                    <a:pt x="467" y="69"/>
                  </a:cubicBezTo>
                  <a:cubicBezTo>
                    <a:pt x="475" y="69"/>
                    <a:pt x="481" y="63"/>
                    <a:pt x="481" y="55"/>
                  </a:cubicBezTo>
                  <a:lnTo>
                    <a:pt x="481" y="1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Oval 70"/>
            <p:cNvSpPr>
              <a:spLocks noChangeArrowheads="1"/>
            </p:cNvSpPr>
            <p:nvPr/>
          </p:nvSpPr>
          <p:spPr bwMode="gray">
            <a:xfrm>
              <a:off x="1031270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Oval 71"/>
            <p:cNvSpPr>
              <a:spLocks noChangeArrowheads="1"/>
            </p:cNvSpPr>
            <p:nvPr/>
          </p:nvSpPr>
          <p:spPr bwMode="gray">
            <a:xfrm>
              <a:off x="10695287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Oval 72"/>
            <p:cNvSpPr>
              <a:spLocks noChangeArrowheads="1"/>
            </p:cNvSpPr>
            <p:nvPr/>
          </p:nvSpPr>
          <p:spPr bwMode="gray">
            <a:xfrm>
              <a:off x="1098580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Freeform 73"/>
            <p:cNvSpPr>
              <a:spLocks/>
            </p:cNvSpPr>
            <p:nvPr/>
          </p:nvSpPr>
          <p:spPr bwMode="gray">
            <a:xfrm>
              <a:off x="10176175" y="5042220"/>
              <a:ext cx="341313" cy="404812"/>
            </a:xfrm>
            <a:custGeom>
              <a:avLst/>
              <a:gdLst>
                <a:gd name="T0" fmla="*/ 247 w 247"/>
                <a:gd name="T1" fmla="*/ 0 h 295"/>
                <a:gd name="T2" fmla="*/ 66 w 247"/>
                <a:gd name="T3" fmla="*/ 0 h 295"/>
                <a:gd name="T4" fmla="*/ 16 w 247"/>
                <a:gd name="T5" fmla="*/ 295 h 295"/>
                <a:gd name="T6" fmla="*/ 197 w 247"/>
                <a:gd name="T7" fmla="*/ 295 h 295"/>
                <a:gd name="T8" fmla="*/ 247 w 247"/>
                <a:gd name="T9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7" h="295">
                  <a:moveTo>
                    <a:pt x="247" y="0"/>
                  </a:moveTo>
                  <a:cubicBezTo>
                    <a:pt x="193" y="0"/>
                    <a:pt x="97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197" y="295"/>
                    <a:pt x="197" y="295"/>
                    <a:pt x="197" y="295"/>
                  </a:cubicBezTo>
                  <a:cubicBezTo>
                    <a:pt x="197" y="295"/>
                    <a:pt x="181" y="76"/>
                    <a:pt x="247" y="0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Freeform 74"/>
            <p:cNvSpPr>
              <a:spLocks/>
            </p:cNvSpPr>
            <p:nvPr/>
          </p:nvSpPr>
          <p:spPr bwMode="gray">
            <a:xfrm>
              <a:off x="10727037" y="5324795"/>
              <a:ext cx="3175" cy="1587"/>
            </a:xfrm>
            <a:custGeom>
              <a:avLst/>
              <a:gdLst>
                <a:gd name="T0" fmla="*/ 0 w 2"/>
                <a:gd name="T1" fmla="*/ 1 h 1"/>
                <a:gd name="T2" fmla="*/ 2 w 2"/>
                <a:gd name="T3" fmla="*/ 0 h 1"/>
                <a:gd name="T4" fmla="*/ 0 w 2"/>
                <a:gd name="T5" fmla="*/ 0 h 1"/>
                <a:gd name="T6" fmla="*/ 0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1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Freeform 75"/>
            <p:cNvSpPr>
              <a:spLocks/>
            </p:cNvSpPr>
            <p:nvPr/>
          </p:nvSpPr>
          <p:spPr bwMode="gray">
            <a:xfrm>
              <a:off x="10512725" y="5324795"/>
              <a:ext cx="3175" cy="1587"/>
            </a:xfrm>
            <a:custGeom>
              <a:avLst/>
              <a:gdLst>
                <a:gd name="T0" fmla="*/ 0 w 3"/>
                <a:gd name="T1" fmla="*/ 1 h 1"/>
                <a:gd name="T2" fmla="*/ 3 w 3"/>
                <a:gd name="T3" fmla="*/ 0 h 1"/>
                <a:gd name="T4" fmla="*/ 0 w 3"/>
                <a:gd name="T5" fmla="*/ 0 h 1"/>
                <a:gd name="T6" fmla="*/ 0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cubicBezTo>
                    <a:pt x="1" y="0"/>
                    <a:pt x="2" y="0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Freeform 76"/>
            <p:cNvSpPr>
              <a:spLocks/>
            </p:cNvSpPr>
            <p:nvPr/>
          </p:nvSpPr>
          <p:spPr bwMode="gray">
            <a:xfrm>
              <a:off x="10176175" y="5042220"/>
              <a:ext cx="127000" cy="404812"/>
            </a:xfrm>
            <a:custGeom>
              <a:avLst/>
              <a:gdLst>
                <a:gd name="T0" fmla="*/ 92 w 92"/>
                <a:gd name="T1" fmla="*/ 0 h 295"/>
                <a:gd name="T2" fmla="*/ 66 w 92"/>
                <a:gd name="T3" fmla="*/ 0 h 295"/>
                <a:gd name="T4" fmla="*/ 16 w 92"/>
                <a:gd name="T5" fmla="*/ 295 h 295"/>
                <a:gd name="T6" fmla="*/ 42 w 92"/>
                <a:gd name="T7" fmla="*/ 295 h 295"/>
                <a:gd name="T8" fmla="*/ 92 w 92"/>
                <a:gd name="T9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295">
                  <a:moveTo>
                    <a:pt x="92" y="0"/>
                  </a:moveTo>
                  <a:cubicBezTo>
                    <a:pt x="82" y="0"/>
                    <a:pt x="73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42" y="295"/>
                    <a:pt x="42" y="295"/>
                    <a:pt x="42" y="295"/>
                  </a:cubicBezTo>
                  <a:cubicBezTo>
                    <a:pt x="42" y="295"/>
                    <a:pt x="26" y="76"/>
                    <a:pt x="92" y="0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Rectangle 77"/>
            <p:cNvSpPr>
              <a:spLocks noChangeArrowheads="1"/>
            </p:cNvSpPr>
            <p:nvPr/>
          </p:nvSpPr>
          <p:spPr bwMode="gray">
            <a:xfrm>
              <a:off x="9574512" y="3729358"/>
              <a:ext cx="22225" cy="693737"/>
            </a:xfrm>
            <a:prstGeom prst="rect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Freeform 78"/>
            <p:cNvSpPr>
              <a:spLocks/>
            </p:cNvSpPr>
            <p:nvPr/>
          </p:nvSpPr>
          <p:spPr bwMode="gray">
            <a:xfrm>
              <a:off x="10393662" y="5042220"/>
              <a:ext cx="906463" cy="404812"/>
            </a:xfrm>
            <a:custGeom>
              <a:avLst/>
              <a:gdLst>
                <a:gd name="T0" fmla="*/ 642 w 656"/>
                <a:gd name="T1" fmla="*/ 206 h 295"/>
                <a:gd name="T2" fmla="*/ 219 w 656"/>
                <a:gd name="T3" fmla="*/ 206 h 295"/>
                <a:gd name="T4" fmla="*/ 217 w 656"/>
                <a:gd name="T5" fmla="*/ 207 h 295"/>
                <a:gd name="T6" fmla="*/ 217 w 656"/>
                <a:gd name="T7" fmla="*/ 0 h 295"/>
                <a:gd name="T8" fmla="*/ 66 w 656"/>
                <a:gd name="T9" fmla="*/ 0 h 295"/>
                <a:gd name="T10" fmla="*/ 16 w 656"/>
                <a:gd name="T11" fmla="*/ 295 h 295"/>
                <a:gd name="T12" fmla="*/ 642 w 656"/>
                <a:gd name="T13" fmla="*/ 295 h 295"/>
                <a:gd name="T14" fmla="*/ 656 w 656"/>
                <a:gd name="T15" fmla="*/ 281 h 295"/>
                <a:gd name="T16" fmla="*/ 656 w 656"/>
                <a:gd name="T17" fmla="*/ 221 h 295"/>
                <a:gd name="T18" fmla="*/ 642 w 656"/>
                <a:gd name="T19" fmla="*/ 206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6" h="295">
                  <a:moveTo>
                    <a:pt x="642" y="206"/>
                  </a:moveTo>
                  <a:cubicBezTo>
                    <a:pt x="219" y="206"/>
                    <a:pt x="219" y="206"/>
                    <a:pt x="219" y="206"/>
                  </a:cubicBezTo>
                  <a:cubicBezTo>
                    <a:pt x="219" y="206"/>
                    <a:pt x="218" y="206"/>
                    <a:pt x="217" y="207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17" y="0"/>
                    <a:pt x="119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642" y="295"/>
                    <a:pt x="642" y="295"/>
                    <a:pt x="642" y="295"/>
                  </a:cubicBezTo>
                  <a:cubicBezTo>
                    <a:pt x="650" y="295"/>
                    <a:pt x="656" y="289"/>
                    <a:pt x="656" y="281"/>
                  </a:cubicBezTo>
                  <a:cubicBezTo>
                    <a:pt x="656" y="221"/>
                    <a:pt x="656" y="221"/>
                    <a:pt x="656" y="221"/>
                  </a:cubicBezTo>
                  <a:cubicBezTo>
                    <a:pt x="656" y="213"/>
                    <a:pt x="650" y="206"/>
                    <a:pt x="642" y="206"/>
                  </a:cubicBez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Freeform 79"/>
            <p:cNvSpPr>
              <a:spLocks/>
            </p:cNvSpPr>
            <p:nvPr/>
          </p:nvSpPr>
          <p:spPr bwMode="gray">
            <a:xfrm>
              <a:off x="10393662" y="5042220"/>
              <a:ext cx="300038" cy="404812"/>
            </a:xfrm>
            <a:custGeom>
              <a:avLst/>
              <a:gdLst>
                <a:gd name="T0" fmla="*/ 81 w 217"/>
                <a:gd name="T1" fmla="*/ 15 h 295"/>
                <a:gd name="T2" fmla="*/ 217 w 217"/>
                <a:gd name="T3" fmla="*/ 15 h 295"/>
                <a:gd name="T4" fmla="*/ 217 w 217"/>
                <a:gd name="T5" fmla="*/ 0 h 295"/>
                <a:gd name="T6" fmla="*/ 66 w 217"/>
                <a:gd name="T7" fmla="*/ 0 h 295"/>
                <a:gd name="T8" fmla="*/ 16 w 217"/>
                <a:gd name="T9" fmla="*/ 295 h 295"/>
                <a:gd name="T10" fmla="*/ 30 w 217"/>
                <a:gd name="T11" fmla="*/ 295 h 295"/>
                <a:gd name="T12" fmla="*/ 81 w 217"/>
                <a:gd name="T13" fmla="*/ 15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7" h="295">
                  <a:moveTo>
                    <a:pt x="81" y="15"/>
                  </a:moveTo>
                  <a:cubicBezTo>
                    <a:pt x="122" y="15"/>
                    <a:pt x="188" y="15"/>
                    <a:pt x="217" y="15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17" y="0"/>
                    <a:pt x="119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30" y="295"/>
                    <a:pt x="30" y="295"/>
                    <a:pt x="30" y="295"/>
                  </a:cubicBezTo>
                  <a:cubicBezTo>
                    <a:pt x="28" y="244"/>
                    <a:pt x="25" y="79"/>
                    <a:pt x="81" y="15"/>
                  </a:cubicBezTo>
                  <a:close/>
                </a:path>
              </a:pathLst>
            </a:custGeom>
            <a:solidFill>
              <a:srgbClr val="FFCB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Freeform 80"/>
            <p:cNvSpPr>
              <a:spLocks/>
            </p:cNvSpPr>
            <p:nvPr/>
          </p:nvSpPr>
          <p:spPr bwMode="gray">
            <a:xfrm>
              <a:off x="10414300" y="542798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Freeform 81"/>
            <p:cNvSpPr>
              <a:spLocks/>
            </p:cNvSpPr>
            <p:nvPr/>
          </p:nvSpPr>
          <p:spPr bwMode="gray">
            <a:xfrm>
              <a:off x="10414300" y="5432745"/>
              <a:ext cx="0" cy="1587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Freeform 82"/>
            <p:cNvSpPr>
              <a:spLocks/>
            </p:cNvSpPr>
            <p:nvPr/>
          </p:nvSpPr>
          <p:spPr bwMode="gray">
            <a:xfrm>
              <a:off x="10414300" y="544068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Freeform 83"/>
            <p:cNvSpPr>
              <a:spLocks/>
            </p:cNvSpPr>
            <p:nvPr/>
          </p:nvSpPr>
          <p:spPr bwMode="gray">
            <a:xfrm>
              <a:off x="10433350" y="5324795"/>
              <a:ext cx="866775" cy="122237"/>
            </a:xfrm>
            <a:custGeom>
              <a:avLst/>
              <a:gdLst>
                <a:gd name="T0" fmla="*/ 613 w 627"/>
                <a:gd name="T1" fmla="*/ 0 h 89"/>
                <a:gd name="T2" fmla="*/ 613 w 627"/>
                <a:gd name="T3" fmla="*/ 56 h 89"/>
                <a:gd name="T4" fmla="*/ 599 w 627"/>
                <a:gd name="T5" fmla="*/ 71 h 89"/>
                <a:gd name="T6" fmla="*/ 0 w 627"/>
                <a:gd name="T7" fmla="*/ 71 h 89"/>
                <a:gd name="T8" fmla="*/ 1 w 627"/>
                <a:gd name="T9" fmla="*/ 89 h 89"/>
                <a:gd name="T10" fmla="*/ 613 w 627"/>
                <a:gd name="T11" fmla="*/ 89 h 89"/>
                <a:gd name="T12" fmla="*/ 627 w 627"/>
                <a:gd name="T13" fmla="*/ 75 h 89"/>
                <a:gd name="T14" fmla="*/ 627 w 627"/>
                <a:gd name="T15" fmla="*/ 15 h 89"/>
                <a:gd name="T16" fmla="*/ 613 w 627"/>
                <a:gd name="T17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7" h="89">
                  <a:moveTo>
                    <a:pt x="613" y="0"/>
                  </a:moveTo>
                  <a:cubicBezTo>
                    <a:pt x="613" y="56"/>
                    <a:pt x="613" y="56"/>
                    <a:pt x="613" y="56"/>
                  </a:cubicBezTo>
                  <a:cubicBezTo>
                    <a:pt x="613" y="64"/>
                    <a:pt x="607" y="71"/>
                    <a:pt x="599" y="71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78"/>
                    <a:pt x="1" y="84"/>
                    <a:pt x="1" y="89"/>
                  </a:cubicBezTo>
                  <a:cubicBezTo>
                    <a:pt x="613" y="89"/>
                    <a:pt x="613" y="89"/>
                    <a:pt x="613" y="89"/>
                  </a:cubicBezTo>
                  <a:cubicBezTo>
                    <a:pt x="621" y="89"/>
                    <a:pt x="627" y="83"/>
                    <a:pt x="627" y="75"/>
                  </a:cubicBezTo>
                  <a:cubicBezTo>
                    <a:pt x="627" y="15"/>
                    <a:pt x="627" y="15"/>
                    <a:pt x="627" y="15"/>
                  </a:cubicBezTo>
                  <a:cubicBezTo>
                    <a:pt x="627" y="7"/>
                    <a:pt x="621" y="1"/>
                    <a:pt x="613" y="0"/>
                  </a:cubicBezTo>
                  <a:close/>
                </a:path>
              </a:pathLst>
            </a:custGeom>
            <a:solidFill>
              <a:srgbClr val="DB9D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Freeform 84"/>
            <p:cNvSpPr>
              <a:spLocks/>
            </p:cNvSpPr>
            <p:nvPr/>
          </p:nvSpPr>
          <p:spPr bwMode="gray">
            <a:xfrm>
              <a:off x="10452400" y="5086670"/>
              <a:ext cx="203200" cy="238125"/>
            </a:xfrm>
            <a:custGeom>
              <a:avLst/>
              <a:gdLst>
                <a:gd name="T0" fmla="*/ 146 w 146"/>
                <a:gd name="T1" fmla="*/ 174 h 174"/>
                <a:gd name="T2" fmla="*/ 146 w 146"/>
                <a:gd name="T3" fmla="*/ 0 h 174"/>
                <a:gd name="T4" fmla="*/ 40 w 146"/>
                <a:gd name="T5" fmla="*/ 0 h 174"/>
                <a:gd name="T6" fmla="*/ 0 w 146"/>
                <a:gd name="T7" fmla="*/ 174 h 174"/>
                <a:gd name="T8" fmla="*/ 146 w 146"/>
                <a:gd name="T9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6" h="174">
                  <a:moveTo>
                    <a:pt x="146" y="174"/>
                  </a:moveTo>
                  <a:cubicBezTo>
                    <a:pt x="146" y="0"/>
                    <a:pt x="146" y="0"/>
                    <a:pt x="146" y="0"/>
                  </a:cubicBezTo>
                  <a:cubicBezTo>
                    <a:pt x="146" y="0"/>
                    <a:pt x="82" y="0"/>
                    <a:pt x="40" y="0"/>
                  </a:cubicBezTo>
                  <a:cubicBezTo>
                    <a:pt x="8" y="38"/>
                    <a:pt x="0" y="119"/>
                    <a:pt x="0" y="174"/>
                  </a:cubicBezTo>
                  <a:lnTo>
                    <a:pt x="146" y="17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Freeform 85"/>
            <p:cNvSpPr>
              <a:spLocks/>
            </p:cNvSpPr>
            <p:nvPr/>
          </p:nvSpPr>
          <p:spPr bwMode="gray">
            <a:xfrm>
              <a:off x="10452400" y="5086670"/>
              <a:ext cx="203200" cy="238125"/>
            </a:xfrm>
            <a:custGeom>
              <a:avLst/>
              <a:gdLst>
                <a:gd name="T0" fmla="*/ 146 w 146"/>
                <a:gd name="T1" fmla="*/ 174 h 174"/>
                <a:gd name="T2" fmla="*/ 40 w 146"/>
                <a:gd name="T3" fmla="*/ 0 h 174"/>
                <a:gd name="T4" fmla="*/ 0 w 146"/>
                <a:gd name="T5" fmla="*/ 174 h 174"/>
                <a:gd name="T6" fmla="*/ 146 w 146"/>
                <a:gd name="T7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6" h="174">
                  <a:moveTo>
                    <a:pt x="146" y="174"/>
                  </a:moveTo>
                  <a:cubicBezTo>
                    <a:pt x="146" y="174"/>
                    <a:pt x="84" y="73"/>
                    <a:pt x="40" y="0"/>
                  </a:cubicBezTo>
                  <a:cubicBezTo>
                    <a:pt x="8" y="38"/>
                    <a:pt x="0" y="119"/>
                    <a:pt x="0" y="174"/>
                  </a:cubicBezTo>
                  <a:lnTo>
                    <a:pt x="146" y="174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Oval 86"/>
            <p:cNvSpPr>
              <a:spLocks noChangeArrowheads="1"/>
            </p:cNvSpPr>
            <p:nvPr/>
          </p:nvSpPr>
          <p:spPr bwMode="gray">
            <a:xfrm>
              <a:off x="10458750" y="5353370"/>
              <a:ext cx="188913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Oval 87"/>
            <p:cNvSpPr>
              <a:spLocks noChangeArrowheads="1"/>
            </p:cNvSpPr>
            <p:nvPr/>
          </p:nvSpPr>
          <p:spPr bwMode="gray">
            <a:xfrm>
              <a:off x="10503200" y="5396233"/>
              <a:ext cx="100013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Oval 88"/>
            <p:cNvSpPr>
              <a:spLocks noChangeArrowheads="1"/>
            </p:cNvSpPr>
            <p:nvPr/>
          </p:nvSpPr>
          <p:spPr bwMode="gray">
            <a:xfrm>
              <a:off x="11041362" y="5353370"/>
              <a:ext cx="192088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Oval 89"/>
            <p:cNvSpPr>
              <a:spLocks noChangeArrowheads="1"/>
            </p:cNvSpPr>
            <p:nvPr/>
          </p:nvSpPr>
          <p:spPr bwMode="gray">
            <a:xfrm>
              <a:off x="1083975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Freeform 90"/>
            <p:cNvSpPr>
              <a:spLocks/>
            </p:cNvSpPr>
            <p:nvPr/>
          </p:nvSpPr>
          <p:spPr bwMode="gray">
            <a:xfrm>
              <a:off x="10503200" y="5412108"/>
              <a:ext cx="85725" cy="87312"/>
            </a:xfrm>
            <a:custGeom>
              <a:avLst/>
              <a:gdLst>
                <a:gd name="T0" fmla="*/ 37 w 62"/>
                <a:gd name="T1" fmla="*/ 63 h 63"/>
                <a:gd name="T2" fmla="*/ 62 w 62"/>
                <a:gd name="T3" fmla="*/ 52 h 63"/>
                <a:gd name="T4" fmla="*/ 10 w 62"/>
                <a:gd name="T5" fmla="*/ 0 h 63"/>
                <a:gd name="T6" fmla="*/ 0 w 62"/>
                <a:gd name="T7" fmla="*/ 26 h 63"/>
                <a:gd name="T8" fmla="*/ 37 w 62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63">
                  <a:moveTo>
                    <a:pt x="37" y="63"/>
                  </a:moveTo>
                  <a:cubicBezTo>
                    <a:pt x="47" y="63"/>
                    <a:pt x="56" y="59"/>
                    <a:pt x="62" y="5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6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Freeform 91"/>
            <p:cNvSpPr>
              <a:spLocks/>
            </p:cNvSpPr>
            <p:nvPr/>
          </p:nvSpPr>
          <p:spPr bwMode="gray">
            <a:xfrm>
              <a:off x="10241262" y="5359720"/>
              <a:ext cx="120650" cy="15875"/>
            </a:xfrm>
            <a:custGeom>
              <a:avLst/>
              <a:gdLst>
                <a:gd name="T0" fmla="*/ 81 w 87"/>
                <a:gd name="T1" fmla="*/ 12 h 12"/>
                <a:gd name="T2" fmla="*/ 6 w 87"/>
                <a:gd name="T3" fmla="*/ 12 h 12"/>
                <a:gd name="T4" fmla="*/ 0 w 87"/>
                <a:gd name="T5" fmla="*/ 6 h 12"/>
                <a:gd name="T6" fmla="*/ 6 w 87"/>
                <a:gd name="T7" fmla="*/ 0 h 12"/>
                <a:gd name="T8" fmla="*/ 81 w 87"/>
                <a:gd name="T9" fmla="*/ 0 h 12"/>
                <a:gd name="T10" fmla="*/ 87 w 87"/>
                <a:gd name="T11" fmla="*/ 6 h 12"/>
                <a:gd name="T12" fmla="*/ 81 w 8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2">
                  <a:moveTo>
                    <a:pt x="8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4" y="0"/>
                    <a:pt x="87" y="3"/>
                    <a:pt x="87" y="6"/>
                  </a:cubicBezTo>
                  <a:cubicBezTo>
                    <a:pt x="87" y="9"/>
                    <a:pt x="84" y="12"/>
                    <a:pt x="81" y="12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Freeform 92"/>
            <p:cNvSpPr>
              <a:spLocks/>
            </p:cNvSpPr>
            <p:nvPr/>
          </p:nvSpPr>
          <p:spPr bwMode="gray">
            <a:xfrm>
              <a:off x="10241262" y="5396233"/>
              <a:ext cx="120650" cy="17462"/>
            </a:xfrm>
            <a:custGeom>
              <a:avLst/>
              <a:gdLst>
                <a:gd name="T0" fmla="*/ 81 w 87"/>
                <a:gd name="T1" fmla="*/ 12 h 12"/>
                <a:gd name="T2" fmla="*/ 6 w 87"/>
                <a:gd name="T3" fmla="*/ 12 h 12"/>
                <a:gd name="T4" fmla="*/ 0 w 87"/>
                <a:gd name="T5" fmla="*/ 6 h 12"/>
                <a:gd name="T6" fmla="*/ 6 w 87"/>
                <a:gd name="T7" fmla="*/ 0 h 12"/>
                <a:gd name="T8" fmla="*/ 81 w 87"/>
                <a:gd name="T9" fmla="*/ 0 h 12"/>
                <a:gd name="T10" fmla="*/ 87 w 87"/>
                <a:gd name="T11" fmla="*/ 6 h 12"/>
                <a:gd name="T12" fmla="*/ 81 w 8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2">
                  <a:moveTo>
                    <a:pt x="8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4" y="0"/>
                    <a:pt x="87" y="3"/>
                    <a:pt x="87" y="6"/>
                  </a:cubicBezTo>
                  <a:cubicBezTo>
                    <a:pt x="87" y="10"/>
                    <a:pt x="84" y="12"/>
                    <a:pt x="81" y="12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Freeform 93"/>
            <p:cNvSpPr>
              <a:spLocks/>
            </p:cNvSpPr>
            <p:nvPr/>
          </p:nvSpPr>
          <p:spPr bwMode="gray">
            <a:xfrm>
              <a:off x="10209512" y="5086670"/>
              <a:ext cx="227013" cy="239712"/>
            </a:xfrm>
            <a:custGeom>
              <a:avLst/>
              <a:gdLst>
                <a:gd name="T0" fmla="*/ 31 w 164"/>
                <a:gd name="T1" fmla="*/ 0 h 175"/>
                <a:gd name="T2" fmla="*/ 0 w 164"/>
                <a:gd name="T3" fmla="*/ 175 h 175"/>
                <a:gd name="T4" fmla="*/ 133 w 164"/>
                <a:gd name="T5" fmla="*/ 175 h 175"/>
                <a:gd name="T6" fmla="*/ 164 w 164"/>
                <a:gd name="T7" fmla="*/ 0 h 175"/>
                <a:gd name="T8" fmla="*/ 31 w 164"/>
                <a:gd name="T9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4" h="175">
                  <a:moveTo>
                    <a:pt x="31" y="0"/>
                  </a:moveTo>
                  <a:cubicBezTo>
                    <a:pt x="9" y="49"/>
                    <a:pt x="1" y="119"/>
                    <a:pt x="0" y="175"/>
                  </a:cubicBezTo>
                  <a:cubicBezTo>
                    <a:pt x="133" y="175"/>
                    <a:pt x="133" y="175"/>
                    <a:pt x="133" y="175"/>
                  </a:cubicBezTo>
                  <a:cubicBezTo>
                    <a:pt x="134" y="119"/>
                    <a:pt x="142" y="49"/>
                    <a:pt x="164" y="0"/>
                  </a:cubicBezTo>
                  <a:lnTo>
                    <a:pt x="31" y="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Freeform 94"/>
            <p:cNvSpPr>
              <a:spLocks/>
            </p:cNvSpPr>
            <p:nvPr/>
          </p:nvSpPr>
          <p:spPr bwMode="gray">
            <a:xfrm>
              <a:off x="10209512" y="5086670"/>
              <a:ext cx="185738" cy="239712"/>
            </a:xfrm>
            <a:custGeom>
              <a:avLst/>
              <a:gdLst>
                <a:gd name="T0" fmla="*/ 31 w 134"/>
                <a:gd name="T1" fmla="*/ 0 h 175"/>
                <a:gd name="T2" fmla="*/ 0 w 134"/>
                <a:gd name="T3" fmla="*/ 175 h 175"/>
                <a:gd name="T4" fmla="*/ 133 w 134"/>
                <a:gd name="T5" fmla="*/ 175 h 175"/>
                <a:gd name="T6" fmla="*/ 31 w 134"/>
                <a:gd name="T7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4" h="175">
                  <a:moveTo>
                    <a:pt x="31" y="0"/>
                  </a:moveTo>
                  <a:cubicBezTo>
                    <a:pt x="9" y="49"/>
                    <a:pt x="1" y="119"/>
                    <a:pt x="0" y="175"/>
                  </a:cubicBezTo>
                  <a:cubicBezTo>
                    <a:pt x="133" y="175"/>
                    <a:pt x="133" y="175"/>
                    <a:pt x="133" y="175"/>
                  </a:cubicBezTo>
                  <a:cubicBezTo>
                    <a:pt x="134" y="119"/>
                    <a:pt x="31" y="0"/>
                    <a:pt x="31" y="0"/>
                  </a:cubicBez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8" name="Freeform 95"/>
            <p:cNvSpPr>
              <a:spLocks noEditPoints="1"/>
            </p:cNvSpPr>
            <p:nvPr/>
          </p:nvSpPr>
          <p:spPr bwMode="gray">
            <a:xfrm>
              <a:off x="9257012" y="4496120"/>
              <a:ext cx="280988" cy="279400"/>
            </a:xfrm>
            <a:custGeom>
              <a:avLst/>
              <a:gdLst>
                <a:gd name="T0" fmla="*/ 203 w 203"/>
                <a:gd name="T1" fmla="*/ 93 h 203"/>
                <a:gd name="T2" fmla="*/ 187 w 203"/>
                <a:gd name="T3" fmla="*/ 77 h 203"/>
                <a:gd name="T4" fmla="*/ 192 w 203"/>
                <a:gd name="T5" fmla="*/ 54 h 203"/>
                <a:gd name="T6" fmla="*/ 170 w 203"/>
                <a:gd name="T7" fmla="*/ 46 h 203"/>
                <a:gd name="T8" fmla="*/ 167 w 203"/>
                <a:gd name="T9" fmla="*/ 23 h 203"/>
                <a:gd name="T10" fmla="*/ 144 w 203"/>
                <a:gd name="T11" fmla="*/ 25 h 203"/>
                <a:gd name="T12" fmla="*/ 132 w 203"/>
                <a:gd name="T13" fmla="*/ 4 h 203"/>
                <a:gd name="T14" fmla="*/ 111 w 203"/>
                <a:gd name="T15" fmla="*/ 15 h 203"/>
                <a:gd name="T16" fmla="*/ 92 w 203"/>
                <a:gd name="T17" fmla="*/ 0 h 203"/>
                <a:gd name="T18" fmla="*/ 77 w 203"/>
                <a:gd name="T19" fmla="*/ 18 h 203"/>
                <a:gd name="T20" fmla="*/ 54 w 203"/>
                <a:gd name="T21" fmla="*/ 11 h 203"/>
                <a:gd name="T22" fmla="*/ 47 w 203"/>
                <a:gd name="T23" fmla="*/ 33 h 203"/>
                <a:gd name="T24" fmla="*/ 23 w 203"/>
                <a:gd name="T25" fmla="*/ 36 h 203"/>
                <a:gd name="T26" fmla="*/ 24 w 203"/>
                <a:gd name="T27" fmla="*/ 59 h 203"/>
                <a:gd name="T28" fmla="*/ 4 w 203"/>
                <a:gd name="T29" fmla="*/ 71 h 203"/>
                <a:gd name="T30" fmla="*/ 14 w 203"/>
                <a:gd name="T31" fmla="*/ 93 h 203"/>
                <a:gd name="T32" fmla="*/ 0 w 203"/>
                <a:gd name="T33" fmla="*/ 112 h 203"/>
                <a:gd name="T34" fmla="*/ 16 w 203"/>
                <a:gd name="T35" fmla="*/ 127 h 203"/>
                <a:gd name="T36" fmla="*/ 11 w 203"/>
                <a:gd name="T37" fmla="*/ 149 h 203"/>
                <a:gd name="T38" fmla="*/ 32 w 203"/>
                <a:gd name="T39" fmla="*/ 158 h 203"/>
                <a:gd name="T40" fmla="*/ 36 w 203"/>
                <a:gd name="T41" fmla="*/ 180 h 203"/>
                <a:gd name="T42" fmla="*/ 59 w 203"/>
                <a:gd name="T43" fmla="*/ 180 h 203"/>
                <a:gd name="T44" fmla="*/ 71 w 203"/>
                <a:gd name="T45" fmla="*/ 199 h 203"/>
                <a:gd name="T46" fmla="*/ 92 w 203"/>
                <a:gd name="T47" fmla="*/ 191 h 203"/>
                <a:gd name="T48" fmla="*/ 111 w 203"/>
                <a:gd name="T49" fmla="*/ 203 h 203"/>
                <a:gd name="T50" fmla="*/ 127 w 203"/>
                <a:gd name="T51" fmla="*/ 188 h 203"/>
                <a:gd name="T52" fmla="*/ 149 w 203"/>
                <a:gd name="T53" fmla="*/ 192 h 203"/>
                <a:gd name="T54" fmla="*/ 158 w 203"/>
                <a:gd name="T55" fmla="*/ 171 h 203"/>
                <a:gd name="T56" fmla="*/ 180 w 203"/>
                <a:gd name="T57" fmla="*/ 167 h 203"/>
                <a:gd name="T58" fmla="*/ 180 w 203"/>
                <a:gd name="T59" fmla="*/ 144 h 203"/>
                <a:gd name="T60" fmla="*/ 199 w 203"/>
                <a:gd name="T61" fmla="*/ 132 h 203"/>
                <a:gd name="T62" fmla="*/ 190 w 203"/>
                <a:gd name="T63" fmla="*/ 112 h 203"/>
                <a:gd name="T64" fmla="*/ 57 w 203"/>
                <a:gd name="T65" fmla="*/ 58 h 203"/>
                <a:gd name="T66" fmla="*/ 93 w 203"/>
                <a:gd name="T67" fmla="*/ 73 h 203"/>
                <a:gd name="T68" fmla="*/ 39 w 203"/>
                <a:gd name="T69" fmla="*/ 95 h 203"/>
                <a:gd name="T70" fmla="*/ 93 w 203"/>
                <a:gd name="T71" fmla="*/ 166 h 203"/>
                <a:gd name="T72" fmla="*/ 39 w 203"/>
                <a:gd name="T73" fmla="*/ 111 h 203"/>
                <a:gd name="T74" fmla="*/ 93 w 203"/>
                <a:gd name="T75" fmla="*/ 133 h 203"/>
                <a:gd name="T76" fmla="*/ 89 w 203"/>
                <a:gd name="T77" fmla="*/ 102 h 203"/>
                <a:gd name="T78" fmla="*/ 114 w 203"/>
                <a:gd name="T79" fmla="*/ 102 h 203"/>
                <a:gd name="T80" fmla="*/ 89 w 203"/>
                <a:gd name="T81" fmla="*/ 102 h 203"/>
                <a:gd name="T82" fmla="*/ 110 w 203"/>
                <a:gd name="T83" fmla="*/ 166 h 203"/>
                <a:gd name="T84" fmla="*/ 124 w 203"/>
                <a:gd name="T85" fmla="*/ 125 h 203"/>
                <a:gd name="T86" fmla="*/ 165 w 203"/>
                <a:gd name="T87" fmla="*/ 111 h 203"/>
                <a:gd name="T88" fmla="*/ 132 w 203"/>
                <a:gd name="T89" fmla="*/ 95 h 203"/>
                <a:gd name="T90" fmla="*/ 110 w 203"/>
                <a:gd name="T91" fmla="*/ 40 h 203"/>
                <a:gd name="T92" fmla="*/ 165 w 203"/>
                <a:gd name="T93" fmla="*/ 9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3" h="203">
                  <a:moveTo>
                    <a:pt x="203" y="112"/>
                  </a:moveTo>
                  <a:cubicBezTo>
                    <a:pt x="203" y="93"/>
                    <a:pt x="203" y="93"/>
                    <a:pt x="203" y="93"/>
                  </a:cubicBezTo>
                  <a:cubicBezTo>
                    <a:pt x="190" y="93"/>
                    <a:pt x="190" y="93"/>
                    <a:pt x="190" y="93"/>
                  </a:cubicBezTo>
                  <a:cubicBezTo>
                    <a:pt x="189" y="88"/>
                    <a:pt x="188" y="82"/>
                    <a:pt x="187" y="77"/>
                  </a:cubicBezTo>
                  <a:cubicBezTo>
                    <a:pt x="199" y="72"/>
                    <a:pt x="199" y="72"/>
                    <a:pt x="199" y="72"/>
                  </a:cubicBezTo>
                  <a:cubicBezTo>
                    <a:pt x="192" y="54"/>
                    <a:pt x="192" y="54"/>
                    <a:pt x="192" y="54"/>
                  </a:cubicBezTo>
                  <a:cubicBezTo>
                    <a:pt x="179" y="60"/>
                    <a:pt x="179" y="60"/>
                    <a:pt x="179" y="60"/>
                  </a:cubicBezTo>
                  <a:cubicBezTo>
                    <a:pt x="177" y="55"/>
                    <a:pt x="174" y="51"/>
                    <a:pt x="170" y="46"/>
                  </a:cubicBezTo>
                  <a:cubicBezTo>
                    <a:pt x="180" y="36"/>
                    <a:pt x="180" y="36"/>
                    <a:pt x="180" y="36"/>
                  </a:cubicBezTo>
                  <a:cubicBezTo>
                    <a:pt x="167" y="23"/>
                    <a:pt x="167" y="23"/>
                    <a:pt x="167" y="23"/>
                  </a:cubicBezTo>
                  <a:cubicBezTo>
                    <a:pt x="157" y="33"/>
                    <a:pt x="157" y="33"/>
                    <a:pt x="157" y="33"/>
                  </a:cubicBezTo>
                  <a:cubicBezTo>
                    <a:pt x="153" y="30"/>
                    <a:pt x="148" y="27"/>
                    <a:pt x="144" y="25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32" y="4"/>
                    <a:pt x="132" y="4"/>
                    <a:pt x="132" y="4"/>
                  </a:cubicBezTo>
                  <a:cubicBezTo>
                    <a:pt x="127" y="18"/>
                    <a:pt x="127" y="18"/>
                    <a:pt x="127" y="18"/>
                  </a:cubicBezTo>
                  <a:cubicBezTo>
                    <a:pt x="122" y="16"/>
                    <a:pt x="116" y="15"/>
                    <a:pt x="111" y="15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5"/>
                    <a:pt x="92" y="15"/>
                    <a:pt x="92" y="15"/>
                  </a:cubicBezTo>
                  <a:cubicBezTo>
                    <a:pt x="87" y="15"/>
                    <a:pt x="82" y="16"/>
                    <a:pt x="77" y="18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55" y="27"/>
                    <a:pt x="51" y="30"/>
                    <a:pt x="47" y="33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0" y="51"/>
                    <a:pt x="27" y="55"/>
                    <a:pt x="24" y="59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4" y="71"/>
                    <a:pt x="4" y="71"/>
                    <a:pt x="4" y="71"/>
                  </a:cubicBezTo>
                  <a:cubicBezTo>
                    <a:pt x="17" y="77"/>
                    <a:pt x="17" y="77"/>
                    <a:pt x="17" y="77"/>
                  </a:cubicBezTo>
                  <a:cubicBezTo>
                    <a:pt x="15" y="82"/>
                    <a:pt x="14" y="88"/>
                    <a:pt x="14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14" y="112"/>
                    <a:pt x="14" y="112"/>
                    <a:pt x="14" y="112"/>
                  </a:cubicBezTo>
                  <a:cubicBezTo>
                    <a:pt x="14" y="117"/>
                    <a:pt x="15" y="122"/>
                    <a:pt x="16" y="127"/>
                  </a:cubicBezTo>
                  <a:cubicBezTo>
                    <a:pt x="4" y="132"/>
                    <a:pt x="4" y="132"/>
                    <a:pt x="4" y="132"/>
                  </a:cubicBezTo>
                  <a:cubicBezTo>
                    <a:pt x="11" y="149"/>
                    <a:pt x="11" y="149"/>
                    <a:pt x="11" y="149"/>
                  </a:cubicBezTo>
                  <a:cubicBezTo>
                    <a:pt x="23" y="144"/>
                    <a:pt x="23" y="144"/>
                    <a:pt x="23" y="144"/>
                  </a:cubicBezTo>
                  <a:cubicBezTo>
                    <a:pt x="26" y="149"/>
                    <a:pt x="29" y="154"/>
                    <a:pt x="32" y="158"/>
                  </a:cubicBezTo>
                  <a:cubicBezTo>
                    <a:pt x="23" y="167"/>
                    <a:pt x="23" y="167"/>
                    <a:pt x="23" y="167"/>
                  </a:cubicBezTo>
                  <a:cubicBezTo>
                    <a:pt x="36" y="180"/>
                    <a:pt x="36" y="180"/>
                    <a:pt x="36" y="180"/>
                  </a:cubicBezTo>
                  <a:cubicBezTo>
                    <a:pt x="45" y="171"/>
                    <a:pt x="45" y="171"/>
                    <a:pt x="45" y="171"/>
                  </a:cubicBezTo>
                  <a:cubicBezTo>
                    <a:pt x="50" y="175"/>
                    <a:pt x="54" y="178"/>
                    <a:pt x="59" y="180"/>
                  </a:cubicBezTo>
                  <a:cubicBezTo>
                    <a:pt x="54" y="192"/>
                    <a:pt x="54" y="192"/>
                    <a:pt x="54" y="192"/>
                  </a:cubicBezTo>
                  <a:cubicBezTo>
                    <a:pt x="71" y="199"/>
                    <a:pt x="71" y="199"/>
                    <a:pt x="71" y="199"/>
                  </a:cubicBezTo>
                  <a:cubicBezTo>
                    <a:pt x="76" y="188"/>
                    <a:pt x="76" y="188"/>
                    <a:pt x="76" y="188"/>
                  </a:cubicBezTo>
                  <a:cubicBezTo>
                    <a:pt x="81" y="189"/>
                    <a:pt x="87" y="190"/>
                    <a:pt x="92" y="191"/>
                  </a:cubicBezTo>
                  <a:cubicBezTo>
                    <a:pt x="92" y="203"/>
                    <a:pt x="92" y="203"/>
                    <a:pt x="92" y="203"/>
                  </a:cubicBezTo>
                  <a:cubicBezTo>
                    <a:pt x="111" y="203"/>
                    <a:pt x="111" y="203"/>
                    <a:pt x="111" y="203"/>
                  </a:cubicBezTo>
                  <a:cubicBezTo>
                    <a:pt x="111" y="191"/>
                    <a:pt x="111" y="191"/>
                    <a:pt x="111" y="191"/>
                  </a:cubicBezTo>
                  <a:cubicBezTo>
                    <a:pt x="117" y="190"/>
                    <a:pt x="122" y="189"/>
                    <a:pt x="127" y="188"/>
                  </a:cubicBezTo>
                  <a:cubicBezTo>
                    <a:pt x="132" y="199"/>
                    <a:pt x="132" y="199"/>
                    <a:pt x="132" y="199"/>
                  </a:cubicBezTo>
                  <a:cubicBezTo>
                    <a:pt x="149" y="192"/>
                    <a:pt x="149" y="192"/>
                    <a:pt x="149" y="192"/>
                  </a:cubicBezTo>
                  <a:cubicBezTo>
                    <a:pt x="144" y="181"/>
                    <a:pt x="144" y="181"/>
                    <a:pt x="144" y="181"/>
                  </a:cubicBezTo>
                  <a:cubicBezTo>
                    <a:pt x="149" y="178"/>
                    <a:pt x="154" y="175"/>
                    <a:pt x="158" y="171"/>
                  </a:cubicBezTo>
                  <a:cubicBezTo>
                    <a:pt x="167" y="180"/>
                    <a:pt x="167" y="180"/>
                    <a:pt x="167" y="180"/>
                  </a:cubicBezTo>
                  <a:cubicBezTo>
                    <a:pt x="180" y="167"/>
                    <a:pt x="180" y="167"/>
                    <a:pt x="180" y="167"/>
                  </a:cubicBezTo>
                  <a:cubicBezTo>
                    <a:pt x="171" y="158"/>
                    <a:pt x="171" y="158"/>
                    <a:pt x="171" y="158"/>
                  </a:cubicBezTo>
                  <a:cubicBezTo>
                    <a:pt x="175" y="154"/>
                    <a:pt x="178" y="149"/>
                    <a:pt x="180" y="144"/>
                  </a:cubicBezTo>
                  <a:cubicBezTo>
                    <a:pt x="192" y="149"/>
                    <a:pt x="192" y="149"/>
                    <a:pt x="192" y="149"/>
                  </a:cubicBezTo>
                  <a:cubicBezTo>
                    <a:pt x="199" y="132"/>
                    <a:pt x="199" y="132"/>
                    <a:pt x="199" y="132"/>
                  </a:cubicBezTo>
                  <a:cubicBezTo>
                    <a:pt x="187" y="127"/>
                    <a:pt x="187" y="127"/>
                    <a:pt x="187" y="127"/>
                  </a:cubicBezTo>
                  <a:cubicBezTo>
                    <a:pt x="188" y="122"/>
                    <a:pt x="189" y="117"/>
                    <a:pt x="190" y="112"/>
                  </a:cubicBezTo>
                  <a:lnTo>
                    <a:pt x="203" y="112"/>
                  </a:lnTo>
                  <a:close/>
                  <a:moveTo>
                    <a:pt x="57" y="58"/>
                  </a:moveTo>
                  <a:cubicBezTo>
                    <a:pt x="67" y="48"/>
                    <a:pt x="80" y="41"/>
                    <a:pt x="93" y="40"/>
                  </a:cubicBezTo>
                  <a:cubicBezTo>
                    <a:pt x="93" y="73"/>
                    <a:pt x="93" y="73"/>
                    <a:pt x="93" y="73"/>
                  </a:cubicBezTo>
                  <a:cubicBezTo>
                    <a:pt x="83" y="76"/>
                    <a:pt x="75" y="84"/>
                    <a:pt x="72" y="95"/>
                  </a:cubicBezTo>
                  <a:cubicBezTo>
                    <a:pt x="39" y="95"/>
                    <a:pt x="39" y="95"/>
                    <a:pt x="39" y="95"/>
                  </a:cubicBezTo>
                  <a:cubicBezTo>
                    <a:pt x="40" y="81"/>
                    <a:pt x="47" y="68"/>
                    <a:pt x="57" y="58"/>
                  </a:cubicBezTo>
                  <a:close/>
                  <a:moveTo>
                    <a:pt x="93" y="166"/>
                  </a:moveTo>
                  <a:cubicBezTo>
                    <a:pt x="80" y="164"/>
                    <a:pt x="67" y="158"/>
                    <a:pt x="57" y="148"/>
                  </a:cubicBezTo>
                  <a:cubicBezTo>
                    <a:pt x="47" y="138"/>
                    <a:pt x="40" y="125"/>
                    <a:pt x="39" y="111"/>
                  </a:cubicBezTo>
                  <a:cubicBezTo>
                    <a:pt x="72" y="111"/>
                    <a:pt x="72" y="111"/>
                    <a:pt x="72" y="111"/>
                  </a:cubicBezTo>
                  <a:cubicBezTo>
                    <a:pt x="75" y="122"/>
                    <a:pt x="83" y="130"/>
                    <a:pt x="93" y="133"/>
                  </a:cubicBezTo>
                  <a:lnTo>
                    <a:pt x="93" y="166"/>
                  </a:lnTo>
                  <a:close/>
                  <a:moveTo>
                    <a:pt x="89" y="102"/>
                  </a:moveTo>
                  <a:cubicBezTo>
                    <a:pt x="89" y="95"/>
                    <a:pt x="95" y="89"/>
                    <a:pt x="102" y="89"/>
                  </a:cubicBezTo>
                  <a:cubicBezTo>
                    <a:pt x="109" y="89"/>
                    <a:pt x="114" y="95"/>
                    <a:pt x="114" y="102"/>
                  </a:cubicBezTo>
                  <a:cubicBezTo>
                    <a:pt x="114" y="109"/>
                    <a:pt x="109" y="114"/>
                    <a:pt x="102" y="114"/>
                  </a:cubicBezTo>
                  <a:cubicBezTo>
                    <a:pt x="95" y="114"/>
                    <a:pt x="89" y="109"/>
                    <a:pt x="89" y="102"/>
                  </a:cubicBezTo>
                  <a:close/>
                  <a:moveTo>
                    <a:pt x="147" y="148"/>
                  </a:moveTo>
                  <a:cubicBezTo>
                    <a:pt x="137" y="158"/>
                    <a:pt x="124" y="164"/>
                    <a:pt x="110" y="166"/>
                  </a:cubicBezTo>
                  <a:cubicBezTo>
                    <a:pt x="110" y="133"/>
                    <a:pt x="110" y="133"/>
                    <a:pt x="110" y="133"/>
                  </a:cubicBezTo>
                  <a:cubicBezTo>
                    <a:pt x="115" y="131"/>
                    <a:pt x="120" y="129"/>
                    <a:pt x="124" y="125"/>
                  </a:cubicBezTo>
                  <a:cubicBezTo>
                    <a:pt x="128" y="121"/>
                    <a:pt x="130" y="116"/>
                    <a:pt x="132" y="111"/>
                  </a:cubicBezTo>
                  <a:cubicBezTo>
                    <a:pt x="165" y="111"/>
                    <a:pt x="165" y="111"/>
                    <a:pt x="165" y="111"/>
                  </a:cubicBezTo>
                  <a:cubicBezTo>
                    <a:pt x="163" y="125"/>
                    <a:pt x="157" y="138"/>
                    <a:pt x="147" y="148"/>
                  </a:cubicBezTo>
                  <a:close/>
                  <a:moveTo>
                    <a:pt x="132" y="95"/>
                  </a:moveTo>
                  <a:cubicBezTo>
                    <a:pt x="129" y="84"/>
                    <a:pt x="121" y="76"/>
                    <a:pt x="110" y="73"/>
                  </a:cubicBezTo>
                  <a:cubicBezTo>
                    <a:pt x="110" y="40"/>
                    <a:pt x="110" y="40"/>
                    <a:pt x="110" y="40"/>
                  </a:cubicBezTo>
                  <a:cubicBezTo>
                    <a:pt x="124" y="41"/>
                    <a:pt x="137" y="48"/>
                    <a:pt x="147" y="58"/>
                  </a:cubicBezTo>
                  <a:cubicBezTo>
                    <a:pt x="157" y="68"/>
                    <a:pt x="163" y="81"/>
                    <a:pt x="165" y="95"/>
                  </a:cubicBezTo>
                  <a:lnTo>
                    <a:pt x="132" y="95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Freeform 96"/>
            <p:cNvSpPr>
              <a:spLocks noEditPoints="1"/>
            </p:cNvSpPr>
            <p:nvPr/>
          </p:nvSpPr>
          <p:spPr bwMode="gray">
            <a:xfrm>
              <a:off x="9109375" y="4723133"/>
              <a:ext cx="254000" cy="254000"/>
            </a:xfrm>
            <a:custGeom>
              <a:avLst/>
              <a:gdLst>
                <a:gd name="T0" fmla="*/ 184 w 184"/>
                <a:gd name="T1" fmla="*/ 112 h 185"/>
                <a:gd name="T2" fmla="*/ 161 w 184"/>
                <a:gd name="T3" fmla="*/ 89 h 185"/>
                <a:gd name="T4" fmla="*/ 181 w 184"/>
                <a:gd name="T5" fmla="*/ 63 h 185"/>
                <a:gd name="T6" fmla="*/ 150 w 184"/>
                <a:gd name="T7" fmla="*/ 55 h 185"/>
                <a:gd name="T8" fmla="*/ 155 w 184"/>
                <a:gd name="T9" fmla="*/ 22 h 185"/>
                <a:gd name="T10" fmla="*/ 123 w 184"/>
                <a:gd name="T11" fmla="*/ 31 h 185"/>
                <a:gd name="T12" fmla="*/ 111 w 184"/>
                <a:gd name="T13" fmla="*/ 0 h 185"/>
                <a:gd name="T14" fmla="*/ 88 w 184"/>
                <a:gd name="T15" fmla="*/ 23 h 185"/>
                <a:gd name="T16" fmla="*/ 63 w 184"/>
                <a:gd name="T17" fmla="*/ 3 h 185"/>
                <a:gd name="T18" fmla="*/ 54 w 184"/>
                <a:gd name="T19" fmla="*/ 34 h 185"/>
                <a:gd name="T20" fmla="*/ 22 w 184"/>
                <a:gd name="T21" fmla="*/ 29 h 185"/>
                <a:gd name="T22" fmla="*/ 30 w 184"/>
                <a:gd name="T23" fmla="*/ 61 h 185"/>
                <a:gd name="T24" fmla="*/ 0 w 184"/>
                <a:gd name="T25" fmla="*/ 73 h 185"/>
                <a:gd name="T26" fmla="*/ 23 w 184"/>
                <a:gd name="T27" fmla="*/ 96 h 185"/>
                <a:gd name="T28" fmla="*/ 2 w 184"/>
                <a:gd name="T29" fmla="*/ 121 h 185"/>
                <a:gd name="T30" fmla="*/ 34 w 184"/>
                <a:gd name="T31" fmla="*/ 130 h 185"/>
                <a:gd name="T32" fmla="*/ 29 w 184"/>
                <a:gd name="T33" fmla="*/ 162 h 185"/>
                <a:gd name="T34" fmla="*/ 60 w 184"/>
                <a:gd name="T35" fmla="*/ 154 h 185"/>
                <a:gd name="T36" fmla="*/ 72 w 184"/>
                <a:gd name="T37" fmla="*/ 185 h 185"/>
                <a:gd name="T38" fmla="*/ 95 w 184"/>
                <a:gd name="T39" fmla="*/ 161 h 185"/>
                <a:gd name="T40" fmla="*/ 121 w 184"/>
                <a:gd name="T41" fmla="*/ 182 h 185"/>
                <a:gd name="T42" fmla="*/ 129 w 184"/>
                <a:gd name="T43" fmla="*/ 150 h 185"/>
                <a:gd name="T44" fmla="*/ 162 w 184"/>
                <a:gd name="T45" fmla="*/ 156 h 185"/>
                <a:gd name="T46" fmla="*/ 153 w 184"/>
                <a:gd name="T47" fmla="*/ 124 h 185"/>
                <a:gd name="T48" fmla="*/ 184 w 184"/>
                <a:gd name="T49" fmla="*/ 112 h 185"/>
                <a:gd name="T50" fmla="*/ 92 w 184"/>
                <a:gd name="T51" fmla="*/ 115 h 185"/>
                <a:gd name="T52" fmla="*/ 69 w 184"/>
                <a:gd name="T53" fmla="*/ 92 h 185"/>
                <a:gd name="T54" fmla="*/ 92 w 184"/>
                <a:gd name="T55" fmla="*/ 70 h 185"/>
                <a:gd name="T56" fmla="*/ 114 w 184"/>
                <a:gd name="T57" fmla="*/ 92 h 185"/>
                <a:gd name="T58" fmla="*/ 92 w 184"/>
                <a:gd name="T59" fmla="*/ 115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84" h="185">
                  <a:moveTo>
                    <a:pt x="184" y="112"/>
                  </a:moveTo>
                  <a:cubicBezTo>
                    <a:pt x="161" y="89"/>
                    <a:pt x="161" y="89"/>
                    <a:pt x="161" y="89"/>
                  </a:cubicBezTo>
                  <a:cubicBezTo>
                    <a:pt x="181" y="63"/>
                    <a:pt x="181" y="63"/>
                    <a:pt x="181" y="63"/>
                  </a:cubicBezTo>
                  <a:cubicBezTo>
                    <a:pt x="150" y="55"/>
                    <a:pt x="150" y="55"/>
                    <a:pt x="150" y="55"/>
                  </a:cubicBezTo>
                  <a:cubicBezTo>
                    <a:pt x="155" y="22"/>
                    <a:pt x="155" y="22"/>
                    <a:pt x="155" y="22"/>
                  </a:cubicBezTo>
                  <a:cubicBezTo>
                    <a:pt x="123" y="31"/>
                    <a:pt x="123" y="31"/>
                    <a:pt x="123" y="31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88" y="23"/>
                    <a:pt x="88" y="23"/>
                    <a:pt x="88" y="23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54" y="34"/>
                    <a:pt x="54" y="34"/>
                    <a:pt x="54" y="34"/>
                  </a:cubicBezTo>
                  <a:cubicBezTo>
                    <a:pt x="22" y="29"/>
                    <a:pt x="22" y="29"/>
                    <a:pt x="22" y="29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23" y="96"/>
                    <a:pt x="23" y="96"/>
                    <a:pt x="23" y="96"/>
                  </a:cubicBezTo>
                  <a:cubicBezTo>
                    <a:pt x="2" y="121"/>
                    <a:pt x="2" y="121"/>
                    <a:pt x="2" y="121"/>
                  </a:cubicBezTo>
                  <a:cubicBezTo>
                    <a:pt x="34" y="130"/>
                    <a:pt x="34" y="130"/>
                    <a:pt x="34" y="130"/>
                  </a:cubicBezTo>
                  <a:cubicBezTo>
                    <a:pt x="29" y="162"/>
                    <a:pt x="29" y="162"/>
                    <a:pt x="29" y="162"/>
                  </a:cubicBezTo>
                  <a:cubicBezTo>
                    <a:pt x="60" y="154"/>
                    <a:pt x="60" y="154"/>
                    <a:pt x="60" y="154"/>
                  </a:cubicBezTo>
                  <a:cubicBezTo>
                    <a:pt x="72" y="185"/>
                    <a:pt x="72" y="185"/>
                    <a:pt x="72" y="185"/>
                  </a:cubicBezTo>
                  <a:cubicBezTo>
                    <a:pt x="95" y="161"/>
                    <a:pt x="95" y="161"/>
                    <a:pt x="95" y="161"/>
                  </a:cubicBezTo>
                  <a:cubicBezTo>
                    <a:pt x="121" y="182"/>
                    <a:pt x="121" y="182"/>
                    <a:pt x="121" y="182"/>
                  </a:cubicBezTo>
                  <a:cubicBezTo>
                    <a:pt x="129" y="150"/>
                    <a:pt x="129" y="150"/>
                    <a:pt x="129" y="150"/>
                  </a:cubicBezTo>
                  <a:cubicBezTo>
                    <a:pt x="162" y="156"/>
                    <a:pt x="162" y="156"/>
                    <a:pt x="162" y="156"/>
                  </a:cubicBezTo>
                  <a:cubicBezTo>
                    <a:pt x="153" y="124"/>
                    <a:pt x="153" y="124"/>
                    <a:pt x="153" y="124"/>
                  </a:cubicBezTo>
                  <a:lnTo>
                    <a:pt x="184" y="112"/>
                  </a:lnTo>
                  <a:close/>
                  <a:moveTo>
                    <a:pt x="92" y="115"/>
                  </a:moveTo>
                  <a:cubicBezTo>
                    <a:pt x="79" y="115"/>
                    <a:pt x="69" y="105"/>
                    <a:pt x="69" y="92"/>
                  </a:cubicBezTo>
                  <a:cubicBezTo>
                    <a:pt x="69" y="80"/>
                    <a:pt x="79" y="70"/>
                    <a:pt x="92" y="70"/>
                  </a:cubicBezTo>
                  <a:cubicBezTo>
                    <a:pt x="104" y="70"/>
                    <a:pt x="114" y="80"/>
                    <a:pt x="114" y="92"/>
                  </a:cubicBezTo>
                  <a:cubicBezTo>
                    <a:pt x="114" y="105"/>
                    <a:pt x="104" y="115"/>
                    <a:pt x="92" y="115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Freeform 97"/>
            <p:cNvSpPr>
              <a:spLocks noEditPoints="1"/>
            </p:cNvSpPr>
            <p:nvPr/>
          </p:nvSpPr>
          <p:spPr bwMode="gray">
            <a:xfrm>
              <a:off x="9464975" y="4650108"/>
              <a:ext cx="358775" cy="355600"/>
            </a:xfrm>
            <a:custGeom>
              <a:avLst/>
              <a:gdLst>
                <a:gd name="T0" fmla="*/ 247 w 259"/>
                <a:gd name="T1" fmla="*/ 139 h 259"/>
                <a:gd name="T2" fmla="*/ 228 w 259"/>
                <a:gd name="T3" fmla="*/ 133 h 259"/>
                <a:gd name="T4" fmla="*/ 224 w 259"/>
                <a:gd name="T5" fmla="*/ 103 h 259"/>
                <a:gd name="T6" fmla="*/ 241 w 259"/>
                <a:gd name="T7" fmla="*/ 94 h 259"/>
                <a:gd name="T8" fmla="*/ 247 w 259"/>
                <a:gd name="T9" fmla="*/ 73 h 259"/>
                <a:gd name="T10" fmla="*/ 239 w 259"/>
                <a:gd name="T11" fmla="*/ 59 h 259"/>
                <a:gd name="T12" fmla="*/ 219 w 259"/>
                <a:gd name="T13" fmla="*/ 53 h 259"/>
                <a:gd name="T14" fmla="*/ 202 w 259"/>
                <a:gd name="T15" fmla="*/ 63 h 259"/>
                <a:gd name="T16" fmla="*/ 178 w 259"/>
                <a:gd name="T17" fmla="*/ 44 h 259"/>
                <a:gd name="T18" fmla="*/ 183 w 259"/>
                <a:gd name="T19" fmla="*/ 25 h 259"/>
                <a:gd name="T20" fmla="*/ 173 w 259"/>
                <a:gd name="T21" fmla="*/ 7 h 259"/>
                <a:gd name="T22" fmla="*/ 157 w 259"/>
                <a:gd name="T23" fmla="*/ 2 h 259"/>
                <a:gd name="T24" fmla="*/ 138 w 259"/>
                <a:gd name="T25" fmla="*/ 12 h 259"/>
                <a:gd name="T26" fmla="*/ 133 w 259"/>
                <a:gd name="T27" fmla="*/ 31 h 259"/>
                <a:gd name="T28" fmla="*/ 103 w 259"/>
                <a:gd name="T29" fmla="*/ 35 h 259"/>
                <a:gd name="T30" fmla="*/ 93 w 259"/>
                <a:gd name="T31" fmla="*/ 18 h 259"/>
                <a:gd name="T32" fmla="*/ 73 w 259"/>
                <a:gd name="T33" fmla="*/ 12 h 259"/>
                <a:gd name="T34" fmla="*/ 59 w 259"/>
                <a:gd name="T35" fmla="*/ 20 h 259"/>
                <a:gd name="T36" fmla="*/ 53 w 259"/>
                <a:gd name="T37" fmla="*/ 40 h 259"/>
                <a:gd name="T38" fmla="*/ 63 w 259"/>
                <a:gd name="T39" fmla="*/ 58 h 259"/>
                <a:gd name="T40" fmla="*/ 44 w 259"/>
                <a:gd name="T41" fmla="*/ 81 h 259"/>
                <a:gd name="T42" fmla="*/ 25 w 259"/>
                <a:gd name="T43" fmla="*/ 76 h 259"/>
                <a:gd name="T44" fmla="*/ 7 w 259"/>
                <a:gd name="T45" fmla="*/ 86 h 259"/>
                <a:gd name="T46" fmla="*/ 2 w 259"/>
                <a:gd name="T47" fmla="*/ 103 h 259"/>
                <a:gd name="T48" fmla="*/ 12 w 259"/>
                <a:gd name="T49" fmla="*/ 121 h 259"/>
                <a:gd name="T50" fmla="*/ 31 w 259"/>
                <a:gd name="T51" fmla="*/ 126 h 259"/>
                <a:gd name="T52" fmla="*/ 35 w 259"/>
                <a:gd name="T53" fmla="*/ 156 h 259"/>
                <a:gd name="T54" fmla="*/ 18 w 259"/>
                <a:gd name="T55" fmla="*/ 166 h 259"/>
                <a:gd name="T56" fmla="*/ 12 w 259"/>
                <a:gd name="T57" fmla="*/ 186 h 259"/>
                <a:gd name="T58" fmla="*/ 20 w 259"/>
                <a:gd name="T59" fmla="*/ 201 h 259"/>
                <a:gd name="T60" fmla="*/ 40 w 259"/>
                <a:gd name="T61" fmla="*/ 206 h 259"/>
                <a:gd name="T62" fmla="*/ 58 w 259"/>
                <a:gd name="T63" fmla="*/ 197 h 259"/>
                <a:gd name="T64" fmla="*/ 81 w 259"/>
                <a:gd name="T65" fmla="*/ 215 h 259"/>
                <a:gd name="T66" fmla="*/ 76 w 259"/>
                <a:gd name="T67" fmla="*/ 234 h 259"/>
                <a:gd name="T68" fmla="*/ 86 w 259"/>
                <a:gd name="T69" fmla="*/ 253 h 259"/>
                <a:gd name="T70" fmla="*/ 102 w 259"/>
                <a:gd name="T71" fmla="*/ 257 h 259"/>
                <a:gd name="T72" fmla="*/ 121 w 259"/>
                <a:gd name="T73" fmla="*/ 247 h 259"/>
                <a:gd name="T74" fmla="*/ 126 w 259"/>
                <a:gd name="T75" fmla="*/ 228 h 259"/>
                <a:gd name="T76" fmla="*/ 156 w 259"/>
                <a:gd name="T77" fmla="*/ 224 h 259"/>
                <a:gd name="T78" fmla="*/ 166 w 259"/>
                <a:gd name="T79" fmla="*/ 242 h 259"/>
                <a:gd name="T80" fmla="*/ 186 w 259"/>
                <a:gd name="T81" fmla="*/ 247 h 259"/>
                <a:gd name="T82" fmla="*/ 200 w 259"/>
                <a:gd name="T83" fmla="*/ 239 h 259"/>
                <a:gd name="T84" fmla="*/ 206 w 259"/>
                <a:gd name="T85" fmla="*/ 219 h 259"/>
                <a:gd name="T86" fmla="*/ 197 w 259"/>
                <a:gd name="T87" fmla="*/ 202 h 259"/>
                <a:gd name="T88" fmla="*/ 215 w 259"/>
                <a:gd name="T89" fmla="*/ 178 h 259"/>
                <a:gd name="T90" fmla="*/ 234 w 259"/>
                <a:gd name="T91" fmla="*/ 183 h 259"/>
                <a:gd name="T92" fmla="*/ 252 w 259"/>
                <a:gd name="T93" fmla="*/ 173 h 259"/>
                <a:gd name="T94" fmla="*/ 257 w 259"/>
                <a:gd name="T95" fmla="*/ 157 h 259"/>
                <a:gd name="T96" fmla="*/ 247 w 259"/>
                <a:gd name="T97" fmla="*/ 139 h 259"/>
                <a:gd name="T98" fmla="*/ 116 w 259"/>
                <a:gd name="T99" fmla="*/ 178 h 259"/>
                <a:gd name="T100" fmla="*/ 82 w 259"/>
                <a:gd name="T101" fmla="*/ 116 h 259"/>
                <a:gd name="T102" fmla="*/ 143 w 259"/>
                <a:gd name="T103" fmla="*/ 82 h 259"/>
                <a:gd name="T104" fmla="*/ 177 w 259"/>
                <a:gd name="T105" fmla="*/ 143 h 259"/>
                <a:gd name="T106" fmla="*/ 116 w 259"/>
                <a:gd name="T107" fmla="*/ 178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59" h="259">
                  <a:moveTo>
                    <a:pt x="247" y="139"/>
                  </a:moveTo>
                  <a:cubicBezTo>
                    <a:pt x="228" y="133"/>
                    <a:pt x="228" y="133"/>
                    <a:pt x="228" y="133"/>
                  </a:cubicBezTo>
                  <a:cubicBezTo>
                    <a:pt x="228" y="123"/>
                    <a:pt x="227" y="113"/>
                    <a:pt x="224" y="103"/>
                  </a:cubicBezTo>
                  <a:cubicBezTo>
                    <a:pt x="241" y="94"/>
                    <a:pt x="241" y="94"/>
                    <a:pt x="241" y="94"/>
                  </a:cubicBezTo>
                  <a:cubicBezTo>
                    <a:pt x="249" y="90"/>
                    <a:pt x="251" y="81"/>
                    <a:pt x="247" y="73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5" y="52"/>
                    <a:pt x="226" y="49"/>
                    <a:pt x="219" y="53"/>
                  </a:cubicBezTo>
                  <a:cubicBezTo>
                    <a:pt x="202" y="63"/>
                    <a:pt x="202" y="63"/>
                    <a:pt x="202" y="63"/>
                  </a:cubicBezTo>
                  <a:cubicBezTo>
                    <a:pt x="195" y="55"/>
                    <a:pt x="187" y="49"/>
                    <a:pt x="178" y="44"/>
                  </a:cubicBezTo>
                  <a:cubicBezTo>
                    <a:pt x="183" y="25"/>
                    <a:pt x="183" y="25"/>
                    <a:pt x="183" y="25"/>
                  </a:cubicBezTo>
                  <a:cubicBezTo>
                    <a:pt x="185" y="17"/>
                    <a:pt x="181" y="9"/>
                    <a:pt x="173" y="7"/>
                  </a:cubicBezTo>
                  <a:cubicBezTo>
                    <a:pt x="157" y="2"/>
                    <a:pt x="157" y="2"/>
                    <a:pt x="157" y="2"/>
                  </a:cubicBezTo>
                  <a:cubicBezTo>
                    <a:pt x="149" y="0"/>
                    <a:pt x="141" y="5"/>
                    <a:pt x="138" y="12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23" y="31"/>
                    <a:pt x="113" y="32"/>
                    <a:pt x="103" y="35"/>
                  </a:cubicBezTo>
                  <a:cubicBezTo>
                    <a:pt x="93" y="18"/>
                    <a:pt x="93" y="18"/>
                    <a:pt x="93" y="18"/>
                  </a:cubicBezTo>
                  <a:cubicBezTo>
                    <a:pt x="90" y="11"/>
                    <a:pt x="80" y="8"/>
                    <a:pt x="73" y="12"/>
                  </a:cubicBezTo>
                  <a:cubicBezTo>
                    <a:pt x="59" y="20"/>
                    <a:pt x="59" y="20"/>
                    <a:pt x="59" y="20"/>
                  </a:cubicBezTo>
                  <a:cubicBezTo>
                    <a:pt x="51" y="24"/>
                    <a:pt x="49" y="33"/>
                    <a:pt x="53" y="40"/>
                  </a:cubicBezTo>
                  <a:cubicBezTo>
                    <a:pt x="63" y="58"/>
                    <a:pt x="63" y="58"/>
                    <a:pt x="63" y="58"/>
                  </a:cubicBezTo>
                  <a:cubicBezTo>
                    <a:pt x="55" y="64"/>
                    <a:pt x="49" y="72"/>
                    <a:pt x="44" y="81"/>
                  </a:cubicBezTo>
                  <a:cubicBezTo>
                    <a:pt x="25" y="76"/>
                    <a:pt x="25" y="76"/>
                    <a:pt x="25" y="76"/>
                  </a:cubicBezTo>
                  <a:cubicBezTo>
                    <a:pt x="17" y="74"/>
                    <a:pt x="9" y="78"/>
                    <a:pt x="7" y="86"/>
                  </a:cubicBezTo>
                  <a:cubicBezTo>
                    <a:pt x="2" y="103"/>
                    <a:pt x="2" y="103"/>
                    <a:pt x="2" y="103"/>
                  </a:cubicBezTo>
                  <a:cubicBezTo>
                    <a:pt x="0" y="110"/>
                    <a:pt x="4" y="119"/>
                    <a:pt x="12" y="121"/>
                  </a:cubicBezTo>
                  <a:cubicBezTo>
                    <a:pt x="31" y="126"/>
                    <a:pt x="31" y="126"/>
                    <a:pt x="31" y="126"/>
                  </a:cubicBezTo>
                  <a:cubicBezTo>
                    <a:pt x="31" y="136"/>
                    <a:pt x="32" y="146"/>
                    <a:pt x="35" y="156"/>
                  </a:cubicBezTo>
                  <a:cubicBezTo>
                    <a:pt x="18" y="166"/>
                    <a:pt x="18" y="166"/>
                    <a:pt x="18" y="166"/>
                  </a:cubicBezTo>
                  <a:cubicBezTo>
                    <a:pt x="11" y="170"/>
                    <a:pt x="8" y="179"/>
                    <a:pt x="12" y="186"/>
                  </a:cubicBezTo>
                  <a:cubicBezTo>
                    <a:pt x="20" y="201"/>
                    <a:pt x="20" y="201"/>
                    <a:pt x="20" y="201"/>
                  </a:cubicBezTo>
                  <a:cubicBezTo>
                    <a:pt x="24" y="208"/>
                    <a:pt x="33" y="210"/>
                    <a:pt x="40" y="206"/>
                  </a:cubicBezTo>
                  <a:cubicBezTo>
                    <a:pt x="58" y="197"/>
                    <a:pt x="58" y="197"/>
                    <a:pt x="58" y="197"/>
                  </a:cubicBezTo>
                  <a:cubicBezTo>
                    <a:pt x="64" y="204"/>
                    <a:pt x="72" y="210"/>
                    <a:pt x="81" y="215"/>
                  </a:cubicBezTo>
                  <a:cubicBezTo>
                    <a:pt x="76" y="234"/>
                    <a:pt x="76" y="234"/>
                    <a:pt x="76" y="234"/>
                  </a:cubicBezTo>
                  <a:cubicBezTo>
                    <a:pt x="74" y="242"/>
                    <a:pt x="78" y="250"/>
                    <a:pt x="86" y="253"/>
                  </a:cubicBezTo>
                  <a:cubicBezTo>
                    <a:pt x="102" y="257"/>
                    <a:pt x="102" y="257"/>
                    <a:pt x="102" y="257"/>
                  </a:cubicBezTo>
                  <a:cubicBezTo>
                    <a:pt x="110" y="259"/>
                    <a:pt x="118" y="255"/>
                    <a:pt x="121" y="247"/>
                  </a:cubicBezTo>
                  <a:cubicBezTo>
                    <a:pt x="126" y="228"/>
                    <a:pt x="126" y="228"/>
                    <a:pt x="126" y="228"/>
                  </a:cubicBezTo>
                  <a:cubicBezTo>
                    <a:pt x="136" y="228"/>
                    <a:pt x="146" y="227"/>
                    <a:pt x="156" y="224"/>
                  </a:cubicBezTo>
                  <a:cubicBezTo>
                    <a:pt x="166" y="242"/>
                    <a:pt x="166" y="242"/>
                    <a:pt x="166" y="242"/>
                  </a:cubicBezTo>
                  <a:cubicBezTo>
                    <a:pt x="170" y="249"/>
                    <a:pt x="179" y="251"/>
                    <a:pt x="186" y="247"/>
                  </a:cubicBezTo>
                  <a:cubicBezTo>
                    <a:pt x="200" y="239"/>
                    <a:pt x="200" y="239"/>
                    <a:pt x="200" y="239"/>
                  </a:cubicBezTo>
                  <a:cubicBezTo>
                    <a:pt x="208" y="235"/>
                    <a:pt x="210" y="226"/>
                    <a:pt x="206" y="219"/>
                  </a:cubicBezTo>
                  <a:cubicBezTo>
                    <a:pt x="197" y="202"/>
                    <a:pt x="197" y="202"/>
                    <a:pt x="197" y="202"/>
                  </a:cubicBezTo>
                  <a:cubicBezTo>
                    <a:pt x="204" y="195"/>
                    <a:pt x="210" y="187"/>
                    <a:pt x="215" y="178"/>
                  </a:cubicBezTo>
                  <a:cubicBezTo>
                    <a:pt x="234" y="183"/>
                    <a:pt x="234" y="183"/>
                    <a:pt x="234" y="183"/>
                  </a:cubicBezTo>
                  <a:cubicBezTo>
                    <a:pt x="242" y="185"/>
                    <a:pt x="250" y="181"/>
                    <a:pt x="252" y="173"/>
                  </a:cubicBezTo>
                  <a:cubicBezTo>
                    <a:pt x="257" y="157"/>
                    <a:pt x="257" y="157"/>
                    <a:pt x="257" y="157"/>
                  </a:cubicBezTo>
                  <a:cubicBezTo>
                    <a:pt x="259" y="149"/>
                    <a:pt x="255" y="141"/>
                    <a:pt x="247" y="139"/>
                  </a:cubicBezTo>
                  <a:close/>
                  <a:moveTo>
                    <a:pt x="116" y="178"/>
                  </a:moveTo>
                  <a:cubicBezTo>
                    <a:pt x="90" y="170"/>
                    <a:pt x="74" y="143"/>
                    <a:pt x="82" y="116"/>
                  </a:cubicBezTo>
                  <a:cubicBezTo>
                    <a:pt x="89" y="90"/>
                    <a:pt x="117" y="74"/>
                    <a:pt x="143" y="82"/>
                  </a:cubicBezTo>
                  <a:cubicBezTo>
                    <a:pt x="169" y="89"/>
                    <a:pt x="185" y="117"/>
                    <a:pt x="177" y="143"/>
                  </a:cubicBezTo>
                  <a:cubicBezTo>
                    <a:pt x="170" y="170"/>
                    <a:pt x="142" y="185"/>
                    <a:pt x="116" y="178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Freeform 98"/>
            <p:cNvSpPr>
              <a:spLocks noEditPoints="1"/>
            </p:cNvSpPr>
            <p:nvPr/>
          </p:nvSpPr>
          <p:spPr bwMode="gray">
            <a:xfrm>
              <a:off x="9818987" y="4658045"/>
              <a:ext cx="227013" cy="228600"/>
            </a:xfrm>
            <a:custGeom>
              <a:avLst/>
              <a:gdLst>
                <a:gd name="T0" fmla="*/ 165 w 165"/>
                <a:gd name="T1" fmla="*/ 75 h 166"/>
                <a:gd name="T2" fmla="*/ 165 w 165"/>
                <a:gd name="T3" fmla="*/ 75 h 166"/>
                <a:gd name="T4" fmla="*/ 151 w 165"/>
                <a:gd name="T5" fmla="*/ 63 h 166"/>
                <a:gd name="T6" fmla="*/ 156 w 165"/>
                <a:gd name="T7" fmla="*/ 44 h 166"/>
                <a:gd name="T8" fmla="*/ 138 w 165"/>
                <a:gd name="T9" fmla="*/ 38 h 166"/>
                <a:gd name="T10" fmla="*/ 136 w 165"/>
                <a:gd name="T11" fmla="*/ 19 h 166"/>
                <a:gd name="T12" fmla="*/ 117 w 165"/>
                <a:gd name="T13" fmla="*/ 20 h 166"/>
                <a:gd name="T14" fmla="*/ 107 w 165"/>
                <a:gd name="T15" fmla="*/ 3 h 166"/>
                <a:gd name="T16" fmla="*/ 90 w 165"/>
                <a:gd name="T17" fmla="*/ 12 h 166"/>
                <a:gd name="T18" fmla="*/ 90 w 165"/>
                <a:gd name="T19" fmla="*/ 0 h 166"/>
                <a:gd name="T20" fmla="*/ 75 w 165"/>
                <a:gd name="T21" fmla="*/ 0 h 166"/>
                <a:gd name="T22" fmla="*/ 62 w 165"/>
                <a:gd name="T23" fmla="*/ 14 h 166"/>
                <a:gd name="T24" fmla="*/ 44 w 165"/>
                <a:gd name="T25" fmla="*/ 9 h 166"/>
                <a:gd name="T26" fmla="*/ 36 w 165"/>
                <a:gd name="T27" fmla="*/ 27 h 166"/>
                <a:gd name="T28" fmla="*/ 18 w 165"/>
                <a:gd name="T29" fmla="*/ 30 h 166"/>
                <a:gd name="T30" fmla="*/ 19 w 165"/>
                <a:gd name="T31" fmla="*/ 48 h 166"/>
                <a:gd name="T32" fmla="*/ 3 w 165"/>
                <a:gd name="T33" fmla="*/ 58 h 166"/>
                <a:gd name="T34" fmla="*/ 10 w 165"/>
                <a:gd name="T35" fmla="*/ 75 h 166"/>
                <a:gd name="T36" fmla="*/ 0 w 165"/>
                <a:gd name="T37" fmla="*/ 75 h 166"/>
                <a:gd name="T38" fmla="*/ 0 w 165"/>
                <a:gd name="T39" fmla="*/ 80 h 166"/>
                <a:gd name="T40" fmla="*/ 0 w 165"/>
                <a:gd name="T41" fmla="*/ 90 h 166"/>
                <a:gd name="T42" fmla="*/ 10 w 165"/>
                <a:gd name="T43" fmla="*/ 90 h 166"/>
                <a:gd name="T44" fmla="*/ 3 w 165"/>
                <a:gd name="T45" fmla="*/ 107 h 166"/>
                <a:gd name="T46" fmla="*/ 18 w 165"/>
                <a:gd name="T47" fmla="*/ 118 h 166"/>
                <a:gd name="T48" fmla="*/ 18 w 165"/>
                <a:gd name="T49" fmla="*/ 136 h 166"/>
                <a:gd name="T50" fmla="*/ 36 w 165"/>
                <a:gd name="T51" fmla="*/ 140 h 166"/>
                <a:gd name="T52" fmla="*/ 44 w 165"/>
                <a:gd name="T53" fmla="*/ 156 h 166"/>
                <a:gd name="T54" fmla="*/ 62 w 165"/>
                <a:gd name="T55" fmla="*/ 153 h 166"/>
                <a:gd name="T56" fmla="*/ 75 w 165"/>
                <a:gd name="T57" fmla="*/ 166 h 166"/>
                <a:gd name="T58" fmla="*/ 90 w 165"/>
                <a:gd name="T59" fmla="*/ 166 h 166"/>
                <a:gd name="T60" fmla="*/ 90 w 165"/>
                <a:gd name="T61" fmla="*/ 155 h 166"/>
                <a:gd name="T62" fmla="*/ 107 w 165"/>
                <a:gd name="T63" fmla="*/ 162 h 166"/>
                <a:gd name="T64" fmla="*/ 117 w 165"/>
                <a:gd name="T65" fmla="*/ 146 h 166"/>
                <a:gd name="T66" fmla="*/ 135 w 165"/>
                <a:gd name="T67" fmla="*/ 147 h 166"/>
                <a:gd name="T68" fmla="*/ 138 w 165"/>
                <a:gd name="T69" fmla="*/ 129 h 166"/>
                <a:gd name="T70" fmla="*/ 156 w 165"/>
                <a:gd name="T71" fmla="*/ 122 h 166"/>
                <a:gd name="T72" fmla="*/ 151 w 165"/>
                <a:gd name="T73" fmla="*/ 103 h 166"/>
                <a:gd name="T74" fmla="*/ 165 w 165"/>
                <a:gd name="T75" fmla="*/ 90 h 166"/>
                <a:gd name="T76" fmla="*/ 133 w 165"/>
                <a:gd name="T77" fmla="*/ 75 h 166"/>
                <a:gd name="T78" fmla="*/ 104 w 165"/>
                <a:gd name="T79" fmla="*/ 71 h 166"/>
                <a:gd name="T80" fmla="*/ 113 w 165"/>
                <a:gd name="T81" fmla="*/ 42 h 166"/>
                <a:gd name="T82" fmla="*/ 90 w 165"/>
                <a:gd name="T83" fmla="*/ 59 h 166"/>
                <a:gd name="T84" fmla="*/ 113 w 165"/>
                <a:gd name="T85" fmla="*/ 42 h 166"/>
                <a:gd name="T86" fmla="*/ 75 w 165"/>
                <a:gd name="T87" fmla="*/ 90 h 166"/>
                <a:gd name="T88" fmla="*/ 90 w 165"/>
                <a:gd name="T89" fmla="*/ 76 h 166"/>
                <a:gd name="T90" fmla="*/ 75 w 165"/>
                <a:gd name="T91" fmla="*/ 32 h 166"/>
                <a:gd name="T92" fmla="*/ 69 w 165"/>
                <a:gd name="T93" fmla="*/ 61 h 166"/>
                <a:gd name="T94" fmla="*/ 75 w 165"/>
                <a:gd name="T95" fmla="*/ 32 h 166"/>
                <a:gd name="T96" fmla="*/ 60 w 165"/>
                <a:gd name="T97" fmla="*/ 71 h 166"/>
                <a:gd name="T98" fmla="*/ 31 w 165"/>
                <a:gd name="T99" fmla="*/ 75 h 166"/>
                <a:gd name="T100" fmla="*/ 41 w 165"/>
                <a:gd name="T101" fmla="*/ 115 h 166"/>
                <a:gd name="T102" fmla="*/ 57 w 165"/>
                <a:gd name="T103" fmla="*/ 90 h 166"/>
                <a:gd name="T104" fmla="*/ 41 w 165"/>
                <a:gd name="T105" fmla="*/ 115 h 166"/>
                <a:gd name="T106" fmla="*/ 69 w 165"/>
                <a:gd name="T107" fmla="*/ 106 h 166"/>
                <a:gd name="T108" fmla="*/ 75 w 165"/>
                <a:gd name="T109" fmla="*/ 135 h 166"/>
                <a:gd name="T110" fmla="*/ 90 w 165"/>
                <a:gd name="T111" fmla="*/ 135 h 166"/>
                <a:gd name="T112" fmla="*/ 94 w 165"/>
                <a:gd name="T113" fmla="*/ 106 h 166"/>
                <a:gd name="T114" fmla="*/ 90 w 165"/>
                <a:gd name="T115" fmla="*/ 135 h 166"/>
                <a:gd name="T116" fmla="*/ 104 w 165"/>
                <a:gd name="T117" fmla="*/ 96 h 166"/>
                <a:gd name="T118" fmla="*/ 133 w 165"/>
                <a:gd name="T119" fmla="*/ 9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5" h="166">
                  <a:moveTo>
                    <a:pt x="165" y="90"/>
                  </a:moveTo>
                  <a:cubicBezTo>
                    <a:pt x="165" y="75"/>
                    <a:pt x="165" y="75"/>
                    <a:pt x="165" y="75"/>
                  </a:cubicBezTo>
                  <a:cubicBezTo>
                    <a:pt x="165" y="75"/>
                    <a:pt x="165" y="75"/>
                    <a:pt x="165" y="75"/>
                  </a:cubicBezTo>
                  <a:cubicBezTo>
                    <a:pt x="165" y="75"/>
                    <a:pt x="165" y="75"/>
                    <a:pt x="165" y="75"/>
                  </a:cubicBezTo>
                  <a:cubicBezTo>
                    <a:pt x="154" y="75"/>
                    <a:pt x="154" y="75"/>
                    <a:pt x="154" y="75"/>
                  </a:cubicBezTo>
                  <a:cubicBezTo>
                    <a:pt x="153" y="71"/>
                    <a:pt x="152" y="67"/>
                    <a:pt x="151" y="63"/>
                  </a:cubicBezTo>
                  <a:cubicBezTo>
                    <a:pt x="162" y="58"/>
                    <a:pt x="162" y="58"/>
                    <a:pt x="162" y="58"/>
                  </a:cubicBezTo>
                  <a:cubicBezTo>
                    <a:pt x="156" y="44"/>
                    <a:pt x="156" y="44"/>
                    <a:pt x="156" y="44"/>
                  </a:cubicBezTo>
                  <a:cubicBezTo>
                    <a:pt x="145" y="49"/>
                    <a:pt x="145" y="49"/>
                    <a:pt x="145" y="49"/>
                  </a:cubicBezTo>
                  <a:cubicBezTo>
                    <a:pt x="143" y="45"/>
                    <a:pt x="141" y="41"/>
                    <a:pt x="138" y="38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36" y="19"/>
                    <a:pt x="136" y="19"/>
                    <a:pt x="136" y="19"/>
                  </a:cubicBezTo>
                  <a:cubicBezTo>
                    <a:pt x="127" y="27"/>
                    <a:pt x="127" y="27"/>
                    <a:pt x="127" y="27"/>
                  </a:cubicBezTo>
                  <a:cubicBezTo>
                    <a:pt x="124" y="25"/>
                    <a:pt x="120" y="22"/>
                    <a:pt x="117" y="20"/>
                  </a:cubicBezTo>
                  <a:cubicBezTo>
                    <a:pt x="121" y="9"/>
                    <a:pt x="121" y="9"/>
                    <a:pt x="121" y="9"/>
                  </a:cubicBezTo>
                  <a:cubicBezTo>
                    <a:pt x="107" y="3"/>
                    <a:pt x="107" y="3"/>
                    <a:pt x="107" y="3"/>
                  </a:cubicBezTo>
                  <a:cubicBezTo>
                    <a:pt x="103" y="14"/>
                    <a:pt x="103" y="14"/>
                    <a:pt x="103" y="14"/>
                  </a:cubicBezTo>
                  <a:cubicBezTo>
                    <a:pt x="99" y="13"/>
                    <a:pt x="94" y="12"/>
                    <a:pt x="90" y="12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5" y="12"/>
                    <a:pt x="75" y="12"/>
                    <a:pt x="75" y="12"/>
                  </a:cubicBezTo>
                  <a:cubicBezTo>
                    <a:pt x="71" y="12"/>
                    <a:pt x="66" y="13"/>
                    <a:pt x="62" y="14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44" y="22"/>
                    <a:pt x="40" y="24"/>
                    <a:pt x="36" y="27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3" y="41"/>
                    <a:pt x="21" y="45"/>
                    <a:pt x="19" y="48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11" y="66"/>
                    <a:pt x="11" y="71"/>
                    <a:pt x="1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0" y="95"/>
                    <a:pt x="11" y="99"/>
                    <a:pt x="12" y="103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9" y="121"/>
                    <a:pt x="9" y="121"/>
                    <a:pt x="9" y="121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20" y="122"/>
                    <a:pt x="23" y="125"/>
                    <a:pt x="26" y="129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29" y="147"/>
                    <a:pt x="29" y="147"/>
                    <a:pt x="29" y="147"/>
                  </a:cubicBezTo>
                  <a:cubicBezTo>
                    <a:pt x="36" y="140"/>
                    <a:pt x="36" y="140"/>
                    <a:pt x="36" y="140"/>
                  </a:cubicBezTo>
                  <a:cubicBezTo>
                    <a:pt x="40" y="142"/>
                    <a:pt x="44" y="145"/>
                    <a:pt x="48" y="147"/>
                  </a:cubicBezTo>
                  <a:cubicBezTo>
                    <a:pt x="44" y="156"/>
                    <a:pt x="44" y="156"/>
                    <a:pt x="44" y="156"/>
                  </a:cubicBezTo>
                  <a:cubicBezTo>
                    <a:pt x="58" y="162"/>
                    <a:pt x="58" y="162"/>
                    <a:pt x="58" y="162"/>
                  </a:cubicBezTo>
                  <a:cubicBezTo>
                    <a:pt x="62" y="153"/>
                    <a:pt x="62" y="153"/>
                    <a:pt x="62" y="153"/>
                  </a:cubicBezTo>
                  <a:cubicBezTo>
                    <a:pt x="66" y="154"/>
                    <a:pt x="70" y="155"/>
                    <a:pt x="75" y="155"/>
                  </a:cubicBezTo>
                  <a:cubicBezTo>
                    <a:pt x="75" y="166"/>
                    <a:pt x="75" y="166"/>
                    <a:pt x="75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55"/>
                    <a:pt x="90" y="155"/>
                    <a:pt x="90" y="155"/>
                  </a:cubicBezTo>
                  <a:cubicBezTo>
                    <a:pt x="94" y="155"/>
                    <a:pt x="99" y="154"/>
                    <a:pt x="103" y="152"/>
                  </a:cubicBezTo>
                  <a:cubicBezTo>
                    <a:pt x="107" y="162"/>
                    <a:pt x="107" y="162"/>
                    <a:pt x="107" y="162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17" y="146"/>
                    <a:pt x="117" y="146"/>
                    <a:pt x="117" y="146"/>
                  </a:cubicBezTo>
                  <a:cubicBezTo>
                    <a:pt x="121" y="144"/>
                    <a:pt x="124" y="142"/>
                    <a:pt x="127" y="140"/>
                  </a:cubicBezTo>
                  <a:cubicBezTo>
                    <a:pt x="135" y="147"/>
                    <a:pt x="135" y="147"/>
                    <a:pt x="135" y="147"/>
                  </a:cubicBezTo>
                  <a:cubicBezTo>
                    <a:pt x="146" y="137"/>
                    <a:pt x="146" y="137"/>
                    <a:pt x="146" y="137"/>
                  </a:cubicBezTo>
                  <a:cubicBezTo>
                    <a:pt x="138" y="129"/>
                    <a:pt x="138" y="129"/>
                    <a:pt x="138" y="129"/>
                  </a:cubicBezTo>
                  <a:cubicBezTo>
                    <a:pt x="141" y="125"/>
                    <a:pt x="143" y="121"/>
                    <a:pt x="146" y="117"/>
                  </a:cubicBezTo>
                  <a:cubicBezTo>
                    <a:pt x="156" y="122"/>
                    <a:pt x="156" y="122"/>
                    <a:pt x="156" y="122"/>
                  </a:cubicBezTo>
                  <a:cubicBezTo>
                    <a:pt x="162" y="108"/>
                    <a:pt x="162" y="108"/>
                    <a:pt x="162" y="108"/>
                  </a:cubicBezTo>
                  <a:cubicBezTo>
                    <a:pt x="151" y="103"/>
                    <a:pt x="151" y="103"/>
                    <a:pt x="151" y="103"/>
                  </a:cubicBezTo>
                  <a:cubicBezTo>
                    <a:pt x="152" y="99"/>
                    <a:pt x="153" y="95"/>
                    <a:pt x="154" y="90"/>
                  </a:cubicBezTo>
                  <a:lnTo>
                    <a:pt x="165" y="90"/>
                  </a:lnTo>
                  <a:close/>
                  <a:moveTo>
                    <a:pt x="123" y="52"/>
                  </a:moveTo>
                  <a:cubicBezTo>
                    <a:pt x="128" y="59"/>
                    <a:pt x="132" y="67"/>
                    <a:pt x="133" y="75"/>
                  </a:cubicBezTo>
                  <a:cubicBezTo>
                    <a:pt x="106" y="75"/>
                    <a:pt x="106" y="75"/>
                    <a:pt x="106" y="75"/>
                  </a:cubicBezTo>
                  <a:cubicBezTo>
                    <a:pt x="105" y="74"/>
                    <a:pt x="105" y="72"/>
                    <a:pt x="104" y="71"/>
                  </a:cubicBezTo>
                  <a:lnTo>
                    <a:pt x="123" y="52"/>
                  </a:lnTo>
                  <a:close/>
                  <a:moveTo>
                    <a:pt x="113" y="42"/>
                  </a:moveTo>
                  <a:cubicBezTo>
                    <a:pt x="94" y="61"/>
                    <a:pt x="94" y="61"/>
                    <a:pt x="94" y="61"/>
                  </a:cubicBezTo>
                  <a:cubicBezTo>
                    <a:pt x="93" y="61"/>
                    <a:pt x="92" y="60"/>
                    <a:pt x="90" y="59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9" y="34"/>
                    <a:pt x="107" y="37"/>
                    <a:pt x="113" y="42"/>
                  </a:cubicBezTo>
                  <a:close/>
                  <a:moveTo>
                    <a:pt x="90" y="90"/>
                  </a:moveTo>
                  <a:cubicBezTo>
                    <a:pt x="86" y="94"/>
                    <a:pt x="79" y="94"/>
                    <a:pt x="75" y="90"/>
                  </a:cubicBezTo>
                  <a:cubicBezTo>
                    <a:pt x="71" y="86"/>
                    <a:pt x="71" y="80"/>
                    <a:pt x="75" y="76"/>
                  </a:cubicBezTo>
                  <a:cubicBezTo>
                    <a:pt x="79" y="72"/>
                    <a:pt x="86" y="72"/>
                    <a:pt x="90" y="76"/>
                  </a:cubicBezTo>
                  <a:cubicBezTo>
                    <a:pt x="94" y="80"/>
                    <a:pt x="94" y="86"/>
                    <a:pt x="90" y="90"/>
                  </a:cubicBezTo>
                  <a:close/>
                  <a:moveTo>
                    <a:pt x="75" y="32"/>
                  </a:moveTo>
                  <a:cubicBezTo>
                    <a:pt x="75" y="59"/>
                    <a:pt x="75" y="59"/>
                    <a:pt x="75" y="59"/>
                  </a:cubicBezTo>
                  <a:cubicBezTo>
                    <a:pt x="73" y="60"/>
                    <a:pt x="71" y="60"/>
                    <a:pt x="69" y="61"/>
                  </a:cubicBezTo>
                  <a:cubicBezTo>
                    <a:pt x="50" y="42"/>
                    <a:pt x="50" y="42"/>
                    <a:pt x="50" y="42"/>
                  </a:cubicBezTo>
                  <a:cubicBezTo>
                    <a:pt x="57" y="37"/>
                    <a:pt x="66" y="33"/>
                    <a:pt x="75" y="32"/>
                  </a:cubicBezTo>
                  <a:close/>
                  <a:moveTo>
                    <a:pt x="41" y="52"/>
                  </a:moveTo>
                  <a:cubicBezTo>
                    <a:pt x="60" y="71"/>
                    <a:pt x="60" y="71"/>
                    <a:pt x="60" y="71"/>
                  </a:cubicBezTo>
                  <a:cubicBezTo>
                    <a:pt x="59" y="72"/>
                    <a:pt x="58" y="74"/>
                    <a:pt x="58" y="75"/>
                  </a:cubicBezTo>
                  <a:cubicBezTo>
                    <a:pt x="31" y="75"/>
                    <a:pt x="31" y="75"/>
                    <a:pt x="31" y="75"/>
                  </a:cubicBezTo>
                  <a:cubicBezTo>
                    <a:pt x="32" y="67"/>
                    <a:pt x="35" y="59"/>
                    <a:pt x="41" y="52"/>
                  </a:cubicBezTo>
                  <a:close/>
                  <a:moveTo>
                    <a:pt x="41" y="115"/>
                  </a:moveTo>
                  <a:cubicBezTo>
                    <a:pt x="35" y="108"/>
                    <a:pt x="32" y="99"/>
                    <a:pt x="30" y="9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8" y="92"/>
                    <a:pt x="59" y="94"/>
                    <a:pt x="60" y="96"/>
                  </a:cubicBezTo>
                  <a:lnTo>
                    <a:pt x="41" y="115"/>
                  </a:lnTo>
                  <a:close/>
                  <a:moveTo>
                    <a:pt x="50" y="125"/>
                  </a:moveTo>
                  <a:cubicBezTo>
                    <a:pt x="69" y="106"/>
                    <a:pt x="69" y="106"/>
                    <a:pt x="69" y="106"/>
                  </a:cubicBezTo>
                  <a:cubicBezTo>
                    <a:pt x="71" y="107"/>
                    <a:pt x="73" y="107"/>
                    <a:pt x="75" y="108"/>
                  </a:cubicBezTo>
                  <a:cubicBezTo>
                    <a:pt x="75" y="135"/>
                    <a:pt x="75" y="135"/>
                    <a:pt x="75" y="135"/>
                  </a:cubicBezTo>
                  <a:cubicBezTo>
                    <a:pt x="66" y="134"/>
                    <a:pt x="57" y="130"/>
                    <a:pt x="50" y="125"/>
                  </a:cubicBezTo>
                  <a:close/>
                  <a:moveTo>
                    <a:pt x="90" y="135"/>
                  </a:moveTo>
                  <a:cubicBezTo>
                    <a:pt x="90" y="107"/>
                    <a:pt x="90" y="107"/>
                    <a:pt x="90" y="107"/>
                  </a:cubicBezTo>
                  <a:cubicBezTo>
                    <a:pt x="92" y="107"/>
                    <a:pt x="93" y="106"/>
                    <a:pt x="94" y="106"/>
                  </a:cubicBezTo>
                  <a:cubicBezTo>
                    <a:pt x="113" y="125"/>
                    <a:pt x="113" y="125"/>
                    <a:pt x="113" y="125"/>
                  </a:cubicBezTo>
                  <a:cubicBezTo>
                    <a:pt x="107" y="130"/>
                    <a:pt x="99" y="133"/>
                    <a:pt x="90" y="135"/>
                  </a:cubicBezTo>
                  <a:close/>
                  <a:moveTo>
                    <a:pt x="123" y="115"/>
                  </a:moveTo>
                  <a:cubicBezTo>
                    <a:pt x="104" y="96"/>
                    <a:pt x="104" y="96"/>
                    <a:pt x="104" y="96"/>
                  </a:cubicBezTo>
                  <a:cubicBezTo>
                    <a:pt x="105" y="94"/>
                    <a:pt x="106" y="92"/>
                    <a:pt x="106" y="90"/>
                  </a:cubicBezTo>
                  <a:cubicBezTo>
                    <a:pt x="133" y="90"/>
                    <a:pt x="133" y="90"/>
                    <a:pt x="133" y="90"/>
                  </a:cubicBezTo>
                  <a:cubicBezTo>
                    <a:pt x="132" y="99"/>
                    <a:pt x="129" y="108"/>
                    <a:pt x="123" y="115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2" name="Freeform 99"/>
            <p:cNvSpPr>
              <a:spLocks/>
            </p:cNvSpPr>
            <p:nvPr/>
          </p:nvSpPr>
          <p:spPr bwMode="gray">
            <a:xfrm>
              <a:off x="9061750" y="4907283"/>
              <a:ext cx="1035050" cy="211137"/>
            </a:xfrm>
            <a:custGeom>
              <a:avLst/>
              <a:gdLst>
                <a:gd name="T0" fmla="*/ 3 w 748"/>
                <a:gd name="T1" fmla="*/ 0 h 153"/>
                <a:gd name="T2" fmla="*/ 0 w 748"/>
                <a:gd name="T3" fmla="*/ 26 h 153"/>
                <a:gd name="T4" fmla="*/ 127 w 748"/>
                <a:gd name="T5" fmla="*/ 153 h 153"/>
                <a:gd name="T6" fmla="*/ 621 w 748"/>
                <a:gd name="T7" fmla="*/ 153 h 153"/>
                <a:gd name="T8" fmla="*/ 748 w 748"/>
                <a:gd name="T9" fmla="*/ 26 h 153"/>
                <a:gd name="T10" fmla="*/ 745 w 748"/>
                <a:gd name="T11" fmla="*/ 0 h 153"/>
                <a:gd name="T12" fmla="*/ 3 w 748"/>
                <a:gd name="T13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8" h="153">
                  <a:moveTo>
                    <a:pt x="3" y="0"/>
                  </a:moveTo>
                  <a:cubicBezTo>
                    <a:pt x="1" y="9"/>
                    <a:pt x="0" y="17"/>
                    <a:pt x="0" y="26"/>
                  </a:cubicBezTo>
                  <a:cubicBezTo>
                    <a:pt x="0" y="96"/>
                    <a:pt x="57" y="153"/>
                    <a:pt x="127" y="153"/>
                  </a:cubicBezTo>
                  <a:cubicBezTo>
                    <a:pt x="621" y="153"/>
                    <a:pt x="621" y="153"/>
                    <a:pt x="621" y="153"/>
                  </a:cubicBezTo>
                  <a:cubicBezTo>
                    <a:pt x="691" y="153"/>
                    <a:pt x="748" y="96"/>
                    <a:pt x="748" y="26"/>
                  </a:cubicBezTo>
                  <a:cubicBezTo>
                    <a:pt x="748" y="17"/>
                    <a:pt x="747" y="9"/>
                    <a:pt x="745" y="0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3" name="Freeform 100"/>
            <p:cNvSpPr>
              <a:spLocks/>
            </p:cNvSpPr>
            <p:nvPr/>
          </p:nvSpPr>
          <p:spPr bwMode="gray">
            <a:xfrm>
              <a:off x="9101437" y="4907283"/>
              <a:ext cx="995363" cy="211137"/>
            </a:xfrm>
            <a:custGeom>
              <a:avLst/>
              <a:gdLst>
                <a:gd name="T0" fmla="*/ 716 w 719"/>
                <a:gd name="T1" fmla="*/ 0 h 153"/>
                <a:gd name="T2" fmla="*/ 700 w 719"/>
                <a:gd name="T3" fmla="*/ 0 h 153"/>
                <a:gd name="T4" fmla="*/ 701 w 719"/>
                <a:gd name="T5" fmla="*/ 8 h 153"/>
                <a:gd name="T6" fmla="*/ 573 w 719"/>
                <a:gd name="T7" fmla="*/ 135 h 153"/>
                <a:gd name="T8" fmla="*/ 80 w 719"/>
                <a:gd name="T9" fmla="*/ 135 h 153"/>
                <a:gd name="T10" fmla="*/ 0 w 719"/>
                <a:gd name="T11" fmla="*/ 106 h 153"/>
                <a:gd name="T12" fmla="*/ 98 w 719"/>
                <a:gd name="T13" fmla="*/ 153 h 153"/>
                <a:gd name="T14" fmla="*/ 592 w 719"/>
                <a:gd name="T15" fmla="*/ 153 h 153"/>
                <a:gd name="T16" fmla="*/ 719 w 719"/>
                <a:gd name="T17" fmla="*/ 26 h 153"/>
                <a:gd name="T18" fmla="*/ 716 w 719"/>
                <a:gd name="T19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19" h="153">
                  <a:moveTo>
                    <a:pt x="716" y="0"/>
                  </a:moveTo>
                  <a:cubicBezTo>
                    <a:pt x="700" y="0"/>
                    <a:pt x="700" y="0"/>
                    <a:pt x="700" y="0"/>
                  </a:cubicBezTo>
                  <a:cubicBezTo>
                    <a:pt x="701" y="3"/>
                    <a:pt x="701" y="5"/>
                    <a:pt x="701" y="8"/>
                  </a:cubicBezTo>
                  <a:cubicBezTo>
                    <a:pt x="701" y="78"/>
                    <a:pt x="644" y="135"/>
                    <a:pt x="573" y="135"/>
                  </a:cubicBezTo>
                  <a:cubicBezTo>
                    <a:pt x="80" y="135"/>
                    <a:pt x="80" y="135"/>
                    <a:pt x="80" y="135"/>
                  </a:cubicBezTo>
                  <a:cubicBezTo>
                    <a:pt x="50" y="135"/>
                    <a:pt x="22" y="124"/>
                    <a:pt x="0" y="106"/>
                  </a:cubicBezTo>
                  <a:cubicBezTo>
                    <a:pt x="23" y="135"/>
                    <a:pt x="59" y="153"/>
                    <a:pt x="98" y="153"/>
                  </a:cubicBezTo>
                  <a:cubicBezTo>
                    <a:pt x="592" y="153"/>
                    <a:pt x="592" y="153"/>
                    <a:pt x="592" y="153"/>
                  </a:cubicBezTo>
                  <a:cubicBezTo>
                    <a:pt x="662" y="153"/>
                    <a:pt x="719" y="96"/>
                    <a:pt x="719" y="26"/>
                  </a:cubicBezTo>
                  <a:cubicBezTo>
                    <a:pt x="719" y="17"/>
                    <a:pt x="718" y="9"/>
                    <a:pt x="716" y="0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4" name="Freeform 101"/>
            <p:cNvSpPr>
              <a:spLocks/>
            </p:cNvSpPr>
            <p:nvPr/>
          </p:nvSpPr>
          <p:spPr bwMode="gray">
            <a:xfrm>
              <a:off x="9064925" y="4192908"/>
              <a:ext cx="1028700" cy="377825"/>
            </a:xfrm>
            <a:custGeom>
              <a:avLst/>
              <a:gdLst>
                <a:gd name="T0" fmla="*/ 744 w 744"/>
                <a:gd name="T1" fmla="*/ 274 h 274"/>
                <a:gd name="T2" fmla="*/ 621 w 744"/>
                <a:gd name="T3" fmla="*/ 173 h 274"/>
                <a:gd name="T4" fmla="*/ 581 w 744"/>
                <a:gd name="T5" fmla="*/ 179 h 274"/>
                <a:gd name="T6" fmla="*/ 457 w 744"/>
                <a:gd name="T7" fmla="*/ 68 h 274"/>
                <a:gd name="T8" fmla="*/ 372 w 744"/>
                <a:gd name="T9" fmla="*/ 101 h 274"/>
                <a:gd name="T10" fmla="*/ 249 w 744"/>
                <a:gd name="T11" fmla="*/ 0 h 274"/>
                <a:gd name="T12" fmla="*/ 123 w 744"/>
                <a:gd name="T13" fmla="*/ 125 h 274"/>
                <a:gd name="T14" fmla="*/ 133 w 744"/>
                <a:gd name="T15" fmla="*/ 173 h 274"/>
                <a:gd name="T16" fmla="*/ 123 w 744"/>
                <a:gd name="T17" fmla="*/ 173 h 274"/>
                <a:gd name="T18" fmla="*/ 0 w 744"/>
                <a:gd name="T19" fmla="*/ 274 h 274"/>
                <a:gd name="T20" fmla="*/ 744 w 744"/>
                <a:gd name="T21" fmla="*/ 27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44" h="274">
                  <a:moveTo>
                    <a:pt x="744" y="274"/>
                  </a:moveTo>
                  <a:cubicBezTo>
                    <a:pt x="733" y="217"/>
                    <a:pt x="682" y="173"/>
                    <a:pt x="621" y="173"/>
                  </a:cubicBezTo>
                  <a:cubicBezTo>
                    <a:pt x="607" y="173"/>
                    <a:pt x="594" y="175"/>
                    <a:pt x="581" y="179"/>
                  </a:cubicBezTo>
                  <a:cubicBezTo>
                    <a:pt x="574" y="117"/>
                    <a:pt x="521" y="68"/>
                    <a:pt x="457" y="68"/>
                  </a:cubicBezTo>
                  <a:cubicBezTo>
                    <a:pt x="424" y="68"/>
                    <a:pt x="394" y="81"/>
                    <a:pt x="372" y="101"/>
                  </a:cubicBezTo>
                  <a:cubicBezTo>
                    <a:pt x="361" y="44"/>
                    <a:pt x="310" y="0"/>
                    <a:pt x="249" y="0"/>
                  </a:cubicBezTo>
                  <a:cubicBezTo>
                    <a:pt x="179" y="0"/>
                    <a:pt x="123" y="56"/>
                    <a:pt x="123" y="125"/>
                  </a:cubicBezTo>
                  <a:cubicBezTo>
                    <a:pt x="123" y="142"/>
                    <a:pt x="127" y="159"/>
                    <a:pt x="133" y="173"/>
                  </a:cubicBezTo>
                  <a:cubicBezTo>
                    <a:pt x="130" y="173"/>
                    <a:pt x="127" y="173"/>
                    <a:pt x="123" y="173"/>
                  </a:cubicBezTo>
                  <a:cubicBezTo>
                    <a:pt x="62" y="173"/>
                    <a:pt x="12" y="217"/>
                    <a:pt x="0" y="274"/>
                  </a:cubicBezTo>
                  <a:lnTo>
                    <a:pt x="744" y="2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5" name="Freeform 102"/>
            <p:cNvSpPr>
              <a:spLocks/>
            </p:cNvSpPr>
            <p:nvPr/>
          </p:nvSpPr>
          <p:spPr bwMode="gray">
            <a:xfrm>
              <a:off x="9268125" y="4192908"/>
              <a:ext cx="825500" cy="377825"/>
            </a:xfrm>
            <a:custGeom>
              <a:avLst/>
              <a:gdLst>
                <a:gd name="T0" fmla="*/ 80 w 597"/>
                <a:gd name="T1" fmla="*/ 23 h 274"/>
                <a:gd name="T2" fmla="*/ 203 w 597"/>
                <a:gd name="T3" fmla="*/ 125 h 274"/>
                <a:gd name="T4" fmla="*/ 288 w 597"/>
                <a:gd name="T5" fmla="*/ 91 h 274"/>
                <a:gd name="T6" fmla="*/ 413 w 597"/>
                <a:gd name="T7" fmla="*/ 203 h 274"/>
                <a:gd name="T8" fmla="*/ 452 w 597"/>
                <a:gd name="T9" fmla="*/ 196 h 274"/>
                <a:gd name="T10" fmla="*/ 568 w 597"/>
                <a:gd name="T11" fmla="*/ 274 h 274"/>
                <a:gd name="T12" fmla="*/ 597 w 597"/>
                <a:gd name="T13" fmla="*/ 274 h 274"/>
                <a:gd name="T14" fmla="*/ 474 w 597"/>
                <a:gd name="T15" fmla="*/ 173 h 274"/>
                <a:gd name="T16" fmla="*/ 434 w 597"/>
                <a:gd name="T17" fmla="*/ 179 h 274"/>
                <a:gd name="T18" fmla="*/ 310 w 597"/>
                <a:gd name="T19" fmla="*/ 68 h 274"/>
                <a:gd name="T20" fmla="*/ 225 w 597"/>
                <a:gd name="T21" fmla="*/ 101 h 274"/>
                <a:gd name="T22" fmla="*/ 102 w 597"/>
                <a:gd name="T23" fmla="*/ 0 h 274"/>
                <a:gd name="T24" fmla="*/ 0 w 597"/>
                <a:gd name="T25" fmla="*/ 52 h 274"/>
                <a:gd name="T26" fmla="*/ 80 w 597"/>
                <a:gd name="T27" fmla="*/ 23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97" h="274">
                  <a:moveTo>
                    <a:pt x="80" y="23"/>
                  </a:moveTo>
                  <a:cubicBezTo>
                    <a:pt x="141" y="23"/>
                    <a:pt x="192" y="67"/>
                    <a:pt x="203" y="125"/>
                  </a:cubicBezTo>
                  <a:cubicBezTo>
                    <a:pt x="225" y="104"/>
                    <a:pt x="255" y="91"/>
                    <a:pt x="288" y="91"/>
                  </a:cubicBezTo>
                  <a:cubicBezTo>
                    <a:pt x="353" y="91"/>
                    <a:pt x="406" y="140"/>
                    <a:pt x="413" y="203"/>
                  </a:cubicBezTo>
                  <a:cubicBezTo>
                    <a:pt x="425" y="199"/>
                    <a:pt x="438" y="196"/>
                    <a:pt x="452" y="196"/>
                  </a:cubicBezTo>
                  <a:cubicBezTo>
                    <a:pt x="505" y="196"/>
                    <a:pt x="549" y="229"/>
                    <a:pt x="568" y="274"/>
                  </a:cubicBezTo>
                  <a:cubicBezTo>
                    <a:pt x="597" y="274"/>
                    <a:pt x="597" y="274"/>
                    <a:pt x="597" y="274"/>
                  </a:cubicBezTo>
                  <a:cubicBezTo>
                    <a:pt x="586" y="217"/>
                    <a:pt x="535" y="173"/>
                    <a:pt x="474" y="173"/>
                  </a:cubicBezTo>
                  <a:cubicBezTo>
                    <a:pt x="460" y="173"/>
                    <a:pt x="447" y="175"/>
                    <a:pt x="434" y="179"/>
                  </a:cubicBezTo>
                  <a:cubicBezTo>
                    <a:pt x="427" y="117"/>
                    <a:pt x="374" y="68"/>
                    <a:pt x="310" y="68"/>
                  </a:cubicBezTo>
                  <a:cubicBezTo>
                    <a:pt x="277" y="68"/>
                    <a:pt x="247" y="81"/>
                    <a:pt x="225" y="101"/>
                  </a:cubicBezTo>
                  <a:cubicBezTo>
                    <a:pt x="214" y="44"/>
                    <a:pt x="163" y="0"/>
                    <a:pt x="102" y="0"/>
                  </a:cubicBezTo>
                  <a:cubicBezTo>
                    <a:pt x="60" y="0"/>
                    <a:pt x="23" y="20"/>
                    <a:pt x="0" y="52"/>
                  </a:cubicBezTo>
                  <a:cubicBezTo>
                    <a:pt x="22" y="34"/>
                    <a:pt x="49" y="23"/>
                    <a:pt x="80" y="23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6" name="Oval 103"/>
            <p:cNvSpPr>
              <a:spLocks noChangeArrowheads="1"/>
            </p:cNvSpPr>
            <p:nvPr/>
          </p:nvSpPr>
          <p:spPr bwMode="gray">
            <a:xfrm>
              <a:off x="11085812" y="5396233"/>
              <a:ext cx="103188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Oval 104"/>
            <p:cNvSpPr>
              <a:spLocks noChangeArrowheads="1"/>
            </p:cNvSpPr>
            <p:nvPr/>
          </p:nvSpPr>
          <p:spPr bwMode="gray">
            <a:xfrm>
              <a:off x="10884200" y="5396233"/>
              <a:ext cx="101600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8" name="Freeform 105"/>
            <p:cNvSpPr>
              <a:spLocks/>
            </p:cNvSpPr>
            <p:nvPr/>
          </p:nvSpPr>
          <p:spPr bwMode="gray">
            <a:xfrm>
              <a:off x="10884200" y="5412108"/>
              <a:ext cx="85725" cy="87312"/>
            </a:xfrm>
            <a:custGeom>
              <a:avLst/>
              <a:gdLst>
                <a:gd name="T0" fmla="*/ 37 w 62"/>
                <a:gd name="T1" fmla="*/ 63 h 63"/>
                <a:gd name="T2" fmla="*/ 62 w 62"/>
                <a:gd name="T3" fmla="*/ 52 h 63"/>
                <a:gd name="T4" fmla="*/ 11 w 62"/>
                <a:gd name="T5" fmla="*/ 0 h 63"/>
                <a:gd name="T6" fmla="*/ 0 w 62"/>
                <a:gd name="T7" fmla="*/ 26 h 63"/>
                <a:gd name="T8" fmla="*/ 37 w 62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63">
                  <a:moveTo>
                    <a:pt x="37" y="63"/>
                  </a:moveTo>
                  <a:cubicBezTo>
                    <a:pt x="47" y="63"/>
                    <a:pt x="56" y="59"/>
                    <a:pt x="62" y="5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6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9" name="Freeform 106"/>
            <p:cNvSpPr>
              <a:spLocks/>
            </p:cNvSpPr>
            <p:nvPr/>
          </p:nvSpPr>
          <p:spPr bwMode="gray">
            <a:xfrm>
              <a:off x="11085812" y="5412108"/>
              <a:ext cx="87313" cy="87312"/>
            </a:xfrm>
            <a:custGeom>
              <a:avLst/>
              <a:gdLst>
                <a:gd name="T0" fmla="*/ 37 w 63"/>
                <a:gd name="T1" fmla="*/ 63 h 63"/>
                <a:gd name="T2" fmla="*/ 63 w 63"/>
                <a:gd name="T3" fmla="*/ 52 h 63"/>
                <a:gd name="T4" fmla="*/ 11 w 63"/>
                <a:gd name="T5" fmla="*/ 0 h 63"/>
                <a:gd name="T6" fmla="*/ 0 w 63"/>
                <a:gd name="T7" fmla="*/ 26 h 63"/>
                <a:gd name="T8" fmla="*/ 37 w 63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63">
                  <a:moveTo>
                    <a:pt x="37" y="63"/>
                  </a:moveTo>
                  <a:cubicBezTo>
                    <a:pt x="47" y="63"/>
                    <a:pt x="56" y="59"/>
                    <a:pt x="63" y="5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7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4518501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whit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0" y="1620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1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72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69481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Freeform: Shape 104"/>
          <p:cNvSpPr>
            <a:spLocks/>
          </p:cNvSpPr>
          <p:nvPr userDrawn="1"/>
        </p:nvSpPr>
        <p:spPr bwMode="gray">
          <a:xfrm>
            <a:off x="352" y="4251226"/>
            <a:ext cx="12436123" cy="2743300"/>
          </a:xfrm>
          <a:custGeom>
            <a:avLst/>
            <a:gdLst>
              <a:gd name="connsiteX0" fmla="*/ 5679089 w 12449404"/>
              <a:gd name="connsiteY0" fmla="*/ 0 h 2048448"/>
              <a:gd name="connsiteX1" fmla="*/ 6408130 w 12449404"/>
              <a:gd name="connsiteY1" fmla="*/ 0 h 2048448"/>
              <a:gd name="connsiteX2" fmla="*/ 6408130 w 12449404"/>
              <a:gd name="connsiteY2" fmla="*/ 578198 h 2048448"/>
              <a:gd name="connsiteX3" fmla="*/ 6867090 w 12449404"/>
              <a:gd name="connsiteY3" fmla="*/ 606386 h 2048448"/>
              <a:gd name="connsiteX4" fmla="*/ 7118635 w 12449404"/>
              <a:gd name="connsiteY4" fmla="*/ 606386 h 2048448"/>
              <a:gd name="connsiteX5" fmla="*/ 7118635 w 12449404"/>
              <a:gd name="connsiteY5" fmla="*/ 483901 h 2048448"/>
              <a:gd name="connsiteX6" fmla="*/ 7128240 w 12449404"/>
              <a:gd name="connsiteY6" fmla="*/ 483901 h 2048448"/>
              <a:gd name="connsiteX7" fmla="*/ 7128240 w 12449404"/>
              <a:gd name="connsiteY7" fmla="*/ 225552 h 2048448"/>
              <a:gd name="connsiteX8" fmla="*/ 7501176 w 12449404"/>
              <a:gd name="connsiteY8" fmla="*/ 225552 h 2048448"/>
              <a:gd name="connsiteX9" fmla="*/ 7501176 w 12449404"/>
              <a:gd name="connsiteY9" fmla="*/ 339268 h 2048448"/>
              <a:gd name="connsiteX10" fmla="*/ 7539643 w 12449404"/>
              <a:gd name="connsiteY10" fmla="*/ 339268 h 2048448"/>
              <a:gd name="connsiteX11" fmla="*/ 7539643 w 12449404"/>
              <a:gd name="connsiteY11" fmla="*/ 483901 h 2048448"/>
              <a:gd name="connsiteX12" fmla="*/ 7646440 w 12449404"/>
              <a:gd name="connsiteY12" fmla="*/ 483901 h 2048448"/>
              <a:gd name="connsiteX13" fmla="*/ 7646440 w 12449404"/>
              <a:gd name="connsiteY13" fmla="*/ 643969 h 2048448"/>
              <a:gd name="connsiteX14" fmla="*/ 8043905 w 12449404"/>
              <a:gd name="connsiteY14" fmla="*/ 643969 h 2048448"/>
              <a:gd name="connsiteX15" fmla="*/ 8043905 w 12449404"/>
              <a:gd name="connsiteY15" fmla="*/ 744644 h 2048448"/>
              <a:gd name="connsiteX16" fmla="*/ 8497281 w 12449404"/>
              <a:gd name="connsiteY16" fmla="*/ 744644 h 2048448"/>
              <a:gd name="connsiteX17" fmla="*/ 8497281 w 12449404"/>
              <a:gd name="connsiteY17" fmla="*/ 777377 h 2048448"/>
              <a:gd name="connsiteX18" fmla="*/ 8516897 w 12449404"/>
              <a:gd name="connsiteY18" fmla="*/ 777377 h 2048448"/>
              <a:gd name="connsiteX19" fmla="*/ 8516897 w 12449404"/>
              <a:gd name="connsiteY19" fmla="*/ 965361 h 2048448"/>
              <a:gd name="connsiteX20" fmla="*/ 8865577 w 12449404"/>
              <a:gd name="connsiteY20" fmla="*/ 965361 h 2048448"/>
              <a:gd name="connsiteX21" fmla="*/ 8865577 w 12449404"/>
              <a:gd name="connsiteY21" fmla="*/ 525721 h 2048448"/>
              <a:gd name="connsiteX22" fmla="*/ 8968665 w 12449404"/>
              <a:gd name="connsiteY22" fmla="*/ 525721 h 2048448"/>
              <a:gd name="connsiteX23" fmla="*/ 8968665 w 12449404"/>
              <a:gd name="connsiteY23" fmla="*/ 386248 h 2048448"/>
              <a:gd name="connsiteX24" fmla="*/ 9271866 w 12449404"/>
              <a:gd name="connsiteY24" fmla="*/ 386248 h 2048448"/>
              <a:gd name="connsiteX25" fmla="*/ 9271866 w 12449404"/>
              <a:gd name="connsiteY25" fmla="*/ 525721 h 2048448"/>
              <a:gd name="connsiteX26" fmla="*/ 9368890 w 12449404"/>
              <a:gd name="connsiteY26" fmla="*/ 525721 h 2048448"/>
              <a:gd name="connsiteX27" fmla="*/ 9368890 w 12449404"/>
              <a:gd name="connsiteY27" fmla="*/ 58792 h 2048448"/>
              <a:gd name="connsiteX28" fmla="*/ 10072314 w 12449404"/>
              <a:gd name="connsiteY28" fmla="*/ 58792 h 2048448"/>
              <a:gd name="connsiteX29" fmla="*/ 10072314 w 12449404"/>
              <a:gd name="connsiteY29" fmla="*/ 616681 h 2048448"/>
              <a:gd name="connsiteX30" fmla="*/ 10514986 w 12449404"/>
              <a:gd name="connsiteY30" fmla="*/ 255872 h 2048448"/>
              <a:gd name="connsiteX31" fmla="*/ 10514986 w 12449404"/>
              <a:gd name="connsiteY31" fmla="*/ 643969 h 2048448"/>
              <a:gd name="connsiteX32" fmla="*/ 10757546 w 12449404"/>
              <a:gd name="connsiteY32" fmla="*/ 643969 h 2048448"/>
              <a:gd name="connsiteX33" fmla="*/ 10757546 w 12449404"/>
              <a:gd name="connsiteY33" fmla="*/ 525721 h 2048448"/>
              <a:gd name="connsiteX34" fmla="*/ 10860634 w 12449404"/>
              <a:gd name="connsiteY34" fmla="*/ 525721 h 2048448"/>
              <a:gd name="connsiteX35" fmla="*/ 10860634 w 12449404"/>
              <a:gd name="connsiteY35" fmla="*/ 386248 h 2048448"/>
              <a:gd name="connsiteX36" fmla="*/ 11163835 w 12449404"/>
              <a:gd name="connsiteY36" fmla="*/ 386248 h 2048448"/>
              <a:gd name="connsiteX37" fmla="*/ 11163835 w 12449404"/>
              <a:gd name="connsiteY37" fmla="*/ 525721 h 2048448"/>
              <a:gd name="connsiteX38" fmla="*/ 11266923 w 12449404"/>
              <a:gd name="connsiteY38" fmla="*/ 525721 h 2048448"/>
              <a:gd name="connsiteX39" fmla="*/ 11266923 w 12449404"/>
              <a:gd name="connsiteY39" fmla="*/ 965361 h 2048448"/>
              <a:gd name="connsiteX40" fmla="*/ 11612572 w 12449404"/>
              <a:gd name="connsiteY40" fmla="*/ 965361 h 2048448"/>
              <a:gd name="connsiteX41" fmla="*/ 11612572 w 12449404"/>
              <a:gd name="connsiteY41" fmla="*/ 777377 h 2048448"/>
              <a:gd name="connsiteX42" fmla="*/ 12088596 w 12449404"/>
              <a:gd name="connsiteY42" fmla="*/ 777377 h 2048448"/>
              <a:gd name="connsiteX43" fmla="*/ 12088596 w 12449404"/>
              <a:gd name="connsiteY43" fmla="*/ 1374681 h 2048448"/>
              <a:gd name="connsiteX44" fmla="*/ 12449404 w 12449404"/>
              <a:gd name="connsiteY44" fmla="*/ 1374681 h 2048448"/>
              <a:gd name="connsiteX45" fmla="*/ 12449404 w 12449404"/>
              <a:gd name="connsiteY45" fmla="*/ 1677881 h 2048448"/>
              <a:gd name="connsiteX46" fmla="*/ 12436715 w 12449404"/>
              <a:gd name="connsiteY46" fmla="*/ 1677881 h 2048448"/>
              <a:gd name="connsiteX47" fmla="*/ 12436715 w 12449404"/>
              <a:gd name="connsiteY47" fmla="*/ 2048448 h 2048448"/>
              <a:gd name="connsiteX48" fmla="*/ 0 w 12449404"/>
              <a:gd name="connsiteY48" fmla="*/ 2048448 h 2048448"/>
              <a:gd name="connsiteX49" fmla="*/ 0 w 12449404"/>
              <a:gd name="connsiteY49" fmla="*/ 1406374 h 2048448"/>
              <a:gd name="connsiteX50" fmla="*/ 45352 w 12449404"/>
              <a:gd name="connsiteY50" fmla="*/ 1406374 h 2048448"/>
              <a:gd name="connsiteX51" fmla="*/ 45352 w 12449404"/>
              <a:gd name="connsiteY51" fmla="*/ 1140624 h 2048448"/>
              <a:gd name="connsiteX52" fmla="*/ 657888 w 12449404"/>
              <a:gd name="connsiteY52" fmla="*/ 1140624 h 2048448"/>
              <a:gd name="connsiteX53" fmla="*/ 657888 w 12449404"/>
              <a:gd name="connsiteY53" fmla="*/ 879713 h 2048448"/>
              <a:gd name="connsiteX54" fmla="*/ 1116848 w 12449404"/>
              <a:gd name="connsiteY54" fmla="*/ 879713 h 2048448"/>
              <a:gd name="connsiteX55" fmla="*/ 1116848 w 12449404"/>
              <a:gd name="connsiteY55" fmla="*/ 1197168 h 2048448"/>
              <a:gd name="connsiteX56" fmla="*/ 1597874 w 12449404"/>
              <a:gd name="connsiteY56" fmla="*/ 1197168 h 2048448"/>
              <a:gd name="connsiteX57" fmla="*/ 1597874 w 12449404"/>
              <a:gd name="connsiteY57" fmla="*/ 807564 h 2048448"/>
              <a:gd name="connsiteX58" fmla="*/ 1701140 w 12449404"/>
              <a:gd name="connsiteY58" fmla="*/ 807564 h 2048448"/>
              <a:gd name="connsiteX59" fmla="*/ 1701140 w 12449404"/>
              <a:gd name="connsiteY59" fmla="*/ 662931 h 2048448"/>
              <a:gd name="connsiteX60" fmla="*/ 2018881 w 12449404"/>
              <a:gd name="connsiteY60" fmla="*/ 662931 h 2048448"/>
              <a:gd name="connsiteX61" fmla="*/ 2018881 w 12449404"/>
              <a:gd name="connsiteY61" fmla="*/ 807564 h 2048448"/>
              <a:gd name="connsiteX62" fmla="*/ 2122148 w 12449404"/>
              <a:gd name="connsiteY62" fmla="*/ 807564 h 2048448"/>
              <a:gd name="connsiteX63" fmla="*/ 2122148 w 12449404"/>
              <a:gd name="connsiteY63" fmla="*/ 939446 h 2048448"/>
              <a:gd name="connsiteX64" fmla="*/ 2484020 w 12449404"/>
              <a:gd name="connsiteY64" fmla="*/ 939446 h 2048448"/>
              <a:gd name="connsiteX65" fmla="*/ 2484020 w 12449404"/>
              <a:gd name="connsiteY65" fmla="*/ 744644 h 2048448"/>
              <a:gd name="connsiteX66" fmla="*/ 2549333 w 12449404"/>
              <a:gd name="connsiteY66" fmla="*/ 744644 h 2048448"/>
              <a:gd name="connsiteX67" fmla="*/ 2976519 w 12449404"/>
              <a:gd name="connsiteY67" fmla="*/ 744644 h 2048448"/>
              <a:gd name="connsiteX68" fmla="*/ 3008294 w 12449404"/>
              <a:gd name="connsiteY68" fmla="*/ 744644 h 2048448"/>
              <a:gd name="connsiteX69" fmla="*/ 3008294 w 12449404"/>
              <a:gd name="connsiteY69" fmla="*/ 879713 h 2048448"/>
              <a:gd name="connsiteX70" fmla="*/ 3356927 w 12449404"/>
              <a:gd name="connsiteY70" fmla="*/ 879713 h 2048448"/>
              <a:gd name="connsiteX71" fmla="*/ 3356927 w 12449404"/>
              <a:gd name="connsiteY71" fmla="*/ 172822 h 2048448"/>
              <a:gd name="connsiteX72" fmla="*/ 3743513 w 12449404"/>
              <a:gd name="connsiteY72" fmla="*/ 172822 h 2048448"/>
              <a:gd name="connsiteX73" fmla="*/ 3743513 w 12449404"/>
              <a:gd name="connsiteY73" fmla="*/ 606386 h 2048448"/>
              <a:gd name="connsiteX74" fmla="*/ 4305739 w 12449404"/>
              <a:gd name="connsiteY74" fmla="*/ 606386 h 2048448"/>
              <a:gd name="connsiteX75" fmla="*/ 4305739 w 12449404"/>
              <a:gd name="connsiteY75" fmla="*/ 744644 h 2048448"/>
              <a:gd name="connsiteX76" fmla="*/ 4796473 w 12449404"/>
              <a:gd name="connsiteY76" fmla="*/ 744644 h 2048448"/>
              <a:gd name="connsiteX77" fmla="*/ 4796473 w 12449404"/>
              <a:gd name="connsiteY77" fmla="*/ 907753 h 2048448"/>
              <a:gd name="connsiteX78" fmla="*/ 4966423 w 12449404"/>
              <a:gd name="connsiteY78" fmla="*/ 907753 h 2048448"/>
              <a:gd name="connsiteX79" fmla="*/ 4966423 w 12449404"/>
              <a:gd name="connsiteY79" fmla="*/ 939446 h 2048448"/>
              <a:gd name="connsiteX80" fmla="*/ 5157463 w 12449404"/>
              <a:gd name="connsiteY80" fmla="*/ 939446 h 2048448"/>
              <a:gd name="connsiteX81" fmla="*/ 5157463 w 12449404"/>
              <a:gd name="connsiteY81" fmla="*/ 483901 h 2048448"/>
              <a:gd name="connsiteX82" fmla="*/ 5264259 w 12449404"/>
              <a:gd name="connsiteY82" fmla="*/ 483901 h 2048448"/>
              <a:gd name="connsiteX83" fmla="*/ 5264259 w 12449404"/>
              <a:gd name="connsiteY83" fmla="*/ 339268 h 2048448"/>
              <a:gd name="connsiteX84" fmla="*/ 5578471 w 12449404"/>
              <a:gd name="connsiteY84" fmla="*/ 339268 h 2048448"/>
              <a:gd name="connsiteX85" fmla="*/ 5578471 w 12449404"/>
              <a:gd name="connsiteY85" fmla="*/ 483901 h 2048448"/>
              <a:gd name="connsiteX86" fmla="*/ 5679089 w 12449404"/>
              <a:gd name="connsiteY86" fmla="*/ 483901 h 2048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</a:cxnLst>
            <a:rect l="l" t="t" r="r" b="b"/>
            <a:pathLst>
              <a:path w="12449404" h="2048448">
                <a:moveTo>
                  <a:pt x="5679089" y="0"/>
                </a:moveTo>
                <a:lnTo>
                  <a:pt x="6408130" y="0"/>
                </a:lnTo>
                <a:lnTo>
                  <a:pt x="6408130" y="578198"/>
                </a:lnTo>
                <a:lnTo>
                  <a:pt x="6867090" y="606386"/>
                </a:lnTo>
                <a:lnTo>
                  <a:pt x="7118635" y="606386"/>
                </a:lnTo>
                <a:lnTo>
                  <a:pt x="7118635" y="483901"/>
                </a:lnTo>
                <a:lnTo>
                  <a:pt x="7128240" y="483901"/>
                </a:lnTo>
                <a:lnTo>
                  <a:pt x="7128240" y="225552"/>
                </a:lnTo>
                <a:lnTo>
                  <a:pt x="7501176" y="225552"/>
                </a:lnTo>
                <a:lnTo>
                  <a:pt x="7501176" y="339268"/>
                </a:lnTo>
                <a:lnTo>
                  <a:pt x="7539643" y="339268"/>
                </a:lnTo>
                <a:lnTo>
                  <a:pt x="7539643" y="483901"/>
                </a:lnTo>
                <a:lnTo>
                  <a:pt x="7646440" y="483901"/>
                </a:lnTo>
                <a:lnTo>
                  <a:pt x="7646440" y="643969"/>
                </a:lnTo>
                <a:lnTo>
                  <a:pt x="8043905" y="643969"/>
                </a:lnTo>
                <a:lnTo>
                  <a:pt x="8043905" y="744644"/>
                </a:lnTo>
                <a:lnTo>
                  <a:pt x="8497281" y="744644"/>
                </a:lnTo>
                <a:lnTo>
                  <a:pt x="8497281" y="777377"/>
                </a:lnTo>
                <a:lnTo>
                  <a:pt x="8516897" y="777377"/>
                </a:lnTo>
                <a:lnTo>
                  <a:pt x="8516897" y="965361"/>
                </a:lnTo>
                <a:lnTo>
                  <a:pt x="8865577" y="965361"/>
                </a:lnTo>
                <a:lnTo>
                  <a:pt x="8865577" y="525721"/>
                </a:lnTo>
                <a:lnTo>
                  <a:pt x="8968665" y="525721"/>
                </a:lnTo>
                <a:lnTo>
                  <a:pt x="8968665" y="386248"/>
                </a:lnTo>
                <a:lnTo>
                  <a:pt x="9271866" y="386248"/>
                </a:lnTo>
                <a:lnTo>
                  <a:pt x="9271866" y="525721"/>
                </a:lnTo>
                <a:lnTo>
                  <a:pt x="9368890" y="525721"/>
                </a:lnTo>
                <a:lnTo>
                  <a:pt x="9368890" y="58792"/>
                </a:lnTo>
                <a:lnTo>
                  <a:pt x="10072314" y="58792"/>
                </a:lnTo>
                <a:lnTo>
                  <a:pt x="10072314" y="616681"/>
                </a:lnTo>
                <a:lnTo>
                  <a:pt x="10514986" y="255872"/>
                </a:lnTo>
                <a:lnTo>
                  <a:pt x="10514986" y="643969"/>
                </a:lnTo>
                <a:lnTo>
                  <a:pt x="10757546" y="643969"/>
                </a:lnTo>
                <a:lnTo>
                  <a:pt x="10757546" y="525721"/>
                </a:lnTo>
                <a:lnTo>
                  <a:pt x="10860634" y="525721"/>
                </a:lnTo>
                <a:lnTo>
                  <a:pt x="10860634" y="386248"/>
                </a:lnTo>
                <a:lnTo>
                  <a:pt x="11163835" y="386248"/>
                </a:lnTo>
                <a:lnTo>
                  <a:pt x="11163835" y="525721"/>
                </a:lnTo>
                <a:lnTo>
                  <a:pt x="11266923" y="525721"/>
                </a:lnTo>
                <a:lnTo>
                  <a:pt x="11266923" y="965361"/>
                </a:lnTo>
                <a:lnTo>
                  <a:pt x="11612572" y="965361"/>
                </a:lnTo>
                <a:lnTo>
                  <a:pt x="11612572" y="777377"/>
                </a:lnTo>
                <a:lnTo>
                  <a:pt x="12088596" y="777377"/>
                </a:lnTo>
                <a:lnTo>
                  <a:pt x="12088596" y="1374681"/>
                </a:lnTo>
                <a:lnTo>
                  <a:pt x="12449404" y="1374681"/>
                </a:lnTo>
                <a:lnTo>
                  <a:pt x="12449404" y="1677881"/>
                </a:lnTo>
                <a:lnTo>
                  <a:pt x="12436715" y="1677881"/>
                </a:lnTo>
                <a:lnTo>
                  <a:pt x="12436715" y="2048448"/>
                </a:lnTo>
                <a:lnTo>
                  <a:pt x="0" y="2048448"/>
                </a:lnTo>
                <a:lnTo>
                  <a:pt x="0" y="1406374"/>
                </a:lnTo>
                <a:lnTo>
                  <a:pt x="45352" y="1406374"/>
                </a:lnTo>
                <a:lnTo>
                  <a:pt x="45352" y="1140624"/>
                </a:lnTo>
                <a:lnTo>
                  <a:pt x="657888" y="1140624"/>
                </a:lnTo>
                <a:lnTo>
                  <a:pt x="657888" y="879713"/>
                </a:lnTo>
                <a:lnTo>
                  <a:pt x="1116848" y="879713"/>
                </a:lnTo>
                <a:lnTo>
                  <a:pt x="1116848" y="1197168"/>
                </a:lnTo>
                <a:lnTo>
                  <a:pt x="1597874" y="1197168"/>
                </a:lnTo>
                <a:lnTo>
                  <a:pt x="1597874" y="807564"/>
                </a:lnTo>
                <a:lnTo>
                  <a:pt x="1701140" y="807564"/>
                </a:lnTo>
                <a:lnTo>
                  <a:pt x="1701140" y="662931"/>
                </a:lnTo>
                <a:lnTo>
                  <a:pt x="2018881" y="662931"/>
                </a:lnTo>
                <a:lnTo>
                  <a:pt x="2018881" y="807564"/>
                </a:lnTo>
                <a:lnTo>
                  <a:pt x="2122148" y="807564"/>
                </a:lnTo>
                <a:lnTo>
                  <a:pt x="2122148" y="939446"/>
                </a:lnTo>
                <a:lnTo>
                  <a:pt x="2484020" y="939446"/>
                </a:lnTo>
                <a:lnTo>
                  <a:pt x="2484020" y="744644"/>
                </a:lnTo>
                <a:lnTo>
                  <a:pt x="2549333" y="744644"/>
                </a:lnTo>
                <a:lnTo>
                  <a:pt x="2976519" y="744644"/>
                </a:lnTo>
                <a:lnTo>
                  <a:pt x="3008294" y="744644"/>
                </a:lnTo>
                <a:lnTo>
                  <a:pt x="3008294" y="879713"/>
                </a:lnTo>
                <a:lnTo>
                  <a:pt x="3356927" y="879713"/>
                </a:lnTo>
                <a:lnTo>
                  <a:pt x="3356927" y="172822"/>
                </a:lnTo>
                <a:lnTo>
                  <a:pt x="3743513" y="172822"/>
                </a:lnTo>
                <a:lnTo>
                  <a:pt x="3743513" y="606386"/>
                </a:lnTo>
                <a:lnTo>
                  <a:pt x="4305739" y="606386"/>
                </a:lnTo>
                <a:lnTo>
                  <a:pt x="4305739" y="744644"/>
                </a:lnTo>
                <a:lnTo>
                  <a:pt x="4796473" y="744644"/>
                </a:lnTo>
                <a:lnTo>
                  <a:pt x="4796473" y="907753"/>
                </a:lnTo>
                <a:lnTo>
                  <a:pt x="4966423" y="907753"/>
                </a:lnTo>
                <a:lnTo>
                  <a:pt x="4966423" y="939446"/>
                </a:lnTo>
                <a:lnTo>
                  <a:pt x="5157463" y="939446"/>
                </a:lnTo>
                <a:lnTo>
                  <a:pt x="5157463" y="483901"/>
                </a:lnTo>
                <a:lnTo>
                  <a:pt x="5264259" y="483901"/>
                </a:lnTo>
                <a:lnTo>
                  <a:pt x="5264259" y="339268"/>
                </a:lnTo>
                <a:lnTo>
                  <a:pt x="5578471" y="339268"/>
                </a:lnTo>
                <a:lnTo>
                  <a:pt x="5578471" y="483901"/>
                </a:lnTo>
                <a:lnTo>
                  <a:pt x="5679089" y="483901"/>
                </a:lnTo>
                <a:close/>
              </a:path>
            </a:pathLst>
          </a:custGeom>
          <a:solidFill>
            <a:srgbClr val="409AE1">
              <a:alpha val="4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1211264"/>
            <a:ext cx="9143936" cy="1828800"/>
          </a:xfrm>
          <a:noFill/>
        </p:spPr>
        <p:txBody>
          <a:bodyPr lIns="146304" tIns="91440" rIns="146304" bIns="91440" anchor="b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040063"/>
            <a:ext cx="9143937" cy="730183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639" y="3770246"/>
            <a:ext cx="9144000" cy="461665"/>
          </a:xfrm>
        </p:spPr>
        <p:txBody>
          <a:bodyPr/>
          <a:lstStyle>
            <a:lvl1pPr marL="0" indent="0">
              <a:buNone/>
              <a:defRPr lang="en-US" sz="2000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Optional (City, State or venue)</a:t>
            </a:r>
          </a:p>
        </p:txBody>
      </p:sp>
      <p:pic>
        <p:nvPicPr>
          <p:cNvPr id="141" name="Picture 14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  <p:grpSp>
        <p:nvGrpSpPr>
          <p:cNvPr id="142" name="Group 141"/>
          <p:cNvGrpSpPr>
            <a:grpSpLocks noChangeAspect="1"/>
          </p:cNvGrpSpPr>
          <p:nvPr userDrawn="1"/>
        </p:nvGrpSpPr>
        <p:grpSpPr bwMode="gray">
          <a:xfrm>
            <a:off x="7462446" y="3200401"/>
            <a:ext cx="4577461" cy="3539940"/>
            <a:chOff x="8496600" y="3495586"/>
            <a:chExt cx="3009906" cy="2327684"/>
          </a:xfrm>
        </p:grpSpPr>
        <p:sp>
          <p:nvSpPr>
            <p:cNvPr id="143" name="Freeform 9"/>
            <p:cNvSpPr>
              <a:spLocks/>
            </p:cNvSpPr>
            <p:nvPr/>
          </p:nvSpPr>
          <p:spPr bwMode="gray">
            <a:xfrm>
              <a:off x="8496600" y="5501008"/>
              <a:ext cx="646113" cy="82550"/>
            </a:xfrm>
            <a:custGeom>
              <a:avLst/>
              <a:gdLst>
                <a:gd name="T0" fmla="*/ 437 w 467"/>
                <a:gd name="T1" fmla="*/ 60 h 60"/>
                <a:gd name="T2" fmla="*/ 30 w 467"/>
                <a:gd name="T3" fmla="*/ 60 h 60"/>
                <a:gd name="T4" fmla="*/ 0 w 467"/>
                <a:gd name="T5" fmla="*/ 30 h 60"/>
                <a:gd name="T6" fmla="*/ 30 w 467"/>
                <a:gd name="T7" fmla="*/ 0 h 60"/>
                <a:gd name="T8" fmla="*/ 437 w 467"/>
                <a:gd name="T9" fmla="*/ 0 h 60"/>
                <a:gd name="T10" fmla="*/ 467 w 467"/>
                <a:gd name="T11" fmla="*/ 30 h 60"/>
                <a:gd name="T12" fmla="*/ 437 w 467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7" h="60">
                  <a:moveTo>
                    <a:pt x="437" y="60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13" y="60"/>
                    <a:pt x="0" y="46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37" y="0"/>
                    <a:pt x="437" y="0"/>
                    <a:pt x="437" y="0"/>
                  </a:cubicBezTo>
                  <a:cubicBezTo>
                    <a:pt x="453" y="0"/>
                    <a:pt x="467" y="13"/>
                    <a:pt x="467" y="30"/>
                  </a:cubicBezTo>
                  <a:cubicBezTo>
                    <a:pt x="467" y="46"/>
                    <a:pt x="453" y="60"/>
                    <a:pt x="437" y="6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10"/>
            <p:cNvSpPr>
              <a:spLocks/>
            </p:cNvSpPr>
            <p:nvPr/>
          </p:nvSpPr>
          <p:spPr bwMode="gray">
            <a:xfrm>
              <a:off x="10804831" y="3495586"/>
              <a:ext cx="701675" cy="371475"/>
            </a:xfrm>
            <a:custGeom>
              <a:avLst/>
              <a:gdLst>
                <a:gd name="T0" fmla="*/ 440 w 507"/>
                <a:gd name="T1" fmla="*/ 127 h 271"/>
                <a:gd name="T2" fmla="*/ 306 w 507"/>
                <a:gd name="T3" fmla="*/ 0 h 271"/>
                <a:gd name="T4" fmla="*/ 174 w 507"/>
                <a:gd name="T5" fmla="*/ 106 h 271"/>
                <a:gd name="T6" fmla="*/ 99 w 507"/>
                <a:gd name="T7" fmla="*/ 72 h 271"/>
                <a:gd name="T8" fmla="*/ 0 w 507"/>
                <a:gd name="T9" fmla="*/ 171 h 271"/>
                <a:gd name="T10" fmla="*/ 99 w 507"/>
                <a:gd name="T11" fmla="*/ 271 h 271"/>
                <a:gd name="T12" fmla="*/ 435 w 507"/>
                <a:gd name="T13" fmla="*/ 271 h 271"/>
                <a:gd name="T14" fmla="*/ 507 w 507"/>
                <a:gd name="T15" fmla="*/ 199 h 271"/>
                <a:gd name="T16" fmla="*/ 440 w 507"/>
                <a:gd name="T17" fmla="*/ 127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7" h="271">
                  <a:moveTo>
                    <a:pt x="440" y="127"/>
                  </a:moveTo>
                  <a:cubicBezTo>
                    <a:pt x="436" y="56"/>
                    <a:pt x="378" y="0"/>
                    <a:pt x="306" y="0"/>
                  </a:cubicBezTo>
                  <a:cubicBezTo>
                    <a:pt x="241" y="0"/>
                    <a:pt x="187" y="46"/>
                    <a:pt x="174" y="106"/>
                  </a:cubicBezTo>
                  <a:cubicBezTo>
                    <a:pt x="156" y="85"/>
                    <a:pt x="129" y="72"/>
                    <a:pt x="99" y="72"/>
                  </a:cubicBezTo>
                  <a:cubicBezTo>
                    <a:pt x="44" y="72"/>
                    <a:pt x="0" y="116"/>
                    <a:pt x="0" y="171"/>
                  </a:cubicBezTo>
                  <a:cubicBezTo>
                    <a:pt x="0" y="226"/>
                    <a:pt x="44" y="271"/>
                    <a:pt x="99" y="271"/>
                  </a:cubicBezTo>
                  <a:cubicBezTo>
                    <a:pt x="99" y="271"/>
                    <a:pt x="434" y="271"/>
                    <a:pt x="435" y="271"/>
                  </a:cubicBezTo>
                  <a:cubicBezTo>
                    <a:pt x="475" y="271"/>
                    <a:pt x="507" y="238"/>
                    <a:pt x="507" y="199"/>
                  </a:cubicBezTo>
                  <a:cubicBezTo>
                    <a:pt x="507" y="161"/>
                    <a:pt x="478" y="130"/>
                    <a:pt x="440" y="1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11"/>
            <p:cNvSpPr>
              <a:spLocks/>
            </p:cNvSpPr>
            <p:nvPr/>
          </p:nvSpPr>
          <p:spPr bwMode="gray">
            <a:xfrm>
              <a:off x="10001550" y="5497833"/>
              <a:ext cx="1504950" cy="82550"/>
            </a:xfrm>
            <a:custGeom>
              <a:avLst/>
              <a:gdLst>
                <a:gd name="T0" fmla="*/ 1059 w 1089"/>
                <a:gd name="T1" fmla="*/ 60 h 60"/>
                <a:gd name="T2" fmla="*/ 30 w 1089"/>
                <a:gd name="T3" fmla="*/ 60 h 60"/>
                <a:gd name="T4" fmla="*/ 0 w 1089"/>
                <a:gd name="T5" fmla="*/ 30 h 60"/>
                <a:gd name="T6" fmla="*/ 30 w 1089"/>
                <a:gd name="T7" fmla="*/ 0 h 60"/>
                <a:gd name="T8" fmla="*/ 1059 w 1089"/>
                <a:gd name="T9" fmla="*/ 0 h 60"/>
                <a:gd name="T10" fmla="*/ 1089 w 1089"/>
                <a:gd name="T11" fmla="*/ 30 h 60"/>
                <a:gd name="T12" fmla="*/ 1059 w 1089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9" h="60">
                  <a:moveTo>
                    <a:pt x="1059" y="60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14" y="60"/>
                    <a:pt x="0" y="46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1059" y="0"/>
                    <a:pt x="1059" y="0"/>
                    <a:pt x="1059" y="0"/>
                  </a:cubicBezTo>
                  <a:cubicBezTo>
                    <a:pt x="1076" y="0"/>
                    <a:pt x="1089" y="13"/>
                    <a:pt x="1089" y="30"/>
                  </a:cubicBezTo>
                  <a:cubicBezTo>
                    <a:pt x="1089" y="46"/>
                    <a:pt x="1076" y="60"/>
                    <a:pt x="1059" y="6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12"/>
            <p:cNvSpPr>
              <a:spLocks/>
            </p:cNvSpPr>
            <p:nvPr/>
          </p:nvSpPr>
          <p:spPr bwMode="gray">
            <a:xfrm>
              <a:off x="9110962" y="5713733"/>
              <a:ext cx="1012825" cy="109537"/>
            </a:xfrm>
            <a:custGeom>
              <a:avLst/>
              <a:gdLst>
                <a:gd name="T0" fmla="*/ 692 w 732"/>
                <a:gd name="T1" fmla="*/ 80 h 80"/>
                <a:gd name="T2" fmla="*/ 40 w 732"/>
                <a:gd name="T3" fmla="*/ 80 h 80"/>
                <a:gd name="T4" fmla="*/ 0 w 732"/>
                <a:gd name="T5" fmla="*/ 40 h 80"/>
                <a:gd name="T6" fmla="*/ 40 w 732"/>
                <a:gd name="T7" fmla="*/ 0 h 80"/>
                <a:gd name="T8" fmla="*/ 692 w 732"/>
                <a:gd name="T9" fmla="*/ 0 h 80"/>
                <a:gd name="T10" fmla="*/ 732 w 732"/>
                <a:gd name="T11" fmla="*/ 40 h 80"/>
                <a:gd name="T12" fmla="*/ 692 w 732"/>
                <a:gd name="T13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2" h="80">
                  <a:moveTo>
                    <a:pt x="692" y="80"/>
                  </a:moveTo>
                  <a:cubicBezTo>
                    <a:pt x="40" y="80"/>
                    <a:pt x="40" y="80"/>
                    <a:pt x="40" y="80"/>
                  </a:cubicBezTo>
                  <a:cubicBezTo>
                    <a:pt x="18" y="80"/>
                    <a:pt x="0" y="62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692" y="0"/>
                    <a:pt x="692" y="0"/>
                    <a:pt x="692" y="0"/>
                  </a:cubicBezTo>
                  <a:cubicBezTo>
                    <a:pt x="714" y="0"/>
                    <a:pt x="732" y="18"/>
                    <a:pt x="732" y="40"/>
                  </a:cubicBezTo>
                  <a:cubicBezTo>
                    <a:pt x="732" y="62"/>
                    <a:pt x="714" y="80"/>
                    <a:pt x="692" y="8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13"/>
            <p:cNvSpPr>
              <a:spLocks/>
            </p:cNvSpPr>
            <p:nvPr/>
          </p:nvSpPr>
          <p:spPr bwMode="gray">
            <a:xfrm>
              <a:off x="8910937" y="4935858"/>
              <a:ext cx="33338" cy="77787"/>
            </a:xfrm>
            <a:custGeom>
              <a:avLst/>
              <a:gdLst>
                <a:gd name="T0" fmla="*/ 0 w 21"/>
                <a:gd name="T1" fmla="*/ 0 h 49"/>
                <a:gd name="T2" fmla="*/ 1 w 21"/>
                <a:gd name="T3" fmla="*/ 10 h 49"/>
                <a:gd name="T4" fmla="*/ 0 w 21"/>
                <a:gd name="T5" fmla="*/ 49 h 49"/>
                <a:gd name="T6" fmla="*/ 12 w 21"/>
                <a:gd name="T7" fmla="*/ 49 h 49"/>
                <a:gd name="T8" fmla="*/ 21 w 21"/>
                <a:gd name="T9" fmla="*/ 11 h 49"/>
                <a:gd name="T10" fmla="*/ 21 w 21"/>
                <a:gd name="T11" fmla="*/ 0 h 49"/>
                <a:gd name="T12" fmla="*/ 0 w 21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49">
                  <a:moveTo>
                    <a:pt x="0" y="0"/>
                  </a:moveTo>
                  <a:lnTo>
                    <a:pt x="1" y="10"/>
                  </a:lnTo>
                  <a:lnTo>
                    <a:pt x="0" y="49"/>
                  </a:lnTo>
                  <a:lnTo>
                    <a:pt x="12" y="49"/>
                  </a:lnTo>
                  <a:lnTo>
                    <a:pt x="21" y="11"/>
                  </a:lnTo>
                  <a:lnTo>
                    <a:pt x="2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14"/>
            <p:cNvSpPr>
              <a:spLocks/>
            </p:cNvSpPr>
            <p:nvPr/>
          </p:nvSpPr>
          <p:spPr bwMode="gray">
            <a:xfrm>
              <a:off x="8929987" y="4935858"/>
              <a:ext cx="14288" cy="77787"/>
            </a:xfrm>
            <a:custGeom>
              <a:avLst/>
              <a:gdLst>
                <a:gd name="T0" fmla="*/ 5 w 9"/>
                <a:gd name="T1" fmla="*/ 0 h 49"/>
                <a:gd name="T2" fmla="*/ 5 w 9"/>
                <a:gd name="T3" fmla="*/ 11 h 49"/>
                <a:gd name="T4" fmla="*/ 0 w 9"/>
                <a:gd name="T5" fmla="*/ 49 h 49"/>
                <a:gd name="T6" fmla="*/ 9 w 9"/>
                <a:gd name="T7" fmla="*/ 11 h 49"/>
                <a:gd name="T8" fmla="*/ 9 w 9"/>
                <a:gd name="T9" fmla="*/ 0 h 49"/>
                <a:gd name="T10" fmla="*/ 5 w 9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49">
                  <a:moveTo>
                    <a:pt x="5" y="0"/>
                  </a:moveTo>
                  <a:lnTo>
                    <a:pt x="5" y="11"/>
                  </a:lnTo>
                  <a:lnTo>
                    <a:pt x="0" y="49"/>
                  </a:lnTo>
                  <a:lnTo>
                    <a:pt x="9" y="11"/>
                  </a:lnTo>
                  <a:lnTo>
                    <a:pt x="9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99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15"/>
            <p:cNvSpPr>
              <a:spLocks/>
            </p:cNvSpPr>
            <p:nvPr/>
          </p:nvSpPr>
          <p:spPr bwMode="gray">
            <a:xfrm>
              <a:off x="8910937" y="4935858"/>
              <a:ext cx="6350" cy="77787"/>
            </a:xfrm>
            <a:custGeom>
              <a:avLst/>
              <a:gdLst>
                <a:gd name="T0" fmla="*/ 0 w 4"/>
                <a:gd name="T1" fmla="*/ 0 h 49"/>
                <a:gd name="T2" fmla="*/ 1 w 4"/>
                <a:gd name="T3" fmla="*/ 10 h 49"/>
                <a:gd name="T4" fmla="*/ 0 w 4"/>
                <a:gd name="T5" fmla="*/ 49 h 49"/>
                <a:gd name="T6" fmla="*/ 4 w 4"/>
                <a:gd name="T7" fmla="*/ 10 h 49"/>
                <a:gd name="T8" fmla="*/ 4 w 4"/>
                <a:gd name="T9" fmla="*/ 0 h 49"/>
                <a:gd name="T10" fmla="*/ 0 w 4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9">
                  <a:moveTo>
                    <a:pt x="0" y="0"/>
                  </a:moveTo>
                  <a:lnTo>
                    <a:pt x="1" y="10"/>
                  </a:lnTo>
                  <a:lnTo>
                    <a:pt x="0" y="49"/>
                  </a:lnTo>
                  <a:lnTo>
                    <a:pt x="4" y="1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16"/>
            <p:cNvSpPr>
              <a:spLocks/>
            </p:cNvSpPr>
            <p:nvPr/>
          </p:nvSpPr>
          <p:spPr bwMode="gray">
            <a:xfrm>
              <a:off x="8912525" y="4997770"/>
              <a:ext cx="33338" cy="47625"/>
            </a:xfrm>
            <a:custGeom>
              <a:avLst/>
              <a:gdLst>
                <a:gd name="T0" fmla="*/ 0 w 24"/>
                <a:gd name="T1" fmla="*/ 0 h 34"/>
                <a:gd name="T2" fmla="*/ 0 w 24"/>
                <a:gd name="T3" fmla="*/ 34 h 34"/>
                <a:gd name="T4" fmla="*/ 22 w 24"/>
                <a:gd name="T5" fmla="*/ 34 h 34"/>
                <a:gd name="T6" fmla="*/ 24 w 24"/>
                <a:gd name="T7" fmla="*/ 32 h 34"/>
                <a:gd name="T8" fmla="*/ 24 w 24"/>
                <a:gd name="T9" fmla="*/ 27 h 34"/>
                <a:gd name="T10" fmla="*/ 22 w 24"/>
                <a:gd name="T11" fmla="*/ 24 h 34"/>
                <a:gd name="T12" fmla="*/ 15 w 24"/>
                <a:gd name="T13" fmla="*/ 16 h 34"/>
                <a:gd name="T14" fmla="*/ 15 w 24"/>
                <a:gd name="T15" fmla="*/ 0 h 34"/>
                <a:gd name="T16" fmla="*/ 0 w 24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34">
                  <a:moveTo>
                    <a:pt x="0" y="0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4" y="34"/>
                    <a:pt x="24" y="32"/>
                  </a:cubicBezTo>
                  <a:cubicBezTo>
                    <a:pt x="24" y="30"/>
                    <a:pt x="24" y="27"/>
                    <a:pt x="24" y="27"/>
                  </a:cubicBezTo>
                  <a:cubicBezTo>
                    <a:pt x="24" y="27"/>
                    <a:pt x="24" y="26"/>
                    <a:pt x="22" y="24"/>
                  </a:cubicBezTo>
                  <a:cubicBezTo>
                    <a:pt x="20" y="23"/>
                    <a:pt x="16" y="18"/>
                    <a:pt x="15" y="16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17"/>
            <p:cNvSpPr>
              <a:spLocks/>
            </p:cNvSpPr>
            <p:nvPr/>
          </p:nvSpPr>
          <p:spPr bwMode="gray">
            <a:xfrm>
              <a:off x="8912525" y="5042220"/>
              <a:ext cx="33338" cy="4762"/>
            </a:xfrm>
            <a:custGeom>
              <a:avLst/>
              <a:gdLst>
                <a:gd name="T0" fmla="*/ 24 w 24"/>
                <a:gd name="T1" fmla="*/ 0 h 4"/>
                <a:gd name="T2" fmla="*/ 24 w 24"/>
                <a:gd name="T3" fmla="*/ 2 h 4"/>
                <a:gd name="T4" fmla="*/ 22 w 24"/>
                <a:gd name="T5" fmla="*/ 4 h 4"/>
                <a:gd name="T6" fmla="*/ 0 w 24"/>
                <a:gd name="T7" fmla="*/ 4 h 4"/>
                <a:gd name="T8" fmla="*/ 0 w 24"/>
                <a:gd name="T9" fmla="*/ 2 h 4"/>
                <a:gd name="T10" fmla="*/ 22 w 24"/>
                <a:gd name="T11" fmla="*/ 2 h 4"/>
                <a:gd name="T12" fmla="*/ 24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4" y="0"/>
                  </a:moveTo>
                  <a:cubicBezTo>
                    <a:pt x="24" y="0"/>
                    <a:pt x="24" y="1"/>
                    <a:pt x="24" y="2"/>
                  </a:cubicBezTo>
                  <a:cubicBezTo>
                    <a:pt x="24" y="4"/>
                    <a:pt x="22" y="4"/>
                    <a:pt x="22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2"/>
                    <a:pt x="24" y="2"/>
                    <a:pt x="24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18"/>
            <p:cNvSpPr>
              <a:spLocks/>
            </p:cNvSpPr>
            <p:nvPr/>
          </p:nvSpPr>
          <p:spPr bwMode="gray">
            <a:xfrm>
              <a:off x="8933162" y="5019995"/>
              <a:ext cx="12700" cy="25400"/>
            </a:xfrm>
            <a:custGeom>
              <a:avLst/>
              <a:gdLst>
                <a:gd name="T0" fmla="*/ 7 w 9"/>
                <a:gd name="T1" fmla="*/ 18 h 18"/>
                <a:gd name="T2" fmla="*/ 9 w 9"/>
                <a:gd name="T3" fmla="*/ 16 h 18"/>
                <a:gd name="T4" fmla="*/ 9 w 9"/>
                <a:gd name="T5" fmla="*/ 11 h 18"/>
                <a:gd name="T6" fmla="*/ 7 w 9"/>
                <a:gd name="T7" fmla="*/ 8 h 18"/>
                <a:gd name="T8" fmla="*/ 0 w 9"/>
                <a:gd name="T9" fmla="*/ 0 h 18"/>
                <a:gd name="T10" fmla="*/ 0 w 9"/>
                <a:gd name="T11" fmla="*/ 18 h 18"/>
                <a:gd name="T12" fmla="*/ 7 w 9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8">
                  <a:moveTo>
                    <a:pt x="7" y="18"/>
                  </a:moveTo>
                  <a:cubicBezTo>
                    <a:pt x="7" y="18"/>
                    <a:pt x="9" y="18"/>
                    <a:pt x="9" y="16"/>
                  </a:cubicBezTo>
                  <a:cubicBezTo>
                    <a:pt x="9" y="14"/>
                    <a:pt x="9" y="11"/>
                    <a:pt x="9" y="11"/>
                  </a:cubicBezTo>
                  <a:cubicBezTo>
                    <a:pt x="9" y="11"/>
                    <a:pt x="9" y="10"/>
                    <a:pt x="7" y="8"/>
                  </a:cubicBezTo>
                  <a:cubicBezTo>
                    <a:pt x="5" y="7"/>
                    <a:pt x="1" y="2"/>
                    <a:pt x="0" y="0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7" y="18"/>
                  </a:lnTo>
                  <a:close/>
                </a:path>
              </a:pathLst>
            </a:custGeom>
            <a:solidFill>
              <a:srgbClr val="3131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19"/>
            <p:cNvSpPr>
              <a:spLocks/>
            </p:cNvSpPr>
            <p:nvPr/>
          </p:nvSpPr>
          <p:spPr bwMode="gray">
            <a:xfrm>
              <a:off x="8874425" y="4935858"/>
              <a:ext cx="33338" cy="77787"/>
            </a:xfrm>
            <a:custGeom>
              <a:avLst/>
              <a:gdLst>
                <a:gd name="T0" fmla="*/ 0 w 21"/>
                <a:gd name="T1" fmla="*/ 0 h 49"/>
                <a:gd name="T2" fmla="*/ 0 w 21"/>
                <a:gd name="T3" fmla="*/ 10 h 49"/>
                <a:gd name="T4" fmla="*/ 0 w 21"/>
                <a:gd name="T5" fmla="*/ 49 h 49"/>
                <a:gd name="T6" fmla="*/ 13 w 21"/>
                <a:gd name="T7" fmla="*/ 49 h 49"/>
                <a:gd name="T8" fmla="*/ 21 w 21"/>
                <a:gd name="T9" fmla="*/ 11 h 49"/>
                <a:gd name="T10" fmla="*/ 21 w 21"/>
                <a:gd name="T11" fmla="*/ 0 h 49"/>
                <a:gd name="T12" fmla="*/ 0 w 21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49">
                  <a:moveTo>
                    <a:pt x="0" y="0"/>
                  </a:moveTo>
                  <a:lnTo>
                    <a:pt x="0" y="10"/>
                  </a:lnTo>
                  <a:lnTo>
                    <a:pt x="0" y="49"/>
                  </a:lnTo>
                  <a:lnTo>
                    <a:pt x="13" y="49"/>
                  </a:lnTo>
                  <a:lnTo>
                    <a:pt x="21" y="11"/>
                  </a:lnTo>
                  <a:lnTo>
                    <a:pt x="2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20"/>
            <p:cNvSpPr>
              <a:spLocks/>
            </p:cNvSpPr>
            <p:nvPr/>
          </p:nvSpPr>
          <p:spPr bwMode="gray">
            <a:xfrm>
              <a:off x="8895062" y="4935858"/>
              <a:ext cx="12700" cy="77787"/>
            </a:xfrm>
            <a:custGeom>
              <a:avLst/>
              <a:gdLst>
                <a:gd name="T0" fmla="*/ 4 w 8"/>
                <a:gd name="T1" fmla="*/ 0 h 49"/>
                <a:gd name="T2" fmla="*/ 4 w 8"/>
                <a:gd name="T3" fmla="*/ 11 h 49"/>
                <a:gd name="T4" fmla="*/ 0 w 8"/>
                <a:gd name="T5" fmla="*/ 49 h 49"/>
                <a:gd name="T6" fmla="*/ 8 w 8"/>
                <a:gd name="T7" fmla="*/ 11 h 49"/>
                <a:gd name="T8" fmla="*/ 8 w 8"/>
                <a:gd name="T9" fmla="*/ 0 h 49"/>
                <a:gd name="T10" fmla="*/ 4 w 8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49">
                  <a:moveTo>
                    <a:pt x="4" y="0"/>
                  </a:moveTo>
                  <a:lnTo>
                    <a:pt x="4" y="11"/>
                  </a:lnTo>
                  <a:lnTo>
                    <a:pt x="0" y="49"/>
                  </a:lnTo>
                  <a:lnTo>
                    <a:pt x="8" y="11"/>
                  </a:lnTo>
                  <a:lnTo>
                    <a:pt x="8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99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21"/>
            <p:cNvSpPr>
              <a:spLocks/>
            </p:cNvSpPr>
            <p:nvPr/>
          </p:nvSpPr>
          <p:spPr bwMode="gray">
            <a:xfrm>
              <a:off x="8874425" y="4935858"/>
              <a:ext cx="6350" cy="77787"/>
            </a:xfrm>
            <a:custGeom>
              <a:avLst/>
              <a:gdLst>
                <a:gd name="T0" fmla="*/ 0 w 4"/>
                <a:gd name="T1" fmla="*/ 0 h 49"/>
                <a:gd name="T2" fmla="*/ 0 w 4"/>
                <a:gd name="T3" fmla="*/ 10 h 49"/>
                <a:gd name="T4" fmla="*/ 0 w 4"/>
                <a:gd name="T5" fmla="*/ 49 h 49"/>
                <a:gd name="T6" fmla="*/ 4 w 4"/>
                <a:gd name="T7" fmla="*/ 10 h 49"/>
                <a:gd name="T8" fmla="*/ 4 w 4"/>
                <a:gd name="T9" fmla="*/ 0 h 49"/>
                <a:gd name="T10" fmla="*/ 0 w 4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9">
                  <a:moveTo>
                    <a:pt x="0" y="0"/>
                  </a:moveTo>
                  <a:lnTo>
                    <a:pt x="0" y="10"/>
                  </a:lnTo>
                  <a:lnTo>
                    <a:pt x="0" y="49"/>
                  </a:lnTo>
                  <a:lnTo>
                    <a:pt x="4" y="1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22"/>
            <p:cNvSpPr>
              <a:spLocks/>
            </p:cNvSpPr>
            <p:nvPr/>
          </p:nvSpPr>
          <p:spPr bwMode="gray">
            <a:xfrm>
              <a:off x="8874425" y="4997770"/>
              <a:ext cx="34925" cy="47625"/>
            </a:xfrm>
            <a:custGeom>
              <a:avLst/>
              <a:gdLst>
                <a:gd name="T0" fmla="*/ 0 w 25"/>
                <a:gd name="T1" fmla="*/ 0 h 34"/>
                <a:gd name="T2" fmla="*/ 0 w 25"/>
                <a:gd name="T3" fmla="*/ 34 h 34"/>
                <a:gd name="T4" fmla="*/ 23 w 25"/>
                <a:gd name="T5" fmla="*/ 34 h 34"/>
                <a:gd name="T6" fmla="*/ 24 w 25"/>
                <a:gd name="T7" fmla="*/ 32 h 34"/>
                <a:gd name="T8" fmla="*/ 24 w 25"/>
                <a:gd name="T9" fmla="*/ 27 h 34"/>
                <a:gd name="T10" fmla="*/ 22 w 25"/>
                <a:gd name="T11" fmla="*/ 24 h 34"/>
                <a:gd name="T12" fmla="*/ 16 w 25"/>
                <a:gd name="T13" fmla="*/ 16 h 34"/>
                <a:gd name="T14" fmla="*/ 16 w 25"/>
                <a:gd name="T15" fmla="*/ 0 h 34"/>
                <a:gd name="T16" fmla="*/ 0 w 25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34">
                  <a:moveTo>
                    <a:pt x="0" y="0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23" y="34"/>
                    <a:pt x="24" y="34"/>
                    <a:pt x="24" y="32"/>
                  </a:cubicBezTo>
                  <a:cubicBezTo>
                    <a:pt x="24" y="30"/>
                    <a:pt x="24" y="27"/>
                    <a:pt x="24" y="27"/>
                  </a:cubicBezTo>
                  <a:cubicBezTo>
                    <a:pt x="24" y="27"/>
                    <a:pt x="25" y="26"/>
                    <a:pt x="22" y="24"/>
                  </a:cubicBezTo>
                  <a:cubicBezTo>
                    <a:pt x="20" y="23"/>
                    <a:pt x="16" y="18"/>
                    <a:pt x="16" y="16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23"/>
            <p:cNvSpPr>
              <a:spLocks/>
            </p:cNvSpPr>
            <p:nvPr/>
          </p:nvSpPr>
          <p:spPr bwMode="gray">
            <a:xfrm>
              <a:off x="8874425" y="5042220"/>
              <a:ext cx="33338" cy="4762"/>
            </a:xfrm>
            <a:custGeom>
              <a:avLst/>
              <a:gdLst>
                <a:gd name="T0" fmla="*/ 24 w 24"/>
                <a:gd name="T1" fmla="*/ 0 h 4"/>
                <a:gd name="T2" fmla="*/ 24 w 24"/>
                <a:gd name="T3" fmla="*/ 2 h 4"/>
                <a:gd name="T4" fmla="*/ 23 w 24"/>
                <a:gd name="T5" fmla="*/ 4 h 4"/>
                <a:gd name="T6" fmla="*/ 0 w 24"/>
                <a:gd name="T7" fmla="*/ 4 h 4"/>
                <a:gd name="T8" fmla="*/ 0 w 24"/>
                <a:gd name="T9" fmla="*/ 2 h 4"/>
                <a:gd name="T10" fmla="*/ 23 w 24"/>
                <a:gd name="T11" fmla="*/ 2 h 4"/>
                <a:gd name="T12" fmla="*/ 24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4" y="0"/>
                  </a:moveTo>
                  <a:cubicBezTo>
                    <a:pt x="24" y="0"/>
                    <a:pt x="24" y="1"/>
                    <a:pt x="24" y="2"/>
                  </a:cubicBezTo>
                  <a:cubicBezTo>
                    <a:pt x="24" y="4"/>
                    <a:pt x="23" y="4"/>
                    <a:pt x="23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3" y="2"/>
                    <a:pt x="24" y="2"/>
                    <a:pt x="24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24"/>
            <p:cNvSpPr>
              <a:spLocks/>
            </p:cNvSpPr>
            <p:nvPr/>
          </p:nvSpPr>
          <p:spPr bwMode="gray">
            <a:xfrm>
              <a:off x="8896650" y="5019995"/>
              <a:ext cx="11113" cy="25400"/>
            </a:xfrm>
            <a:custGeom>
              <a:avLst/>
              <a:gdLst>
                <a:gd name="T0" fmla="*/ 0 w 8"/>
                <a:gd name="T1" fmla="*/ 0 h 18"/>
                <a:gd name="T2" fmla="*/ 0 w 8"/>
                <a:gd name="T3" fmla="*/ 18 h 18"/>
                <a:gd name="T4" fmla="*/ 7 w 8"/>
                <a:gd name="T5" fmla="*/ 18 h 18"/>
                <a:gd name="T6" fmla="*/ 8 w 8"/>
                <a:gd name="T7" fmla="*/ 16 h 18"/>
                <a:gd name="T8" fmla="*/ 8 w 8"/>
                <a:gd name="T9" fmla="*/ 11 h 18"/>
                <a:gd name="T10" fmla="*/ 8 w 8"/>
                <a:gd name="T11" fmla="*/ 11 h 18"/>
                <a:gd name="T12" fmla="*/ 8 w 8"/>
                <a:gd name="T13" fmla="*/ 11 h 18"/>
                <a:gd name="T14" fmla="*/ 8 w 8"/>
                <a:gd name="T15" fmla="*/ 11 h 18"/>
                <a:gd name="T16" fmla="*/ 6 w 8"/>
                <a:gd name="T17" fmla="*/ 8 h 18"/>
                <a:gd name="T18" fmla="*/ 0 w 8"/>
                <a:gd name="T1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18">
                  <a:moveTo>
                    <a:pt x="0" y="0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7" y="18"/>
                    <a:pt x="8" y="18"/>
                    <a:pt x="8" y="16"/>
                  </a:cubicBezTo>
                  <a:cubicBezTo>
                    <a:pt x="8" y="14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0"/>
                    <a:pt x="8" y="9"/>
                    <a:pt x="6" y="8"/>
                  </a:cubicBezTo>
                  <a:cubicBezTo>
                    <a:pt x="4" y="7"/>
                    <a:pt x="0" y="2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25"/>
            <p:cNvSpPr>
              <a:spLocks/>
            </p:cNvSpPr>
            <p:nvPr/>
          </p:nvSpPr>
          <p:spPr bwMode="gray">
            <a:xfrm>
              <a:off x="8929987" y="4756470"/>
              <a:ext cx="9525" cy="1587"/>
            </a:xfrm>
            <a:custGeom>
              <a:avLst/>
              <a:gdLst>
                <a:gd name="T0" fmla="*/ 0 w 6"/>
                <a:gd name="T1" fmla="*/ 0 h 1"/>
                <a:gd name="T2" fmla="*/ 6 w 6"/>
                <a:gd name="T3" fmla="*/ 1 h 1"/>
                <a:gd name="T4" fmla="*/ 6 w 6"/>
                <a:gd name="T5" fmla="*/ 1 h 1"/>
                <a:gd name="T6" fmla="*/ 0 w 6"/>
                <a:gd name="T7" fmla="*/ 0 h 1"/>
                <a:gd name="T8" fmla="*/ 0 w 6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">
                  <a:moveTo>
                    <a:pt x="0" y="0"/>
                  </a:moveTo>
                  <a:lnTo>
                    <a:pt x="6" y="1"/>
                  </a:lnTo>
                  <a:lnTo>
                    <a:pt x="6" y="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BD9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26"/>
            <p:cNvSpPr>
              <a:spLocks/>
            </p:cNvSpPr>
            <p:nvPr/>
          </p:nvSpPr>
          <p:spPr bwMode="gray">
            <a:xfrm>
              <a:off x="8917287" y="4731070"/>
              <a:ext cx="0" cy="1587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F6CA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27"/>
            <p:cNvSpPr>
              <a:spLocks/>
            </p:cNvSpPr>
            <p:nvPr/>
          </p:nvSpPr>
          <p:spPr bwMode="gray">
            <a:xfrm>
              <a:off x="8899825" y="4724720"/>
              <a:ext cx="50800" cy="57150"/>
            </a:xfrm>
            <a:custGeom>
              <a:avLst/>
              <a:gdLst>
                <a:gd name="T0" fmla="*/ 33 w 36"/>
                <a:gd name="T1" fmla="*/ 16 h 42"/>
                <a:gd name="T2" fmla="*/ 28 w 36"/>
                <a:gd name="T3" fmla="*/ 7 h 42"/>
                <a:gd name="T4" fmla="*/ 27 w 36"/>
                <a:gd name="T5" fmla="*/ 5 h 42"/>
                <a:gd name="T6" fmla="*/ 27 w 36"/>
                <a:gd name="T7" fmla="*/ 5 h 42"/>
                <a:gd name="T8" fmla="*/ 17 w 36"/>
                <a:gd name="T9" fmla="*/ 4 h 42"/>
                <a:gd name="T10" fmla="*/ 13 w 36"/>
                <a:gd name="T11" fmla="*/ 0 h 42"/>
                <a:gd name="T12" fmla="*/ 13 w 36"/>
                <a:gd name="T13" fmla="*/ 0 h 42"/>
                <a:gd name="T14" fmla="*/ 13 w 36"/>
                <a:gd name="T15" fmla="*/ 5 h 42"/>
                <a:gd name="T16" fmla="*/ 13 w 36"/>
                <a:gd name="T17" fmla="*/ 6 h 42"/>
                <a:gd name="T18" fmla="*/ 13 w 36"/>
                <a:gd name="T19" fmla="*/ 11 h 42"/>
                <a:gd name="T20" fmla="*/ 14 w 36"/>
                <a:gd name="T21" fmla="*/ 14 h 42"/>
                <a:gd name="T22" fmla="*/ 11 w 36"/>
                <a:gd name="T23" fmla="*/ 14 h 42"/>
                <a:gd name="T24" fmla="*/ 6 w 36"/>
                <a:gd name="T25" fmla="*/ 11 h 42"/>
                <a:gd name="T26" fmla="*/ 3 w 36"/>
                <a:gd name="T27" fmla="*/ 12 h 42"/>
                <a:gd name="T28" fmla="*/ 4 w 36"/>
                <a:gd name="T29" fmla="*/ 17 h 42"/>
                <a:gd name="T30" fmla="*/ 5 w 36"/>
                <a:gd name="T31" fmla="*/ 20 h 42"/>
                <a:gd name="T32" fmla="*/ 6 w 36"/>
                <a:gd name="T33" fmla="*/ 22 h 42"/>
                <a:gd name="T34" fmla="*/ 6 w 36"/>
                <a:gd name="T35" fmla="*/ 22 h 42"/>
                <a:gd name="T36" fmla="*/ 6 w 36"/>
                <a:gd name="T37" fmla="*/ 22 h 42"/>
                <a:gd name="T38" fmla="*/ 2 w 36"/>
                <a:gd name="T39" fmla="*/ 31 h 42"/>
                <a:gd name="T40" fmla="*/ 0 w 36"/>
                <a:gd name="T41" fmla="*/ 30 h 42"/>
                <a:gd name="T42" fmla="*/ 2 w 36"/>
                <a:gd name="T43" fmla="*/ 41 h 42"/>
                <a:gd name="T44" fmla="*/ 19 w 36"/>
                <a:gd name="T45" fmla="*/ 42 h 42"/>
                <a:gd name="T46" fmla="*/ 18 w 36"/>
                <a:gd name="T47" fmla="*/ 36 h 42"/>
                <a:gd name="T48" fmla="*/ 23 w 36"/>
                <a:gd name="T49" fmla="*/ 37 h 42"/>
                <a:gd name="T50" fmla="*/ 28 w 36"/>
                <a:gd name="T51" fmla="*/ 34 h 42"/>
                <a:gd name="T52" fmla="*/ 29 w 36"/>
                <a:gd name="T53" fmla="*/ 29 h 42"/>
                <a:gd name="T54" fmla="*/ 29 w 36"/>
                <a:gd name="T55" fmla="*/ 24 h 42"/>
                <a:gd name="T56" fmla="*/ 30 w 36"/>
                <a:gd name="T57" fmla="*/ 20 h 42"/>
                <a:gd name="T58" fmla="*/ 33 w 36"/>
                <a:gd name="T59" fmla="*/ 1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6" h="42">
                  <a:moveTo>
                    <a:pt x="33" y="16"/>
                  </a:moveTo>
                  <a:cubicBezTo>
                    <a:pt x="33" y="16"/>
                    <a:pt x="28" y="8"/>
                    <a:pt x="28" y="7"/>
                  </a:cubicBezTo>
                  <a:cubicBezTo>
                    <a:pt x="27" y="6"/>
                    <a:pt x="27" y="5"/>
                    <a:pt x="27" y="5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3" y="6"/>
                    <a:pt x="20" y="5"/>
                    <a:pt x="17" y="4"/>
                  </a:cubicBezTo>
                  <a:cubicBezTo>
                    <a:pt x="15" y="2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13" y="9"/>
                    <a:pt x="13" y="11"/>
                  </a:cubicBezTo>
                  <a:cubicBezTo>
                    <a:pt x="14" y="12"/>
                    <a:pt x="14" y="14"/>
                    <a:pt x="14" y="14"/>
                  </a:cubicBezTo>
                  <a:cubicBezTo>
                    <a:pt x="14" y="16"/>
                    <a:pt x="11" y="14"/>
                    <a:pt x="11" y="14"/>
                  </a:cubicBezTo>
                  <a:cubicBezTo>
                    <a:pt x="11" y="14"/>
                    <a:pt x="9" y="12"/>
                    <a:pt x="6" y="11"/>
                  </a:cubicBezTo>
                  <a:cubicBezTo>
                    <a:pt x="5" y="11"/>
                    <a:pt x="4" y="11"/>
                    <a:pt x="3" y="12"/>
                  </a:cubicBezTo>
                  <a:cubicBezTo>
                    <a:pt x="3" y="13"/>
                    <a:pt x="3" y="15"/>
                    <a:pt x="4" y="17"/>
                  </a:cubicBezTo>
                  <a:cubicBezTo>
                    <a:pt x="4" y="18"/>
                    <a:pt x="4" y="20"/>
                    <a:pt x="5" y="20"/>
                  </a:cubicBezTo>
                  <a:cubicBezTo>
                    <a:pt x="5" y="21"/>
                    <a:pt x="6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6" y="28"/>
                    <a:pt x="2" y="31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20" y="37"/>
                    <a:pt x="21" y="37"/>
                    <a:pt x="23" y="37"/>
                  </a:cubicBezTo>
                  <a:cubicBezTo>
                    <a:pt x="28" y="37"/>
                    <a:pt x="28" y="34"/>
                    <a:pt x="28" y="34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6" y="19"/>
                    <a:pt x="34" y="17"/>
                    <a:pt x="33" y="16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28"/>
            <p:cNvSpPr>
              <a:spLocks/>
            </p:cNvSpPr>
            <p:nvPr/>
          </p:nvSpPr>
          <p:spPr bwMode="gray">
            <a:xfrm>
              <a:off x="8907762" y="4772345"/>
              <a:ext cx="17463" cy="4762"/>
            </a:xfrm>
            <a:custGeom>
              <a:avLst/>
              <a:gdLst>
                <a:gd name="T0" fmla="*/ 0 w 12"/>
                <a:gd name="T1" fmla="*/ 0 h 3"/>
                <a:gd name="T2" fmla="*/ 12 w 12"/>
                <a:gd name="T3" fmla="*/ 3 h 3"/>
                <a:gd name="T4" fmla="*/ 12 w 12"/>
                <a:gd name="T5" fmla="*/ 1 h 3"/>
                <a:gd name="T6" fmla="*/ 0 w 1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3">
                  <a:moveTo>
                    <a:pt x="0" y="0"/>
                  </a:moveTo>
                  <a:cubicBezTo>
                    <a:pt x="1" y="1"/>
                    <a:pt x="4" y="3"/>
                    <a:pt x="12" y="3"/>
                  </a:cubicBezTo>
                  <a:cubicBezTo>
                    <a:pt x="12" y="2"/>
                    <a:pt x="12" y="2"/>
                    <a:pt x="12" y="1"/>
                  </a:cubicBezTo>
                  <a:cubicBezTo>
                    <a:pt x="8" y="1"/>
                    <a:pt x="4" y="1"/>
                    <a:pt x="0" y="0"/>
                  </a:cubicBezTo>
                  <a:close/>
                </a:path>
              </a:pathLst>
            </a:custGeom>
            <a:solidFill>
              <a:srgbClr val="8054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9"/>
            <p:cNvSpPr>
              <a:spLocks/>
            </p:cNvSpPr>
            <p:nvPr/>
          </p:nvSpPr>
          <p:spPr bwMode="gray">
            <a:xfrm>
              <a:off x="8934750" y="4758058"/>
              <a:ext cx="4763" cy="4762"/>
            </a:xfrm>
            <a:custGeom>
              <a:avLst/>
              <a:gdLst>
                <a:gd name="T0" fmla="*/ 4 w 4"/>
                <a:gd name="T1" fmla="*/ 3 h 4"/>
                <a:gd name="T2" fmla="*/ 2 w 4"/>
                <a:gd name="T3" fmla="*/ 0 h 4"/>
                <a:gd name="T4" fmla="*/ 0 w 4"/>
                <a:gd name="T5" fmla="*/ 0 h 4"/>
                <a:gd name="T6" fmla="*/ 4 w 4"/>
                <a:gd name="T7" fmla="*/ 4 h 4"/>
                <a:gd name="T8" fmla="*/ 4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4" y="3"/>
                  </a:moveTo>
                  <a:cubicBezTo>
                    <a:pt x="3" y="2"/>
                    <a:pt x="2" y="1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2" y="2"/>
                    <a:pt x="4" y="4"/>
                  </a:cubicBezTo>
                  <a:lnTo>
                    <a:pt x="4" y="3"/>
                  </a:lnTo>
                  <a:close/>
                </a:path>
              </a:pathLst>
            </a:custGeom>
            <a:solidFill>
              <a:srgbClr val="8054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30"/>
            <p:cNvSpPr>
              <a:spLocks/>
            </p:cNvSpPr>
            <p:nvPr/>
          </p:nvSpPr>
          <p:spPr bwMode="gray">
            <a:xfrm>
              <a:off x="8937925" y="4758058"/>
              <a:ext cx="1588" cy="3175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0 h 3"/>
                <a:gd name="T4" fmla="*/ 2 w 2"/>
                <a:gd name="T5" fmla="*/ 3 h 3"/>
                <a:gd name="T6" fmla="*/ 2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2"/>
                    <a:pt x="2" y="3"/>
                  </a:cubicBezTo>
                  <a:lnTo>
                    <a:pt x="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31"/>
            <p:cNvSpPr>
              <a:spLocks/>
            </p:cNvSpPr>
            <p:nvPr/>
          </p:nvSpPr>
          <p:spPr bwMode="gray">
            <a:xfrm>
              <a:off x="8934750" y="4739008"/>
              <a:ext cx="4763" cy="3175"/>
            </a:xfrm>
            <a:custGeom>
              <a:avLst/>
              <a:gdLst>
                <a:gd name="T0" fmla="*/ 3 w 3"/>
                <a:gd name="T1" fmla="*/ 1 h 3"/>
                <a:gd name="T2" fmla="*/ 1 w 3"/>
                <a:gd name="T3" fmla="*/ 3 h 3"/>
                <a:gd name="T4" fmla="*/ 0 w 3"/>
                <a:gd name="T5" fmla="*/ 2 h 3"/>
                <a:gd name="T6" fmla="*/ 1 w 3"/>
                <a:gd name="T7" fmla="*/ 0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3" y="2"/>
                    <a:pt x="2" y="3"/>
                    <a:pt x="1" y="3"/>
                  </a:cubicBezTo>
                  <a:cubicBezTo>
                    <a:pt x="1" y="3"/>
                    <a:pt x="0" y="3"/>
                    <a:pt x="0" y="2"/>
                  </a:cubicBezTo>
                  <a:cubicBezTo>
                    <a:pt x="0" y="1"/>
                    <a:pt x="0" y="1"/>
                    <a:pt x="1" y="0"/>
                  </a:cubicBezTo>
                  <a:cubicBezTo>
                    <a:pt x="2" y="0"/>
                    <a:pt x="2" y="1"/>
                    <a:pt x="3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32"/>
            <p:cNvSpPr>
              <a:spLocks/>
            </p:cNvSpPr>
            <p:nvPr/>
          </p:nvSpPr>
          <p:spPr bwMode="gray">
            <a:xfrm>
              <a:off x="8893475" y="4772345"/>
              <a:ext cx="34925" cy="22225"/>
            </a:xfrm>
            <a:custGeom>
              <a:avLst/>
              <a:gdLst>
                <a:gd name="T0" fmla="*/ 0 w 22"/>
                <a:gd name="T1" fmla="*/ 8 h 14"/>
                <a:gd name="T2" fmla="*/ 2 w 22"/>
                <a:gd name="T3" fmla="*/ 0 h 14"/>
                <a:gd name="T4" fmla="*/ 22 w 22"/>
                <a:gd name="T5" fmla="*/ 4 h 14"/>
                <a:gd name="T6" fmla="*/ 22 w 22"/>
                <a:gd name="T7" fmla="*/ 14 h 14"/>
                <a:gd name="T8" fmla="*/ 0 w 22"/>
                <a:gd name="T9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4">
                  <a:moveTo>
                    <a:pt x="0" y="8"/>
                  </a:moveTo>
                  <a:lnTo>
                    <a:pt x="2" y="0"/>
                  </a:lnTo>
                  <a:lnTo>
                    <a:pt x="22" y="4"/>
                  </a:lnTo>
                  <a:lnTo>
                    <a:pt x="22" y="14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33"/>
            <p:cNvSpPr>
              <a:spLocks/>
            </p:cNvSpPr>
            <p:nvPr/>
          </p:nvSpPr>
          <p:spPr bwMode="gray">
            <a:xfrm>
              <a:off x="8855375" y="4777108"/>
              <a:ext cx="103188" cy="166687"/>
            </a:xfrm>
            <a:custGeom>
              <a:avLst/>
              <a:gdLst>
                <a:gd name="T0" fmla="*/ 31 w 74"/>
                <a:gd name="T1" fmla="*/ 4 h 121"/>
                <a:gd name="T2" fmla="*/ 14 w 74"/>
                <a:gd name="T3" fmla="*/ 24 h 121"/>
                <a:gd name="T4" fmla="*/ 0 w 74"/>
                <a:gd name="T5" fmla="*/ 119 h 121"/>
                <a:gd name="T6" fmla="*/ 68 w 74"/>
                <a:gd name="T7" fmla="*/ 115 h 121"/>
                <a:gd name="T8" fmla="*/ 62 w 74"/>
                <a:gd name="T9" fmla="*/ 16 h 121"/>
                <a:gd name="T10" fmla="*/ 31 w 74"/>
                <a:gd name="T11" fmla="*/ 4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121">
                  <a:moveTo>
                    <a:pt x="31" y="4"/>
                  </a:moveTo>
                  <a:cubicBezTo>
                    <a:pt x="17" y="5"/>
                    <a:pt x="14" y="22"/>
                    <a:pt x="14" y="24"/>
                  </a:cubicBezTo>
                  <a:cubicBezTo>
                    <a:pt x="13" y="49"/>
                    <a:pt x="11" y="118"/>
                    <a:pt x="0" y="119"/>
                  </a:cubicBezTo>
                  <a:cubicBezTo>
                    <a:pt x="60" y="119"/>
                    <a:pt x="62" y="121"/>
                    <a:pt x="68" y="115"/>
                  </a:cubicBezTo>
                  <a:cubicBezTo>
                    <a:pt x="74" y="109"/>
                    <a:pt x="62" y="16"/>
                    <a:pt x="62" y="16"/>
                  </a:cubicBezTo>
                  <a:cubicBezTo>
                    <a:pt x="61" y="0"/>
                    <a:pt x="48" y="3"/>
                    <a:pt x="31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34"/>
            <p:cNvSpPr>
              <a:spLocks/>
            </p:cNvSpPr>
            <p:nvPr/>
          </p:nvSpPr>
          <p:spPr bwMode="gray">
            <a:xfrm>
              <a:off x="8855375" y="4780283"/>
              <a:ext cx="69850" cy="160337"/>
            </a:xfrm>
            <a:custGeom>
              <a:avLst/>
              <a:gdLst>
                <a:gd name="T0" fmla="*/ 31 w 50"/>
                <a:gd name="T1" fmla="*/ 1 h 116"/>
                <a:gd name="T2" fmla="*/ 14 w 50"/>
                <a:gd name="T3" fmla="*/ 21 h 116"/>
                <a:gd name="T4" fmla="*/ 0 w 50"/>
                <a:gd name="T5" fmla="*/ 116 h 116"/>
                <a:gd name="T6" fmla="*/ 9 w 50"/>
                <a:gd name="T7" fmla="*/ 116 h 116"/>
                <a:gd name="T8" fmla="*/ 8 w 50"/>
                <a:gd name="T9" fmla="*/ 116 h 116"/>
                <a:gd name="T10" fmla="*/ 22 w 50"/>
                <a:gd name="T11" fmla="*/ 31 h 116"/>
                <a:gd name="T12" fmla="*/ 40 w 50"/>
                <a:gd name="T13" fmla="*/ 2 h 116"/>
                <a:gd name="T14" fmla="*/ 49 w 50"/>
                <a:gd name="T15" fmla="*/ 0 h 116"/>
                <a:gd name="T16" fmla="*/ 31 w 50"/>
                <a:gd name="T17" fmla="*/ 1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" h="116">
                  <a:moveTo>
                    <a:pt x="31" y="1"/>
                  </a:moveTo>
                  <a:cubicBezTo>
                    <a:pt x="17" y="2"/>
                    <a:pt x="14" y="19"/>
                    <a:pt x="14" y="21"/>
                  </a:cubicBezTo>
                  <a:cubicBezTo>
                    <a:pt x="13" y="46"/>
                    <a:pt x="11" y="115"/>
                    <a:pt x="0" y="116"/>
                  </a:cubicBezTo>
                  <a:cubicBezTo>
                    <a:pt x="3" y="116"/>
                    <a:pt x="6" y="116"/>
                    <a:pt x="9" y="116"/>
                  </a:cubicBezTo>
                  <a:cubicBezTo>
                    <a:pt x="8" y="116"/>
                    <a:pt x="8" y="116"/>
                    <a:pt x="8" y="116"/>
                  </a:cubicBezTo>
                  <a:cubicBezTo>
                    <a:pt x="20" y="115"/>
                    <a:pt x="21" y="55"/>
                    <a:pt x="22" y="31"/>
                  </a:cubicBezTo>
                  <a:cubicBezTo>
                    <a:pt x="22" y="29"/>
                    <a:pt x="26" y="3"/>
                    <a:pt x="40" y="2"/>
                  </a:cubicBezTo>
                  <a:cubicBezTo>
                    <a:pt x="43" y="2"/>
                    <a:pt x="50" y="1"/>
                    <a:pt x="49" y="0"/>
                  </a:cubicBezTo>
                  <a:cubicBezTo>
                    <a:pt x="44" y="0"/>
                    <a:pt x="38" y="0"/>
                    <a:pt x="31" y="1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35"/>
            <p:cNvSpPr>
              <a:spLocks/>
            </p:cNvSpPr>
            <p:nvPr/>
          </p:nvSpPr>
          <p:spPr bwMode="gray">
            <a:xfrm>
              <a:off x="8890300" y="4850133"/>
              <a:ext cx="87313" cy="55562"/>
            </a:xfrm>
            <a:custGeom>
              <a:avLst/>
              <a:gdLst>
                <a:gd name="T0" fmla="*/ 63 w 63"/>
                <a:gd name="T1" fmla="*/ 36 h 41"/>
                <a:gd name="T2" fmla="*/ 57 w 63"/>
                <a:gd name="T3" fmla="*/ 41 h 41"/>
                <a:gd name="T4" fmla="*/ 6 w 63"/>
                <a:gd name="T5" fmla="*/ 41 h 41"/>
                <a:gd name="T6" fmla="*/ 0 w 63"/>
                <a:gd name="T7" fmla="*/ 36 h 41"/>
                <a:gd name="T8" fmla="*/ 0 w 63"/>
                <a:gd name="T9" fmla="*/ 6 h 41"/>
                <a:gd name="T10" fmla="*/ 6 w 63"/>
                <a:gd name="T11" fmla="*/ 0 h 41"/>
                <a:gd name="T12" fmla="*/ 57 w 63"/>
                <a:gd name="T13" fmla="*/ 0 h 41"/>
                <a:gd name="T14" fmla="*/ 63 w 63"/>
                <a:gd name="T15" fmla="*/ 6 h 41"/>
                <a:gd name="T16" fmla="*/ 63 w 63"/>
                <a:gd name="T17" fmla="*/ 3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3" h="41">
                  <a:moveTo>
                    <a:pt x="63" y="36"/>
                  </a:moveTo>
                  <a:cubicBezTo>
                    <a:pt x="63" y="39"/>
                    <a:pt x="60" y="41"/>
                    <a:pt x="57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3" y="41"/>
                    <a:pt x="0" y="39"/>
                    <a:pt x="0" y="3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60" y="0"/>
                    <a:pt x="63" y="3"/>
                    <a:pt x="63" y="6"/>
                  </a:cubicBezTo>
                  <a:lnTo>
                    <a:pt x="63" y="36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36"/>
            <p:cNvSpPr>
              <a:spLocks/>
            </p:cNvSpPr>
            <p:nvPr/>
          </p:nvSpPr>
          <p:spPr bwMode="gray">
            <a:xfrm>
              <a:off x="8960150" y="4897758"/>
              <a:ext cx="19050" cy="20637"/>
            </a:xfrm>
            <a:custGeom>
              <a:avLst/>
              <a:gdLst>
                <a:gd name="T0" fmla="*/ 0 w 14"/>
                <a:gd name="T1" fmla="*/ 10 h 15"/>
                <a:gd name="T2" fmla="*/ 0 w 14"/>
                <a:gd name="T3" fmla="*/ 10 h 15"/>
                <a:gd name="T4" fmla="*/ 1 w 14"/>
                <a:gd name="T5" fmla="*/ 12 h 15"/>
                <a:gd name="T6" fmla="*/ 6 w 14"/>
                <a:gd name="T7" fmla="*/ 15 h 15"/>
                <a:gd name="T8" fmla="*/ 8 w 14"/>
                <a:gd name="T9" fmla="*/ 14 h 15"/>
                <a:gd name="T10" fmla="*/ 9 w 14"/>
                <a:gd name="T11" fmla="*/ 13 h 15"/>
                <a:gd name="T12" fmla="*/ 11 w 14"/>
                <a:gd name="T13" fmla="*/ 12 h 15"/>
                <a:gd name="T14" fmla="*/ 11 w 14"/>
                <a:gd name="T15" fmla="*/ 10 h 15"/>
                <a:gd name="T16" fmla="*/ 13 w 14"/>
                <a:gd name="T17" fmla="*/ 9 h 15"/>
                <a:gd name="T18" fmla="*/ 12 w 14"/>
                <a:gd name="T19" fmla="*/ 6 h 15"/>
                <a:gd name="T20" fmla="*/ 11 w 14"/>
                <a:gd name="T21" fmla="*/ 6 h 15"/>
                <a:gd name="T22" fmla="*/ 13 w 14"/>
                <a:gd name="T23" fmla="*/ 5 h 15"/>
                <a:gd name="T24" fmla="*/ 13 w 14"/>
                <a:gd name="T25" fmla="*/ 3 h 15"/>
                <a:gd name="T26" fmla="*/ 8 w 14"/>
                <a:gd name="T27" fmla="*/ 0 h 15"/>
                <a:gd name="T28" fmla="*/ 6 w 14"/>
                <a:gd name="T29" fmla="*/ 0 h 15"/>
                <a:gd name="T30" fmla="*/ 0 w 14"/>
                <a:gd name="T31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" h="15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1" y="12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5"/>
                    <a:pt x="8" y="15"/>
                    <a:pt x="8" y="14"/>
                  </a:cubicBezTo>
                  <a:cubicBezTo>
                    <a:pt x="9" y="14"/>
                    <a:pt x="9" y="13"/>
                    <a:pt x="9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1" y="11"/>
                    <a:pt x="11" y="10"/>
                    <a:pt x="11" y="10"/>
                  </a:cubicBezTo>
                  <a:cubicBezTo>
                    <a:pt x="11" y="10"/>
                    <a:pt x="12" y="10"/>
                    <a:pt x="13" y="9"/>
                  </a:cubicBezTo>
                  <a:cubicBezTo>
                    <a:pt x="13" y="8"/>
                    <a:pt x="13" y="7"/>
                    <a:pt x="1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3" y="6"/>
                    <a:pt x="13" y="5"/>
                  </a:cubicBezTo>
                  <a:cubicBezTo>
                    <a:pt x="14" y="4"/>
                    <a:pt x="14" y="3"/>
                    <a:pt x="13" y="3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2" y="2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37"/>
            <p:cNvSpPr>
              <a:spLocks/>
            </p:cNvSpPr>
            <p:nvPr/>
          </p:nvSpPr>
          <p:spPr bwMode="gray">
            <a:xfrm>
              <a:off x="8960150" y="4892995"/>
              <a:ext cx="15875" cy="6350"/>
            </a:xfrm>
            <a:custGeom>
              <a:avLst/>
              <a:gdLst>
                <a:gd name="T0" fmla="*/ 0 w 11"/>
                <a:gd name="T1" fmla="*/ 2 h 4"/>
                <a:gd name="T2" fmla="*/ 2 w 11"/>
                <a:gd name="T3" fmla="*/ 0 h 4"/>
                <a:gd name="T4" fmla="*/ 10 w 11"/>
                <a:gd name="T5" fmla="*/ 0 h 4"/>
                <a:gd name="T6" fmla="*/ 11 w 11"/>
                <a:gd name="T7" fmla="*/ 2 h 4"/>
                <a:gd name="T8" fmla="*/ 11 w 11"/>
                <a:gd name="T9" fmla="*/ 2 h 4"/>
                <a:gd name="T10" fmla="*/ 10 w 11"/>
                <a:gd name="T11" fmla="*/ 4 h 4"/>
                <a:gd name="T12" fmla="*/ 2 w 11"/>
                <a:gd name="T13" fmla="*/ 4 h 4"/>
                <a:gd name="T14" fmla="*/ 0 w 11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4"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1" y="1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0" y="4"/>
                    <a:pt x="10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38"/>
            <p:cNvSpPr>
              <a:spLocks/>
            </p:cNvSpPr>
            <p:nvPr/>
          </p:nvSpPr>
          <p:spPr bwMode="gray">
            <a:xfrm>
              <a:off x="8893475" y="4797745"/>
              <a:ext cx="77788" cy="115887"/>
            </a:xfrm>
            <a:custGeom>
              <a:avLst/>
              <a:gdLst>
                <a:gd name="T0" fmla="*/ 48 w 57"/>
                <a:gd name="T1" fmla="*/ 84 h 84"/>
                <a:gd name="T2" fmla="*/ 42 w 57"/>
                <a:gd name="T3" fmla="*/ 82 h 84"/>
                <a:gd name="T4" fmla="*/ 18 w 57"/>
                <a:gd name="T5" fmla="*/ 59 h 84"/>
                <a:gd name="T6" fmla="*/ 1 w 57"/>
                <a:gd name="T7" fmla="*/ 11 h 84"/>
                <a:gd name="T8" fmla="*/ 6 w 57"/>
                <a:gd name="T9" fmla="*/ 1 h 84"/>
                <a:gd name="T10" fmla="*/ 16 w 57"/>
                <a:gd name="T11" fmla="*/ 6 h 84"/>
                <a:gd name="T12" fmla="*/ 32 w 57"/>
                <a:gd name="T13" fmla="*/ 50 h 84"/>
                <a:gd name="T14" fmla="*/ 53 w 57"/>
                <a:gd name="T15" fmla="*/ 70 h 84"/>
                <a:gd name="T16" fmla="*/ 54 w 57"/>
                <a:gd name="T17" fmla="*/ 81 h 84"/>
                <a:gd name="T18" fmla="*/ 48 w 57"/>
                <a:gd name="T1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84">
                  <a:moveTo>
                    <a:pt x="48" y="84"/>
                  </a:moveTo>
                  <a:cubicBezTo>
                    <a:pt x="46" y="84"/>
                    <a:pt x="44" y="83"/>
                    <a:pt x="42" y="82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7"/>
                    <a:pt x="2" y="2"/>
                    <a:pt x="6" y="1"/>
                  </a:cubicBezTo>
                  <a:cubicBezTo>
                    <a:pt x="10" y="0"/>
                    <a:pt x="15" y="2"/>
                    <a:pt x="16" y="6"/>
                  </a:cubicBezTo>
                  <a:cubicBezTo>
                    <a:pt x="32" y="50"/>
                    <a:pt x="32" y="50"/>
                    <a:pt x="32" y="50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57" y="73"/>
                    <a:pt x="57" y="78"/>
                    <a:pt x="54" y="81"/>
                  </a:cubicBezTo>
                  <a:cubicBezTo>
                    <a:pt x="52" y="83"/>
                    <a:pt x="50" y="84"/>
                    <a:pt x="48" y="8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9"/>
            <p:cNvSpPr>
              <a:spLocks/>
            </p:cNvSpPr>
            <p:nvPr/>
          </p:nvSpPr>
          <p:spPr bwMode="gray">
            <a:xfrm>
              <a:off x="8893475" y="4799333"/>
              <a:ext cx="69850" cy="114300"/>
            </a:xfrm>
            <a:custGeom>
              <a:avLst/>
              <a:gdLst>
                <a:gd name="T0" fmla="*/ 48 w 51"/>
                <a:gd name="T1" fmla="*/ 76 h 82"/>
                <a:gd name="T2" fmla="*/ 23 w 51"/>
                <a:gd name="T3" fmla="*/ 53 h 82"/>
                <a:gd name="T4" fmla="*/ 5 w 51"/>
                <a:gd name="T5" fmla="*/ 2 h 82"/>
                <a:gd name="T6" fmla="*/ 4 w 51"/>
                <a:gd name="T7" fmla="*/ 0 h 82"/>
                <a:gd name="T8" fmla="*/ 1 w 51"/>
                <a:gd name="T9" fmla="*/ 9 h 82"/>
                <a:gd name="T10" fmla="*/ 18 w 51"/>
                <a:gd name="T11" fmla="*/ 57 h 82"/>
                <a:gd name="T12" fmla="*/ 42 w 51"/>
                <a:gd name="T13" fmla="*/ 80 h 82"/>
                <a:gd name="T14" fmla="*/ 48 w 51"/>
                <a:gd name="T15" fmla="*/ 82 h 82"/>
                <a:gd name="T16" fmla="*/ 51 w 51"/>
                <a:gd name="T17" fmla="*/ 81 h 82"/>
                <a:gd name="T18" fmla="*/ 48 w 51"/>
                <a:gd name="T19" fmla="*/ 76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82">
                  <a:moveTo>
                    <a:pt x="48" y="76"/>
                  </a:moveTo>
                  <a:cubicBezTo>
                    <a:pt x="23" y="53"/>
                    <a:pt x="23" y="53"/>
                    <a:pt x="23" y="53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1"/>
                    <a:pt x="5" y="1"/>
                    <a:pt x="4" y="0"/>
                  </a:cubicBezTo>
                  <a:cubicBezTo>
                    <a:pt x="1" y="2"/>
                    <a:pt x="0" y="6"/>
                    <a:pt x="1" y="9"/>
                  </a:cubicBezTo>
                  <a:cubicBezTo>
                    <a:pt x="18" y="57"/>
                    <a:pt x="18" y="57"/>
                    <a:pt x="18" y="57"/>
                  </a:cubicBezTo>
                  <a:cubicBezTo>
                    <a:pt x="42" y="80"/>
                    <a:pt x="42" y="80"/>
                    <a:pt x="42" y="80"/>
                  </a:cubicBezTo>
                  <a:cubicBezTo>
                    <a:pt x="44" y="81"/>
                    <a:pt x="46" y="82"/>
                    <a:pt x="48" y="82"/>
                  </a:cubicBezTo>
                  <a:cubicBezTo>
                    <a:pt x="49" y="82"/>
                    <a:pt x="50" y="82"/>
                    <a:pt x="51" y="81"/>
                  </a:cubicBezTo>
                  <a:cubicBezTo>
                    <a:pt x="51" y="79"/>
                    <a:pt x="50" y="78"/>
                    <a:pt x="48" y="76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40"/>
            <p:cNvSpPr>
              <a:spLocks/>
            </p:cNvSpPr>
            <p:nvPr/>
          </p:nvSpPr>
          <p:spPr bwMode="gray">
            <a:xfrm>
              <a:off x="8869662" y="4696145"/>
              <a:ext cx="73025" cy="73025"/>
            </a:xfrm>
            <a:custGeom>
              <a:avLst/>
              <a:gdLst>
                <a:gd name="T0" fmla="*/ 49 w 53"/>
                <a:gd name="T1" fmla="*/ 11 h 53"/>
                <a:gd name="T2" fmla="*/ 42 w 53"/>
                <a:gd name="T3" fmla="*/ 6 h 53"/>
                <a:gd name="T4" fmla="*/ 40 w 53"/>
                <a:gd name="T5" fmla="*/ 6 h 53"/>
                <a:gd name="T6" fmla="*/ 33 w 53"/>
                <a:gd name="T7" fmla="*/ 1 h 53"/>
                <a:gd name="T8" fmla="*/ 29 w 53"/>
                <a:gd name="T9" fmla="*/ 3 h 53"/>
                <a:gd name="T10" fmla="*/ 23 w 53"/>
                <a:gd name="T11" fmla="*/ 0 h 53"/>
                <a:gd name="T12" fmla="*/ 15 w 53"/>
                <a:gd name="T13" fmla="*/ 4 h 53"/>
                <a:gd name="T14" fmla="*/ 14 w 53"/>
                <a:gd name="T15" fmla="*/ 4 h 53"/>
                <a:gd name="T16" fmla="*/ 6 w 53"/>
                <a:gd name="T17" fmla="*/ 12 h 53"/>
                <a:gd name="T18" fmla="*/ 6 w 53"/>
                <a:gd name="T19" fmla="*/ 13 h 53"/>
                <a:gd name="T20" fmla="*/ 0 w 53"/>
                <a:gd name="T21" fmla="*/ 21 h 53"/>
                <a:gd name="T22" fmla="*/ 1 w 53"/>
                <a:gd name="T23" fmla="*/ 25 h 53"/>
                <a:gd name="T24" fmla="*/ 0 w 53"/>
                <a:gd name="T25" fmla="*/ 30 h 53"/>
                <a:gd name="T26" fmla="*/ 4 w 53"/>
                <a:gd name="T27" fmla="*/ 37 h 53"/>
                <a:gd name="T28" fmla="*/ 4 w 53"/>
                <a:gd name="T29" fmla="*/ 38 h 53"/>
                <a:gd name="T30" fmla="*/ 3 w 53"/>
                <a:gd name="T31" fmla="*/ 39 h 53"/>
                <a:gd name="T32" fmla="*/ 11 w 53"/>
                <a:gd name="T33" fmla="*/ 48 h 53"/>
                <a:gd name="T34" fmla="*/ 11 w 53"/>
                <a:gd name="T35" fmla="*/ 48 h 53"/>
                <a:gd name="T36" fmla="*/ 16 w 53"/>
                <a:gd name="T37" fmla="*/ 52 h 53"/>
                <a:gd name="T38" fmla="*/ 19 w 53"/>
                <a:gd name="T39" fmla="*/ 52 h 53"/>
                <a:gd name="T40" fmla="*/ 22 w 53"/>
                <a:gd name="T41" fmla="*/ 53 h 53"/>
                <a:gd name="T42" fmla="*/ 22 w 53"/>
                <a:gd name="T43" fmla="*/ 53 h 53"/>
                <a:gd name="T44" fmla="*/ 22 w 53"/>
                <a:gd name="T45" fmla="*/ 53 h 53"/>
                <a:gd name="T46" fmla="*/ 26 w 53"/>
                <a:gd name="T47" fmla="*/ 50 h 53"/>
                <a:gd name="T48" fmla="*/ 31 w 53"/>
                <a:gd name="T49" fmla="*/ 49 h 53"/>
                <a:gd name="T50" fmla="*/ 31 w 53"/>
                <a:gd name="T51" fmla="*/ 40 h 53"/>
                <a:gd name="T52" fmla="*/ 38 w 53"/>
                <a:gd name="T53" fmla="*/ 39 h 53"/>
                <a:gd name="T54" fmla="*/ 38 w 53"/>
                <a:gd name="T55" fmla="*/ 31 h 53"/>
                <a:gd name="T56" fmla="*/ 43 w 53"/>
                <a:gd name="T57" fmla="*/ 30 h 53"/>
                <a:gd name="T58" fmla="*/ 45 w 53"/>
                <a:gd name="T59" fmla="*/ 26 h 53"/>
                <a:gd name="T60" fmla="*/ 49 w 53"/>
                <a:gd name="T61" fmla="*/ 26 h 53"/>
                <a:gd name="T62" fmla="*/ 49 w 53"/>
                <a:gd name="T63" fmla="*/ 26 h 53"/>
                <a:gd name="T64" fmla="*/ 53 w 53"/>
                <a:gd name="T65" fmla="*/ 17 h 53"/>
                <a:gd name="T66" fmla="*/ 49 w 53"/>
                <a:gd name="T67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3" h="53">
                  <a:moveTo>
                    <a:pt x="49" y="11"/>
                  </a:moveTo>
                  <a:cubicBezTo>
                    <a:pt x="48" y="8"/>
                    <a:pt x="45" y="6"/>
                    <a:pt x="42" y="6"/>
                  </a:cubicBezTo>
                  <a:cubicBezTo>
                    <a:pt x="41" y="6"/>
                    <a:pt x="41" y="6"/>
                    <a:pt x="40" y="6"/>
                  </a:cubicBezTo>
                  <a:cubicBezTo>
                    <a:pt x="39" y="3"/>
                    <a:pt x="36" y="1"/>
                    <a:pt x="33" y="1"/>
                  </a:cubicBezTo>
                  <a:cubicBezTo>
                    <a:pt x="32" y="1"/>
                    <a:pt x="30" y="2"/>
                    <a:pt x="29" y="3"/>
                  </a:cubicBezTo>
                  <a:cubicBezTo>
                    <a:pt x="27" y="1"/>
                    <a:pt x="25" y="0"/>
                    <a:pt x="23" y="0"/>
                  </a:cubicBezTo>
                  <a:cubicBezTo>
                    <a:pt x="19" y="0"/>
                    <a:pt x="16" y="2"/>
                    <a:pt x="15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0" y="4"/>
                    <a:pt x="6" y="8"/>
                    <a:pt x="6" y="12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3" y="14"/>
                    <a:pt x="0" y="17"/>
                    <a:pt x="0" y="21"/>
                  </a:cubicBezTo>
                  <a:cubicBezTo>
                    <a:pt x="0" y="22"/>
                    <a:pt x="1" y="24"/>
                    <a:pt x="1" y="25"/>
                  </a:cubicBezTo>
                  <a:cubicBezTo>
                    <a:pt x="0" y="26"/>
                    <a:pt x="0" y="28"/>
                    <a:pt x="0" y="30"/>
                  </a:cubicBezTo>
                  <a:cubicBezTo>
                    <a:pt x="0" y="33"/>
                    <a:pt x="1" y="36"/>
                    <a:pt x="4" y="37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3" y="38"/>
                    <a:pt x="3" y="39"/>
                    <a:pt x="3" y="39"/>
                  </a:cubicBezTo>
                  <a:cubicBezTo>
                    <a:pt x="3" y="44"/>
                    <a:pt x="7" y="47"/>
                    <a:pt x="11" y="48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50"/>
                    <a:pt x="14" y="52"/>
                    <a:pt x="16" y="52"/>
                  </a:cubicBezTo>
                  <a:cubicBezTo>
                    <a:pt x="17" y="52"/>
                    <a:pt x="18" y="52"/>
                    <a:pt x="19" y="52"/>
                  </a:cubicBezTo>
                  <a:cubicBezTo>
                    <a:pt x="20" y="52"/>
                    <a:pt x="21" y="53"/>
                    <a:pt x="22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4" y="52"/>
                    <a:pt x="25" y="51"/>
                    <a:pt x="26" y="50"/>
                  </a:cubicBezTo>
                  <a:cubicBezTo>
                    <a:pt x="27" y="50"/>
                    <a:pt x="29" y="50"/>
                    <a:pt x="31" y="49"/>
                  </a:cubicBezTo>
                  <a:cubicBezTo>
                    <a:pt x="39" y="46"/>
                    <a:pt x="32" y="45"/>
                    <a:pt x="31" y="40"/>
                  </a:cubicBezTo>
                  <a:cubicBezTo>
                    <a:pt x="31" y="35"/>
                    <a:pt x="36" y="40"/>
                    <a:pt x="38" y="39"/>
                  </a:cubicBezTo>
                  <a:cubicBezTo>
                    <a:pt x="40" y="39"/>
                    <a:pt x="38" y="35"/>
                    <a:pt x="38" y="31"/>
                  </a:cubicBezTo>
                  <a:cubicBezTo>
                    <a:pt x="37" y="27"/>
                    <a:pt x="39" y="30"/>
                    <a:pt x="43" y="30"/>
                  </a:cubicBezTo>
                  <a:cubicBezTo>
                    <a:pt x="46" y="29"/>
                    <a:pt x="46" y="28"/>
                    <a:pt x="45" y="26"/>
                  </a:cubicBezTo>
                  <a:cubicBezTo>
                    <a:pt x="47" y="26"/>
                    <a:pt x="48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52" y="24"/>
                    <a:pt x="53" y="20"/>
                    <a:pt x="53" y="17"/>
                  </a:cubicBezTo>
                  <a:cubicBezTo>
                    <a:pt x="52" y="14"/>
                    <a:pt x="51" y="13"/>
                    <a:pt x="49" y="1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41"/>
            <p:cNvSpPr>
              <a:spLocks/>
            </p:cNvSpPr>
            <p:nvPr/>
          </p:nvSpPr>
          <p:spPr bwMode="gray">
            <a:xfrm>
              <a:off x="8861725" y="4683445"/>
              <a:ext cx="82550" cy="65087"/>
            </a:xfrm>
            <a:custGeom>
              <a:avLst/>
              <a:gdLst>
                <a:gd name="T0" fmla="*/ 60 w 60"/>
                <a:gd name="T1" fmla="*/ 26 h 47"/>
                <a:gd name="T2" fmla="*/ 59 w 60"/>
                <a:gd name="T3" fmla="*/ 21 h 47"/>
                <a:gd name="T4" fmla="*/ 22 w 60"/>
                <a:gd name="T5" fmla="*/ 6 h 47"/>
                <a:gd name="T6" fmla="*/ 6 w 60"/>
                <a:gd name="T7" fmla="*/ 43 h 47"/>
                <a:gd name="T8" fmla="*/ 8 w 60"/>
                <a:gd name="T9" fmla="*/ 47 h 47"/>
                <a:gd name="T10" fmla="*/ 60 w 60"/>
                <a:gd name="T11" fmla="*/ 2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47">
                  <a:moveTo>
                    <a:pt x="60" y="26"/>
                  </a:moveTo>
                  <a:cubicBezTo>
                    <a:pt x="60" y="24"/>
                    <a:pt x="59" y="23"/>
                    <a:pt x="59" y="21"/>
                  </a:cubicBezTo>
                  <a:cubicBezTo>
                    <a:pt x="53" y="7"/>
                    <a:pt x="36" y="0"/>
                    <a:pt x="22" y="6"/>
                  </a:cubicBezTo>
                  <a:cubicBezTo>
                    <a:pt x="7" y="12"/>
                    <a:pt x="0" y="29"/>
                    <a:pt x="6" y="43"/>
                  </a:cubicBezTo>
                  <a:cubicBezTo>
                    <a:pt x="7" y="44"/>
                    <a:pt x="7" y="46"/>
                    <a:pt x="8" y="47"/>
                  </a:cubicBezTo>
                  <a:lnTo>
                    <a:pt x="60" y="26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42"/>
            <p:cNvSpPr>
              <a:spLocks/>
            </p:cNvSpPr>
            <p:nvPr/>
          </p:nvSpPr>
          <p:spPr bwMode="gray">
            <a:xfrm>
              <a:off x="8885537" y="4683445"/>
              <a:ext cx="58738" cy="38100"/>
            </a:xfrm>
            <a:custGeom>
              <a:avLst/>
              <a:gdLst>
                <a:gd name="T0" fmla="*/ 34 w 42"/>
                <a:gd name="T1" fmla="*/ 24 h 28"/>
                <a:gd name="T2" fmla="*/ 35 w 42"/>
                <a:gd name="T3" fmla="*/ 28 h 28"/>
                <a:gd name="T4" fmla="*/ 42 w 42"/>
                <a:gd name="T5" fmla="*/ 26 h 28"/>
                <a:gd name="T6" fmla="*/ 41 w 42"/>
                <a:gd name="T7" fmla="*/ 21 h 28"/>
                <a:gd name="T8" fmla="*/ 4 w 42"/>
                <a:gd name="T9" fmla="*/ 6 h 28"/>
                <a:gd name="T10" fmla="*/ 0 w 42"/>
                <a:gd name="T11" fmla="*/ 8 h 28"/>
                <a:gd name="T12" fmla="*/ 34 w 42"/>
                <a:gd name="T13" fmla="*/ 2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28">
                  <a:moveTo>
                    <a:pt x="34" y="24"/>
                  </a:moveTo>
                  <a:cubicBezTo>
                    <a:pt x="34" y="26"/>
                    <a:pt x="34" y="27"/>
                    <a:pt x="35" y="28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2" y="24"/>
                    <a:pt x="41" y="23"/>
                    <a:pt x="41" y="21"/>
                  </a:cubicBezTo>
                  <a:cubicBezTo>
                    <a:pt x="35" y="7"/>
                    <a:pt x="18" y="0"/>
                    <a:pt x="4" y="6"/>
                  </a:cubicBezTo>
                  <a:cubicBezTo>
                    <a:pt x="2" y="7"/>
                    <a:pt x="1" y="7"/>
                    <a:pt x="0" y="8"/>
                  </a:cubicBezTo>
                  <a:cubicBezTo>
                    <a:pt x="14" y="4"/>
                    <a:pt x="28" y="11"/>
                    <a:pt x="34" y="24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43"/>
            <p:cNvSpPr>
              <a:spLocks/>
            </p:cNvSpPr>
            <p:nvPr/>
          </p:nvSpPr>
          <p:spPr bwMode="gray">
            <a:xfrm>
              <a:off x="8864900" y="4692970"/>
              <a:ext cx="26988" cy="55562"/>
            </a:xfrm>
            <a:custGeom>
              <a:avLst/>
              <a:gdLst>
                <a:gd name="T0" fmla="*/ 20 w 20"/>
                <a:gd name="T1" fmla="*/ 0 h 40"/>
                <a:gd name="T2" fmla="*/ 16 w 20"/>
                <a:gd name="T3" fmla="*/ 1 h 40"/>
                <a:gd name="T4" fmla="*/ 3 w 20"/>
                <a:gd name="T5" fmla="*/ 30 h 40"/>
                <a:gd name="T6" fmla="*/ 3 w 20"/>
                <a:gd name="T7" fmla="*/ 30 h 40"/>
                <a:gd name="T8" fmla="*/ 3 w 20"/>
                <a:gd name="T9" fmla="*/ 31 h 40"/>
                <a:gd name="T10" fmla="*/ 4 w 20"/>
                <a:gd name="T11" fmla="*/ 36 h 40"/>
                <a:gd name="T12" fmla="*/ 6 w 20"/>
                <a:gd name="T13" fmla="*/ 40 h 40"/>
                <a:gd name="T14" fmla="*/ 10 w 20"/>
                <a:gd name="T15" fmla="*/ 38 h 40"/>
                <a:gd name="T16" fmla="*/ 13 w 20"/>
                <a:gd name="T17" fmla="*/ 37 h 40"/>
                <a:gd name="T18" fmla="*/ 11 w 20"/>
                <a:gd name="T19" fmla="*/ 33 h 40"/>
                <a:gd name="T20" fmla="*/ 20 w 20"/>
                <a:gd name="T2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0">
                  <a:moveTo>
                    <a:pt x="20" y="0"/>
                  </a:moveTo>
                  <a:cubicBezTo>
                    <a:pt x="18" y="0"/>
                    <a:pt x="17" y="1"/>
                    <a:pt x="16" y="1"/>
                  </a:cubicBezTo>
                  <a:cubicBezTo>
                    <a:pt x="6" y="7"/>
                    <a:pt x="0" y="19"/>
                    <a:pt x="3" y="30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3" y="33"/>
                    <a:pt x="4" y="34"/>
                    <a:pt x="4" y="36"/>
                  </a:cubicBezTo>
                  <a:cubicBezTo>
                    <a:pt x="5" y="37"/>
                    <a:pt x="6" y="39"/>
                    <a:pt x="6" y="40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36"/>
                    <a:pt x="12" y="34"/>
                    <a:pt x="11" y="33"/>
                  </a:cubicBezTo>
                  <a:cubicBezTo>
                    <a:pt x="6" y="21"/>
                    <a:pt x="10" y="8"/>
                    <a:pt x="20" y="0"/>
                  </a:cubicBez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44"/>
            <p:cNvSpPr>
              <a:spLocks/>
            </p:cNvSpPr>
            <p:nvPr/>
          </p:nvSpPr>
          <p:spPr bwMode="gray">
            <a:xfrm>
              <a:off x="8864900" y="4708845"/>
              <a:ext cx="84138" cy="39687"/>
            </a:xfrm>
            <a:custGeom>
              <a:avLst/>
              <a:gdLst>
                <a:gd name="T0" fmla="*/ 58 w 61"/>
                <a:gd name="T1" fmla="*/ 0 h 29"/>
                <a:gd name="T2" fmla="*/ 1 w 61"/>
                <a:gd name="T3" fmla="*/ 23 h 29"/>
                <a:gd name="T4" fmla="*/ 1 w 61"/>
                <a:gd name="T5" fmla="*/ 27 h 29"/>
                <a:gd name="T6" fmla="*/ 3 w 61"/>
                <a:gd name="T7" fmla="*/ 29 h 29"/>
                <a:gd name="T8" fmla="*/ 61 w 61"/>
                <a:gd name="T9" fmla="*/ 5 h 29"/>
                <a:gd name="T10" fmla="*/ 61 w 61"/>
                <a:gd name="T11" fmla="*/ 2 h 29"/>
                <a:gd name="T12" fmla="*/ 58 w 61"/>
                <a:gd name="T13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29">
                  <a:moveTo>
                    <a:pt x="58" y="0"/>
                  </a:move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0" y="25"/>
                    <a:pt x="1" y="27"/>
                  </a:cubicBezTo>
                  <a:cubicBezTo>
                    <a:pt x="2" y="28"/>
                    <a:pt x="3" y="29"/>
                    <a:pt x="3" y="29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5"/>
                    <a:pt x="61" y="4"/>
                    <a:pt x="61" y="2"/>
                  </a:cubicBezTo>
                  <a:cubicBezTo>
                    <a:pt x="60" y="0"/>
                    <a:pt x="58" y="0"/>
                    <a:pt x="58" y="0"/>
                  </a:cubicBez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45"/>
            <p:cNvSpPr>
              <a:spLocks noEditPoints="1"/>
            </p:cNvSpPr>
            <p:nvPr/>
          </p:nvSpPr>
          <p:spPr bwMode="gray">
            <a:xfrm>
              <a:off x="8693450" y="5112070"/>
              <a:ext cx="246063" cy="301625"/>
            </a:xfrm>
            <a:custGeom>
              <a:avLst/>
              <a:gdLst>
                <a:gd name="T0" fmla="*/ 100 w 178"/>
                <a:gd name="T1" fmla="*/ 161 h 219"/>
                <a:gd name="T2" fmla="*/ 175 w 178"/>
                <a:gd name="T3" fmla="*/ 114 h 219"/>
                <a:gd name="T4" fmla="*/ 176 w 178"/>
                <a:gd name="T5" fmla="*/ 113 h 219"/>
                <a:gd name="T6" fmla="*/ 176 w 178"/>
                <a:gd name="T7" fmla="*/ 113 h 219"/>
                <a:gd name="T8" fmla="*/ 177 w 178"/>
                <a:gd name="T9" fmla="*/ 112 h 219"/>
                <a:gd name="T10" fmla="*/ 177 w 178"/>
                <a:gd name="T11" fmla="*/ 110 h 219"/>
                <a:gd name="T12" fmla="*/ 177 w 178"/>
                <a:gd name="T13" fmla="*/ 109 h 219"/>
                <a:gd name="T14" fmla="*/ 177 w 178"/>
                <a:gd name="T15" fmla="*/ 108 h 219"/>
                <a:gd name="T16" fmla="*/ 176 w 178"/>
                <a:gd name="T17" fmla="*/ 107 h 219"/>
                <a:gd name="T18" fmla="*/ 176 w 178"/>
                <a:gd name="T19" fmla="*/ 107 h 219"/>
                <a:gd name="T20" fmla="*/ 175 w 178"/>
                <a:gd name="T21" fmla="*/ 106 h 219"/>
                <a:gd name="T22" fmla="*/ 174 w 178"/>
                <a:gd name="T23" fmla="*/ 105 h 219"/>
                <a:gd name="T24" fmla="*/ 100 w 178"/>
                <a:gd name="T25" fmla="*/ 58 h 219"/>
                <a:gd name="T26" fmla="*/ 176 w 178"/>
                <a:gd name="T27" fmla="*/ 3 h 219"/>
                <a:gd name="T28" fmla="*/ 89 w 178"/>
                <a:gd name="T29" fmla="*/ 51 h 219"/>
                <a:gd name="T30" fmla="*/ 2 w 178"/>
                <a:gd name="T31" fmla="*/ 3 h 219"/>
                <a:gd name="T32" fmla="*/ 78 w 178"/>
                <a:gd name="T33" fmla="*/ 58 h 219"/>
                <a:gd name="T34" fmla="*/ 3 w 178"/>
                <a:gd name="T35" fmla="*/ 105 h 219"/>
                <a:gd name="T36" fmla="*/ 2 w 178"/>
                <a:gd name="T37" fmla="*/ 106 h 219"/>
                <a:gd name="T38" fmla="*/ 2 w 178"/>
                <a:gd name="T39" fmla="*/ 107 h 219"/>
                <a:gd name="T40" fmla="*/ 2 w 178"/>
                <a:gd name="T41" fmla="*/ 107 h 219"/>
                <a:gd name="T42" fmla="*/ 1 w 178"/>
                <a:gd name="T43" fmla="*/ 108 h 219"/>
                <a:gd name="T44" fmla="*/ 1 w 178"/>
                <a:gd name="T45" fmla="*/ 109 h 219"/>
                <a:gd name="T46" fmla="*/ 1 w 178"/>
                <a:gd name="T47" fmla="*/ 110 h 219"/>
                <a:gd name="T48" fmla="*/ 1 w 178"/>
                <a:gd name="T49" fmla="*/ 112 h 219"/>
                <a:gd name="T50" fmla="*/ 1 w 178"/>
                <a:gd name="T51" fmla="*/ 113 h 219"/>
                <a:gd name="T52" fmla="*/ 2 w 178"/>
                <a:gd name="T53" fmla="*/ 113 h 219"/>
                <a:gd name="T54" fmla="*/ 3 w 178"/>
                <a:gd name="T55" fmla="*/ 114 h 219"/>
                <a:gd name="T56" fmla="*/ 78 w 178"/>
                <a:gd name="T57" fmla="*/ 161 h 219"/>
                <a:gd name="T58" fmla="*/ 2 w 178"/>
                <a:gd name="T59" fmla="*/ 216 h 219"/>
                <a:gd name="T60" fmla="*/ 10 w 178"/>
                <a:gd name="T61" fmla="*/ 218 h 219"/>
                <a:gd name="T62" fmla="*/ 168 w 178"/>
                <a:gd name="T63" fmla="*/ 218 h 219"/>
                <a:gd name="T64" fmla="*/ 176 w 178"/>
                <a:gd name="T65" fmla="*/ 216 h 219"/>
                <a:gd name="T66" fmla="*/ 18 w 178"/>
                <a:gd name="T67" fmla="*/ 110 h 219"/>
                <a:gd name="T68" fmla="*/ 160 w 178"/>
                <a:gd name="T69" fmla="*/ 110 h 219"/>
                <a:gd name="T70" fmla="*/ 18 w 178"/>
                <a:gd name="T71" fmla="*/ 11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78" h="219">
                  <a:moveTo>
                    <a:pt x="174" y="208"/>
                  </a:moveTo>
                  <a:cubicBezTo>
                    <a:pt x="100" y="161"/>
                    <a:pt x="100" y="161"/>
                    <a:pt x="100" y="161"/>
                  </a:cubicBezTo>
                  <a:cubicBezTo>
                    <a:pt x="174" y="115"/>
                    <a:pt x="174" y="115"/>
                    <a:pt x="174" y="115"/>
                  </a:cubicBezTo>
                  <a:cubicBezTo>
                    <a:pt x="175" y="114"/>
                    <a:pt x="175" y="114"/>
                    <a:pt x="175" y="114"/>
                  </a:cubicBezTo>
                  <a:cubicBezTo>
                    <a:pt x="175" y="114"/>
                    <a:pt x="175" y="114"/>
                    <a:pt x="175" y="114"/>
                  </a:cubicBezTo>
                  <a:cubicBezTo>
                    <a:pt x="175" y="114"/>
                    <a:pt x="176" y="114"/>
                    <a:pt x="176" y="113"/>
                  </a:cubicBezTo>
                  <a:cubicBezTo>
                    <a:pt x="176" y="113"/>
                    <a:pt x="176" y="113"/>
                    <a:pt x="176" y="113"/>
                  </a:cubicBezTo>
                  <a:cubicBezTo>
                    <a:pt x="176" y="113"/>
                    <a:pt x="176" y="113"/>
                    <a:pt x="176" y="113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77" y="111"/>
                    <a:pt x="177" y="111"/>
                    <a:pt x="177" y="111"/>
                  </a:cubicBezTo>
                  <a:cubicBezTo>
                    <a:pt x="177" y="110"/>
                    <a:pt x="177" y="110"/>
                    <a:pt x="177" y="110"/>
                  </a:cubicBezTo>
                  <a:cubicBezTo>
                    <a:pt x="177" y="110"/>
                    <a:pt x="177" y="110"/>
                    <a:pt x="177" y="110"/>
                  </a:cubicBezTo>
                  <a:cubicBezTo>
                    <a:pt x="177" y="109"/>
                    <a:pt x="177" y="109"/>
                    <a:pt x="177" y="109"/>
                  </a:cubicBezTo>
                  <a:cubicBezTo>
                    <a:pt x="177" y="109"/>
                    <a:pt x="177" y="109"/>
                    <a:pt x="177" y="109"/>
                  </a:cubicBezTo>
                  <a:cubicBezTo>
                    <a:pt x="177" y="108"/>
                    <a:pt x="177" y="108"/>
                    <a:pt x="177" y="108"/>
                  </a:cubicBezTo>
                  <a:cubicBezTo>
                    <a:pt x="177" y="108"/>
                    <a:pt x="177" y="108"/>
                    <a:pt x="177" y="108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6"/>
                    <a:pt x="176" y="106"/>
                    <a:pt x="176" y="106"/>
                  </a:cubicBezTo>
                  <a:cubicBezTo>
                    <a:pt x="175" y="106"/>
                    <a:pt x="175" y="106"/>
                    <a:pt x="175" y="106"/>
                  </a:cubicBezTo>
                  <a:cubicBezTo>
                    <a:pt x="175" y="105"/>
                    <a:pt x="175" y="105"/>
                    <a:pt x="175" y="105"/>
                  </a:cubicBezTo>
                  <a:cubicBezTo>
                    <a:pt x="174" y="105"/>
                    <a:pt x="174" y="105"/>
                    <a:pt x="174" y="105"/>
                  </a:cubicBezTo>
                  <a:cubicBezTo>
                    <a:pt x="174" y="105"/>
                    <a:pt x="174" y="105"/>
                    <a:pt x="174" y="105"/>
                  </a:cubicBezTo>
                  <a:cubicBezTo>
                    <a:pt x="100" y="58"/>
                    <a:pt x="100" y="58"/>
                    <a:pt x="100" y="58"/>
                  </a:cubicBezTo>
                  <a:cubicBezTo>
                    <a:pt x="174" y="12"/>
                    <a:pt x="174" y="12"/>
                    <a:pt x="174" y="12"/>
                  </a:cubicBezTo>
                  <a:cubicBezTo>
                    <a:pt x="177" y="10"/>
                    <a:pt x="178" y="6"/>
                    <a:pt x="176" y="3"/>
                  </a:cubicBezTo>
                  <a:cubicBezTo>
                    <a:pt x="174" y="1"/>
                    <a:pt x="171" y="0"/>
                    <a:pt x="168" y="2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7" y="0"/>
                    <a:pt x="3" y="1"/>
                    <a:pt x="2" y="3"/>
                  </a:cubicBezTo>
                  <a:cubicBezTo>
                    <a:pt x="0" y="6"/>
                    <a:pt x="1" y="10"/>
                    <a:pt x="4" y="12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4" y="105"/>
                    <a:pt x="4" y="105"/>
                    <a:pt x="4" y="105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11"/>
                    <a:pt x="1" y="111"/>
                    <a:pt x="1" y="111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1" y="113"/>
                    <a:pt x="1" y="113"/>
                    <a:pt x="1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4"/>
                    <a:pt x="2" y="114"/>
                    <a:pt x="3" y="114"/>
                  </a:cubicBezTo>
                  <a:cubicBezTo>
                    <a:pt x="3" y="114"/>
                    <a:pt x="3" y="114"/>
                    <a:pt x="3" y="114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78" y="161"/>
                    <a:pt x="78" y="161"/>
                    <a:pt x="78" y="161"/>
                  </a:cubicBezTo>
                  <a:cubicBezTo>
                    <a:pt x="4" y="208"/>
                    <a:pt x="4" y="208"/>
                    <a:pt x="4" y="208"/>
                  </a:cubicBezTo>
                  <a:cubicBezTo>
                    <a:pt x="1" y="210"/>
                    <a:pt x="0" y="213"/>
                    <a:pt x="2" y="216"/>
                  </a:cubicBezTo>
                  <a:cubicBezTo>
                    <a:pt x="3" y="218"/>
                    <a:pt x="5" y="219"/>
                    <a:pt x="7" y="219"/>
                  </a:cubicBezTo>
                  <a:cubicBezTo>
                    <a:pt x="8" y="219"/>
                    <a:pt x="9" y="219"/>
                    <a:pt x="10" y="218"/>
                  </a:cubicBezTo>
                  <a:cubicBezTo>
                    <a:pt x="89" y="169"/>
                    <a:pt x="89" y="169"/>
                    <a:pt x="89" y="169"/>
                  </a:cubicBezTo>
                  <a:cubicBezTo>
                    <a:pt x="168" y="218"/>
                    <a:pt x="168" y="218"/>
                    <a:pt x="168" y="218"/>
                  </a:cubicBezTo>
                  <a:cubicBezTo>
                    <a:pt x="169" y="219"/>
                    <a:pt x="170" y="219"/>
                    <a:pt x="171" y="219"/>
                  </a:cubicBezTo>
                  <a:cubicBezTo>
                    <a:pt x="173" y="219"/>
                    <a:pt x="175" y="218"/>
                    <a:pt x="176" y="216"/>
                  </a:cubicBezTo>
                  <a:cubicBezTo>
                    <a:pt x="178" y="213"/>
                    <a:pt x="177" y="210"/>
                    <a:pt x="174" y="208"/>
                  </a:cubicBezTo>
                  <a:close/>
                  <a:moveTo>
                    <a:pt x="18" y="110"/>
                  </a:moveTo>
                  <a:cubicBezTo>
                    <a:pt x="89" y="65"/>
                    <a:pt x="89" y="65"/>
                    <a:pt x="89" y="65"/>
                  </a:cubicBezTo>
                  <a:cubicBezTo>
                    <a:pt x="160" y="110"/>
                    <a:pt x="160" y="110"/>
                    <a:pt x="160" y="110"/>
                  </a:cubicBezTo>
                  <a:cubicBezTo>
                    <a:pt x="89" y="154"/>
                    <a:pt x="89" y="154"/>
                    <a:pt x="89" y="154"/>
                  </a:cubicBezTo>
                  <a:lnTo>
                    <a:pt x="18" y="11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46"/>
            <p:cNvSpPr>
              <a:spLocks/>
            </p:cNvSpPr>
            <p:nvPr/>
          </p:nvSpPr>
          <p:spPr bwMode="gray">
            <a:xfrm>
              <a:off x="8642650" y="5386708"/>
              <a:ext cx="346075" cy="112712"/>
            </a:xfrm>
            <a:custGeom>
              <a:avLst/>
              <a:gdLst>
                <a:gd name="T0" fmla="*/ 250 w 250"/>
                <a:gd name="T1" fmla="*/ 72 h 81"/>
                <a:gd name="T2" fmla="*/ 241 w 250"/>
                <a:gd name="T3" fmla="*/ 81 h 81"/>
                <a:gd name="T4" fmla="*/ 9 w 250"/>
                <a:gd name="T5" fmla="*/ 81 h 81"/>
                <a:gd name="T6" fmla="*/ 0 w 250"/>
                <a:gd name="T7" fmla="*/ 72 h 81"/>
                <a:gd name="T8" fmla="*/ 0 w 250"/>
                <a:gd name="T9" fmla="*/ 9 h 81"/>
                <a:gd name="T10" fmla="*/ 9 w 250"/>
                <a:gd name="T11" fmla="*/ 0 h 81"/>
                <a:gd name="T12" fmla="*/ 241 w 250"/>
                <a:gd name="T13" fmla="*/ 0 h 81"/>
                <a:gd name="T14" fmla="*/ 250 w 250"/>
                <a:gd name="T15" fmla="*/ 9 h 81"/>
                <a:gd name="T16" fmla="*/ 250 w 250"/>
                <a:gd name="T17" fmla="*/ 7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81">
                  <a:moveTo>
                    <a:pt x="250" y="72"/>
                  </a:moveTo>
                  <a:cubicBezTo>
                    <a:pt x="250" y="77"/>
                    <a:pt x="246" y="81"/>
                    <a:pt x="241" y="81"/>
                  </a:cubicBezTo>
                  <a:cubicBezTo>
                    <a:pt x="9" y="81"/>
                    <a:pt x="9" y="81"/>
                    <a:pt x="9" y="81"/>
                  </a:cubicBezTo>
                  <a:cubicBezTo>
                    <a:pt x="4" y="81"/>
                    <a:pt x="0" y="77"/>
                    <a:pt x="0" y="72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lnTo>
                    <a:pt x="250" y="7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47"/>
            <p:cNvSpPr>
              <a:spLocks/>
            </p:cNvSpPr>
            <p:nvPr/>
          </p:nvSpPr>
          <p:spPr bwMode="gray">
            <a:xfrm>
              <a:off x="8642650" y="5405758"/>
              <a:ext cx="327025" cy="93662"/>
            </a:xfrm>
            <a:custGeom>
              <a:avLst/>
              <a:gdLst>
                <a:gd name="T0" fmla="*/ 22 w 236"/>
                <a:gd name="T1" fmla="*/ 55 h 68"/>
                <a:gd name="T2" fmla="*/ 14 w 236"/>
                <a:gd name="T3" fmla="*/ 46 h 68"/>
                <a:gd name="T4" fmla="*/ 14 w 236"/>
                <a:gd name="T5" fmla="*/ 0 h 68"/>
                <a:gd name="T6" fmla="*/ 0 w 236"/>
                <a:gd name="T7" fmla="*/ 0 h 68"/>
                <a:gd name="T8" fmla="*/ 0 w 236"/>
                <a:gd name="T9" fmla="*/ 59 h 68"/>
                <a:gd name="T10" fmla="*/ 9 w 236"/>
                <a:gd name="T11" fmla="*/ 68 h 68"/>
                <a:gd name="T12" fmla="*/ 236 w 236"/>
                <a:gd name="T13" fmla="*/ 68 h 68"/>
                <a:gd name="T14" fmla="*/ 236 w 236"/>
                <a:gd name="T15" fmla="*/ 55 h 68"/>
                <a:gd name="T16" fmla="*/ 22 w 236"/>
                <a:gd name="T17" fmla="*/ 55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6" h="68">
                  <a:moveTo>
                    <a:pt x="22" y="55"/>
                  </a:moveTo>
                  <a:cubicBezTo>
                    <a:pt x="17" y="55"/>
                    <a:pt x="14" y="51"/>
                    <a:pt x="14" y="46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64"/>
                    <a:pt x="4" y="68"/>
                    <a:pt x="9" y="68"/>
                  </a:cubicBezTo>
                  <a:cubicBezTo>
                    <a:pt x="236" y="68"/>
                    <a:pt x="236" y="68"/>
                    <a:pt x="236" y="68"/>
                  </a:cubicBezTo>
                  <a:cubicBezTo>
                    <a:pt x="236" y="55"/>
                    <a:pt x="236" y="55"/>
                    <a:pt x="236" y="55"/>
                  </a:cubicBezTo>
                  <a:lnTo>
                    <a:pt x="22" y="55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48"/>
            <p:cNvSpPr>
              <a:spLocks/>
            </p:cNvSpPr>
            <p:nvPr/>
          </p:nvSpPr>
          <p:spPr bwMode="gray">
            <a:xfrm>
              <a:off x="8642650" y="5386708"/>
              <a:ext cx="346075" cy="112712"/>
            </a:xfrm>
            <a:custGeom>
              <a:avLst/>
              <a:gdLst>
                <a:gd name="T0" fmla="*/ 241 w 250"/>
                <a:gd name="T1" fmla="*/ 81 h 81"/>
                <a:gd name="T2" fmla="*/ 236 w 250"/>
                <a:gd name="T3" fmla="*/ 81 h 81"/>
                <a:gd name="T4" fmla="*/ 236 w 250"/>
                <a:gd name="T5" fmla="*/ 22 h 81"/>
                <a:gd name="T6" fmla="*/ 228 w 250"/>
                <a:gd name="T7" fmla="*/ 13 h 81"/>
                <a:gd name="T8" fmla="*/ 0 w 250"/>
                <a:gd name="T9" fmla="*/ 13 h 81"/>
                <a:gd name="T10" fmla="*/ 0 w 250"/>
                <a:gd name="T11" fmla="*/ 9 h 81"/>
                <a:gd name="T12" fmla="*/ 9 w 250"/>
                <a:gd name="T13" fmla="*/ 0 h 81"/>
                <a:gd name="T14" fmla="*/ 241 w 250"/>
                <a:gd name="T15" fmla="*/ 0 h 81"/>
                <a:gd name="T16" fmla="*/ 250 w 250"/>
                <a:gd name="T17" fmla="*/ 9 h 81"/>
                <a:gd name="T18" fmla="*/ 250 w 250"/>
                <a:gd name="T19" fmla="*/ 72 h 81"/>
                <a:gd name="T20" fmla="*/ 241 w 250"/>
                <a:gd name="T21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" h="81">
                  <a:moveTo>
                    <a:pt x="241" y="81"/>
                  </a:moveTo>
                  <a:cubicBezTo>
                    <a:pt x="236" y="81"/>
                    <a:pt x="236" y="81"/>
                    <a:pt x="236" y="81"/>
                  </a:cubicBezTo>
                  <a:cubicBezTo>
                    <a:pt x="236" y="22"/>
                    <a:pt x="236" y="22"/>
                    <a:pt x="236" y="22"/>
                  </a:cubicBezTo>
                  <a:cubicBezTo>
                    <a:pt x="236" y="17"/>
                    <a:pt x="232" y="13"/>
                    <a:pt x="228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cubicBezTo>
                    <a:pt x="250" y="72"/>
                    <a:pt x="250" y="72"/>
                    <a:pt x="250" y="72"/>
                  </a:cubicBezTo>
                  <a:cubicBezTo>
                    <a:pt x="250" y="77"/>
                    <a:pt x="246" y="81"/>
                    <a:pt x="241" y="8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Oval 49"/>
            <p:cNvSpPr>
              <a:spLocks noChangeArrowheads="1"/>
            </p:cNvSpPr>
            <p:nvPr/>
          </p:nvSpPr>
          <p:spPr bwMode="gray">
            <a:xfrm>
              <a:off x="8674400" y="5454970"/>
              <a:ext cx="87313" cy="873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Oval 50"/>
            <p:cNvSpPr>
              <a:spLocks noChangeArrowheads="1"/>
            </p:cNvSpPr>
            <p:nvPr/>
          </p:nvSpPr>
          <p:spPr bwMode="gray">
            <a:xfrm>
              <a:off x="8693450" y="5474020"/>
              <a:ext cx="49213" cy="49212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Freeform 51"/>
            <p:cNvSpPr>
              <a:spLocks/>
            </p:cNvSpPr>
            <p:nvPr/>
          </p:nvSpPr>
          <p:spPr bwMode="gray">
            <a:xfrm>
              <a:off x="8693450" y="5480370"/>
              <a:ext cx="42863" cy="42862"/>
            </a:xfrm>
            <a:custGeom>
              <a:avLst/>
              <a:gdLst>
                <a:gd name="T0" fmla="*/ 18 w 31"/>
                <a:gd name="T1" fmla="*/ 31 h 31"/>
                <a:gd name="T2" fmla="*/ 31 w 31"/>
                <a:gd name="T3" fmla="*/ 26 h 31"/>
                <a:gd name="T4" fmla="*/ 6 w 31"/>
                <a:gd name="T5" fmla="*/ 0 h 31"/>
                <a:gd name="T6" fmla="*/ 0 w 31"/>
                <a:gd name="T7" fmla="*/ 13 h 31"/>
                <a:gd name="T8" fmla="*/ 18 w 31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18" y="31"/>
                  </a:moveTo>
                  <a:cubicBezTo>
                    <a:pt x="23" y="31"/>
                    <a:pt x="28" y="29"/>
                    <a:pt x="31" y="2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4"/>
                    <a:pt x="0" y="8"/>
                    <a:pt x="0" y="13"/>
                  </a:cubicBezTo>
                  <a:cubicBezTo>
                    <a:pt x="0" y="23"/>
                    <a:pt x="8" y="31"/>
                    <a:pt x="18" y="3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Oval 52"/>
            <p:cNvSpPr>
              <a:spLocks noChangeArrowheads="1"/>
            </p:cNvSpPr>
            <p:nvPr/>
          </p:nvSpPr>
          <p:spPr bwMode="gray">
            <a:xfrm>
              <a:off x="8869662" y="5454970"/>
              <a:ext cx="87313" cy="873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Oval 53"/>
            <p:cNvSpPr>
              <a:spLocks noChangeArrowheads="1"/>
            </p:cNvSpPr>
            <p:nvPr/>
          </p:nvSpPr>
          <p:spPr bwMode="gray">
            <a:xfrm>
              <a:off x="8887125" y="5474020"/>
              <a:ext cx="50800" cy="49212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54"/>
            <p:cNvSpPr>
              <a:spLocks/>
            </p:cNvSpPr>
            <p:nvPr/>
          </p:nvSpPr>
          <p:spPr bwMode="gray">
            <a:xfrm>
              <a:off x="8887125" y="5480370"/>
              <a:ext cx="42863" cy="42862"/>
            </a:xfrm>
            <a:custGeom>
              <a:avLst/>
              <a:gdLst>
                <a:gd name="T0" fmla="*/ 18 w 31"/>
                <a:gd name="T1" fmla="*/ 31 h 31"/>
                <a:gd name="T2" fmla="*/ 31 w 31"/>
                <a:gd name="T3" fmla="*/ 26 h 31"/>
                <a:gd name="T4" fmla="*/ 6 w 31"/>
                <a:gd name="T5" fmla="*/ 0 h 31"/>
                <a:gd name="T6" fmla="*/ 0 w 31"/>
                <a:gd name="T7" fmla="*/ 13 h 31"/>
                <a:gd name="T8" fmla="*/ 18 w 31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18" y="31"/>
                  </a:moveTo>
                  <a:cubicBezTo>
                    <a:pt x="23" y="31"/>
                    <a:pt x="28" y="29"/>
                    <a:pt x="31" y="2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4"/>
                    <a:pt x="0" y="8"/>
                    <a:pt x="0" y="13"/>
                  </a:cubicBezTo>
                  <a:cubicBezTo>
                    <a:pt x="0" y="23"/>
                    <a:pt x="8" y="31"/>
                    <a:pt x="18" y="3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55"/>
            <p:cNvSpPr>
              <a:spLocks noEditPoints="1"/>
            </p:cNvSpPr>
            <p:nvPr/>
          </p:nvSpPr>
          <p:spPr bwMode="gray">
            <a:xfrm>
              <a:off x="8631537" y="4907283"/>
              <a:ext cx="368300" cy="223837"/>
            </a:xfrm>
            <a:custGeom>
              <a:avLst/>
              <a:gdLst>
                <a:gd name="T0" fmla="*/ 258 w 266"/>
                <a:gd name="T1" fmla="*/ 0 h 163"/>
                <a:gd name="T2" fmla="*/ 8 w 266"/>
                <a:gd name="T3" fmla="*/ 0 h 163"/>
                <a:gd name="T4" fmla="*/ 0 w 266"/>
                <a:gd name="T5" fmla="*/ 8 h 163"/>
                <a:gd name="T6" fmla="*/ 8 w 266"/>
                <a:gd name="T7" fmla="*/ 16 h 163"/>
                <a:gd name="T8" fmla="*/ 23 w 266"/>
                <a:gd name="T9" fmla="*/ 16 h 163"/>
                <a:gd name="T10" fmla="*/ 23 w 266"/>
                <a:gd name="T11" fmla="*/ 102 h 163"/>
                <a:gd name="T12" fmla="*/ 17 w 266"/>
                <a:gd name="T13" fmla="*/ 102 h 163"/>
                <a:gd name="T14" fmla="*/ 8 w 266"/>
                <a:gd name="T15" fmla="*/ 111 h 163"/>
                <a:gd name="T16" fmla="*/ 8 w 266"/>
                <a:gd name="T17" fmla="*/ 155 h 163"/>
                <a:gd name="T18" fmla="*/ 17 w 266"/>
                <a:gd name="T19" fmla="*/ 163 h 163"/>
                <a:gd name="T20" fmla="*/ 249 w 266"/>
                <a:gd name="T21" fmla="*/ 163 h 163"/>
                <a:gd name="T22" fmla="*/ 258 w 266"/>
                <a:gd name="T23" fmla="*/ 155 h 163"/>
                <a:gd name="T24" fmla="*/ 258 w 266"/>
                <a:gd name="T25" fmla="*/ 111 h 163"/>
                <a:gd name="T26" fmla="*/ 249 w 266"/>
                <a:gd name="T27" fmla="*/ 102 h 163"/>
                <a:gd name="T28" fmla="*/ 243 w 266"/>
                <a:gd name="T29" fmla="*/ 102 h 163"/>
                <a:gd name="T30" fmla="*/ 243 w 266"/>
                <a:gd name="T31" fmla="*/ 16 h 163"/>
                <a:gd name="T32" fmla="*/ 258 w 266"/>
                <a:gd name="T33" fmla="*/ 16 h 163"/>
                <a:gd name="T34" fmla="*/ 266 w 266"/>
                <a:gd name="T35" fmla="*/ 8 h 163"/>
                <a:gd name="T36" fmla="*/ 258 w 266"/>
                <a:gd name="T37" fmla="*/ 0 h 163"/>
                <a:gd name="T38" fmla="*/ 189 w 266"/>
                <a:gd name="T39" fmla="*/ 16 h 163"/>
                <a:gd name="T40" fmla="*/ 189 w 266"/>
                <a:gd name="T41" fmla="*/ 102 h 163"/>
                <a:gd name="T42" fmla="*/ 160 w 266"/>
                <a:gd name="T43" fmla="*/ 102 h 163"/>
                <a:gd name="T44" fmla="*/ 160 w 266"/>
                <a:gd name="T45" fmla="*/ 16 h 163"/>
                <a:gd name="T46" fmla="*/ 189 w 266"/>
                <a:gd name="T47" fmla="*/ 16 h 163"/>
                <a:gd name="T48" fmla="*/ 148 w 266"/>
                <a:gd name="T49" fmla="*/ 16 h 163"/>
                <a:gd name="T50" fmla="*/ 148 w 266"/>
                <a:gd name="T51" fmla="*/ 102 h 163"/>
                <a:gd name="T52" fmla="*/ 118 w 266"/>
                <a:gd name="T53" fmla="*/ 102 h 163"/>
                <a:gd name="T54" fmla="*/ 118 w 266"/>
                <a:gd name="T55" fmla="*/ 16 h 163"/>
                <a:gd name="T56" fmla="*/ 148 w 266"/>
                <a:gd name="T57" fmla="*/ 16 h 163"/>
                <a:gd name="T58" fmla="*/ 106 w 266"/>
                <a:gd name="T59" fmla="*/ 16 h 163"/>
                <a:gd name="T60" fmla="*/ 106 w 266"/>
                <a:gd name="T61" fmla="*/ 102 h 163"/>
                <a:gd name="T62" fmla="*/ 77 w 266"/>
                <a:gd name="T63" fmla="*/ 102 h 163"/>
                <a:gd name="T64" fmla="*/ 77 w 266"/>
                <a:gd name="T65" fmla="*/ 16 h 163"/>
                <a:gd name="T66" fmla="*/ 106 w 266"/>
                <a:gd name="T67" fmla="*/ 16 h 163"/>
                <a:gd name="T68" fmla="*/ 35 w 266"/>
                <a:gd name="T69" fmla="*/ 16 h 163"/>
                <a:gd name="T70" fmla="*/ 65 w 266"/>
                <a:gd name="T71" fmla="*/ 16 h 163"/>
                <a:gd name="T72" fmla="*/ 65 w 266"/>
                <a:gd name="T73" fmla="*/ 102 h 163"/>
                <a:gd name="T74" fmla="*/ 35 w 266"/>
                <a:gd name="T75" fmla="*/ 102 h 163"/>
                <a:gd name="T76" fmla="*/ 35 w 266"/>
                <a:gd name="T77" fmla="*/ 16 h 163"/>
                <a:gd name="T78" fmla="*/ 201 w 266"/>
                <a:gd name="T79" fmla="*/ 102 h 163"/>
                <a:gd name="T80" fmla="*/ 201 w 266"/>
                <a:gd name="T81" fmla="*/ 16 h 163"/>
                <a:gd name="T82" fmla="*/ 231 w 266"/>
                <a:gd name="T83" fmla="*/ 16 h 163"/>
                <a:gd name="T84" fmla="*/ 231 w 266"/>
                <a:gd name="T85" fmla="*/ 102 h 163"/>
                <a:gd name="T86" fmla="*/ 201 w 266"/>
                <a:gd name="T87" fmla="*/ 102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66" h="163">
                  <a:moveTo>
                    <a:pt x="25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3"/>
                    <a:pt x="4" y="16"/>
                    <a:pt x="8" y="16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3" y="102"/>
                    <a:pt x="23" y="102"/>
                    <a:pt x="23" y="102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2" y="102"/>
                    <a:pt x="8" y="106"/>
                    <a:pt x="8" y="111"/>
                  </a:cubicBezTo>
                  <a:cubicBezTo>
                    <a:pt x="8" y="155"/>
                    <a:pt x="8" y="155"/>
                    <a:pt x="8" y="155"/>
                  </a:cubicBezTo>
                  <a:cubicBezTo>
                    <a:pt x="8" y="160"/>
                    <a:pt x="12" y="163"/>
                    <a:pt x="17" y="163"/>
                  </a:cubicBezTo>
                  <a:cubicBezTo>
                    <a:pt x="249" y="163"/>
                    <a:pt x="249" y="163"/>
                    <a:pt x="249" y="163"/>
                  </a:cubicBezTo>
                  <a:cubicBezTo>
                    <a:pt x="254" y="163"/>
                    <a:pt x="258" y="160"/>
                    <a:pt x="258" y="155"/>
                  </a:cubicBezTo>
                  <a:cubicBezTo>
                    <a:pt x="258" y="111"/>
                    <a:pt x="258" y="111"/>
                    <a:pt x="258" y="111"/>
                  </a:cubicBezTo>
                  <a:cubicBezTo>
                    <a:pt x="258" y="106"/>
                    <a:pt x="254" y="102"/>
                    <a:pt x="249" y="102"/>
                  </a:cubicBezTo>
                  <a:cubicBezTo>
                    <a:pt x="243" y="102"/>
                    <a:pt x="243" y="102"/>
                    <a:pt x="243" y="102"/>
                  </a:cubicBezTo>
                  <a:cubicBezTo>
                    <a:pt x="243" y="16"/>
                    <a:pt x="243" y="16"/>
                    <a:pt x="243" y="16"/>
                  </a:cubicBezTo>
                  <a:cubicBezTo>
                    <a:pt x="258" y="16"/>
                    <a:pt x="258" y="16"/>
                    <a:pt x="258" y="16"/>
                  </a:cubicBezTo>
                  <a:cubicBezTo>
                    <a:pt x="262" y="16"/>
                    <a:pt x="266" y="13"/>
                    <a:pt x="266" y="8"/>
                  </a:cubicBezTo>
                  <a:cubicBezTo>
                    <a:pt x="266" y="4"/>
                    <a:pt x="262" y="0"/>
                    <a:pt x="258" y="0"/>
                  </a:cubicBezTo>
                  <a:close/>
                  <a:moveTo>
                    <a:pt x="189" y="16"/>
                  </a:moveTo>
                  <a:cubicBezTo>
                    <a:pt x="189" y="102"/>
                    <a:pt x="189" y="102"/>
                    <a:pt x="189" y="102"/>
                  </a:cubicBezTo>
                  <a:cubicBezTo>
                    <a:pt x="160" y="102"/>
                    <a:pt x="160" y="102"/>
                    <a:pt x="160" y="102"/>
                  </a:cubicBezTo>
                  <a:cubicBezTo>
                    <a:pt x="160" y="16"/>
                    <a:pt x="160" y="16"/>
                    <a:pt x="160" y="16"/>
                  </a:cubicBezTo>
                  <a:lnTo>
                    <a:pt x="189" y="16"/>
                  </a:lnTo>
                  <a:close/>
                  <a:moveTo>
                    <a:pt x="148" y="16"/>
                  </a:moveTo>
                  <a:cubicBezTo>
                    <a:pt x="148" y="102"/>
                    <a:pt x="148" y="102"/>
                    <a:pt x="148" y="102"/>
                  </a:cubicBezTo>
                  <a:cubicBezTo>
                    <a:pt x="118" y="102"/>
                    <a:pt x="118" y="102"/>
                    <a:pt x="118" y="102"/>
                  </a:cubicBezTo>
                  <a:cubicBezTo>
                    <a:pt x="118" y="16"/>
                    <a:pt x="118" y="16"/>
                    <a:pt x="118" y="16"/>
                  </a:cubicBezTo>
                  <a:lnTo>
                    <a:pt x="148" y="16"/>
                  </a:lnTo>
                  <a:close/>
                  <a:moveTo>
                    <a:pt x="106" y="16"/>
                  </a:moveTo>
                  <a:cubicBezTo>
                    <a:pt x="106" y="102"/>
                    <a:pt x="106" y="102"/>
                    <a:pt x="106" y="102"/>
                  </a:cubicBezTo>
                  <a:cubicBezTo>
                    <a:pt x="77" y="102"/>
                    <a:pt x="77" y="102"/>
                    <a:pt x="77" y="102"/>
                  </a:cubicBezTo>
                  <a:cubicBezTo>
                    <a:pt x="77" y="16"/>
                    <a:pt x="77" y="16"/>
                    <a:pt x="77" y="16"/>
                  </a:cubicBezTo>
                  <a:lnTo>
                    <a:pt x="106" y="16"/>
                  </a:lnTo>
                  <a:close/>
                  <a:moveTo>
                    <a:pt x="35" y="16"/>
                  </a:moveTo>
                  <a:cubicBezTo>
                    <a:pt x="65" y="16"/>
                    <a:pt x="65" y="16"/>
                    <a:pt x="65" y="16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35" y="102"/>
                    <a:pt x="35" y="102"/>
                    <a:pt x="35" y="102"/>
                  </a:cubicBezTo>
                  <a:lnTo>
                    <a:pt x="35" y="16"/>
                  </a:lnTo>
                  <a:close/>
                  <a:moveTo>
                    <a:pt x="201" y="102"/>
                  </a:moveTo>
                  <a:cubicBezTo>
                    <a:pt x="201" y="16"/>
                    <a:pt x="201" y="16"/>
                    <a:pt x="201" y="16"/>
                  </a:cubicBezTo>
                  <a:cubicBezTo>
                    <a:pt x="231" y="16"/>
                    <a:pt x="231" y="16"/>
                    <a:pt x="231" y="16"/>
                  </a:cubicBezTo>
                  <a:cubicBezTo>
                    <a:pt x="231" y="102"/>
                    <a:pt x="231" y="102"/>
                    <a:pt x="231" y="102"/>
                  </a:cubicBezTo>
                  <a:lnTo>
                    <a:pt x="201" y="10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56"/>
            <p:cNvSpPr>
              <a:spLocks/>
            </p:cNvSpPr>
            <p:nvPr/>
          </p:nvSpPr>
          <p:spPr bwMode="gray">
            <a:xfrm>
              <a:off x="8642650" y="5067620"/>
              <a:ext cx="327025" cy="63500"/>
            </a:xfrm>
            <a:custGeom>
              <a:avLst/>
              <a:gdLst>
                <a:gd name="T0" fmla="*/ 22 w 236"/>
                <a:gd name="T1" fmla="*/ 34 h 47"/>
                <a:gd name="T2" fmla="*/ 14 w 236"/>
                <a:gd name="T3" fmla="*/ 25 h 47"/>
                <a:gd name="T4" fmla="*/ 14 w 236"/>
                <a:gd name="T5" fmla="*/ 0 h 47"/>
                <a:gd name="T6" fmla="*/ 0 w 236"/>
                <a:gd name="T7" fmla="*/ 0 h 47"/>
                <a:gd name="T8" fmla="*/ 0 w 236"/>
                <a:gd name="T9" fmla="*/ 39 h 47"/>
                <a:gd name="T10" fmla="*/ 9 w 236"/>
                <a:gd name="T11" fmla="*/ 47 h 47"/>
                <a:gd name="T12" fmla="*/ 236 w 236"/>
                <a:gd name="T13" fmla="*/ 47 h 47"/>
                <a:gd name="T14" fmla="*/ 236 w 236"/>
                <a:gd name="T15" fmla="*/ 34 h 47"/>
                <a:gd name="T16" fmla="*/ 22 w 236"/>
                <a:gd name="T17" fmla="*/ 34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6" h="47">
                  <a:moveTo>
                    <a:pt x="22" y="34"/>
                  </a:moveTo>
                  <a:cubicBezTo>
                    <a:pt x="17" y="34"/>
                    <a:pt x="14" y="30"/>
                    <a:pt x="14" y="2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4"/>
                    <a:pt x="4" y="47"/>
                    <a:pt x="9" y="47"/>
                  </a:cubicBezTo>
                  <a:cubicBezTo>
                    <a:pt x="236" y="47"/>
                    <a:pt x="236" y="47"/>
                    <a:pt x="236" y="47"/>
                  </a:cubicBezTo>
                  <a:cubicBezTo>
                    <a:pt x="236" y="34"/>
                    <a:pt x="236" y="34"/>
                    <a:pt x="236" y="34"/>
                  </a:cubicBezTo>
                  <a:lnTo>
                    <a:pt x="22" y="34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57"/>
            <p:cNvSpPr>
              <a:spLocks/>
            </p:cNvSpPr>
            <p:nvPr/>
          </p:nvSpPr>
          <p:spPr bwMode="gray">
            <a:xfrm>
              <a:off x="8642650" y="5046983"/>
              <a:ext cx="346075" cy="84137"/>
            </a:xfrm>
            <a:custGeom>
              <a:avLst/>
              <a:gdLst>
                <a:gd name="T0" fmla="*/ 241 w 250"/>
                <a:gd name="T1" fmla="*/ 61 h 61"/>
                <a:gd name="T2" fmla="*/ 236 w 250"/>
                <a:gd name="T3" fmla="*/ 61 h 61"/>
                <a:gd name="T4" fmla="*/ 236 w 250"/>
                <a:gd name="T5" fmla="*/ 22 h 61"/>
                <a:gd name="T6" fmla="*/ 228 w 250"/>
                <a:gd name="T7" fmla="*/ 14 h 61"/>
                <a:gd name="T8" fmla="*/ 0 w 250"/>
                <a:gd name="T9" fmla="*/ 14 h 61"/>
                <a:gd name="T10" fmla="*/ 0 w 250"/>
                <a:gd name="T11" fmla="*/ 9 h 61"/>
                <a:gd name="T12" fmla="*/ 9 w 250"/>
                <a:gd name="T13" fmla="*/ 0 h 61"/>
                <a:gd name="T14" fmla="*/ 241 w 250"/>
                <a:gd name="T15" fmla="*/ 0 h 61"/>
                <a:gd name="T16" fmla="*/ 250 w 250"/>
                <a:gd name="T17" fmla="*/ 9 h 61"/>
                <a:gd name="T18" fmla="*/ 250 w 250"/>
                <a:gd name="T19" fmla="*/ 53 h 61"/>
                <a:gd name="T20" fmla="*/ 241 w 250"/>
                <a:gd name="T2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" h="61">
                  <a:moveTo>
                    <a:pt x="241" y="61"/>
                  </a:moveTo>
                  <a:cubicBezTo>
                    <a:pt x="236" y="61"/>
                    <a:pt x="236" y="61"/>
                    <a:pt x="236" y="61"/>
                  </a:cubicBezTo>
                  <a:cubicBezTo>
                    <a:pt x="236" y="22"/>
                    <a:pt x="236" y="22"/>
                    <a:pt x="236" y="22"/>
                  </a:cubicBezTo>
                  <a:cubicBezTo>
                    <a:pt x="236" y="18"/>
                    <a:pt x="232" y="14"/>
                    <a:pt x="228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cubicBezTo>
                    <a:pt x="250" y="53"/>
                    <a:pt x="250" y="53"/>
                    <a:pt x="250" y="53"/>
                  </a:cubicBezTo>
                  <a:cubicBezTo>
                    <a:pt x="250" y="58"/>
                    <a:pt x="246" y="61"/>
                    <a:pt x="241" y="6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58"/>
            <p:cNvSpPr>
              <a:spLocks/>
            </p:cNvSpPr>
            <p:nvPr/>
          </p:nvSpPr>
          <p:spPr bwMode="gray">
            <a:xfrm>
              <a:off x="10792125" y="4919983"/>
              <a:ext cx="61913" cy="311150"/>
            </a:xfrm>
            <a:custGeom>
              <a:avLst/>
              <a:gdLst>
                <a:gd name="T0" fmla="*/ 39 w 45"/>
                <a:gd name="T1" fmla="*/ 180 h 226"/>
                <a:gd name="T2" fmla="*/ 33 w 45"/>
                <a:gd name="T3" fmla="*/ 180 h 226"/>
                <a:gd name="T4" fmla="*/ 33 w 45"/>
                <a:gd name="T5" fmla="*/ 0 h 226"/>
                <a:gd name="T6" fmla="*/ 12 w 45"/>
                <a:gd name="T7" fmla="*/ 0 h 226"/>
                <a:gd name="T8" fmla="*/ 12 w 45"/>
                <a:gd name="T9" fmla="*/ 180 h 226"/>
                <a:gd name="T10" fmla="*/ 5 w 45"/>
                <a:gd name="T11" fmla="*/ 180 h 226"/>
                <a:gd name="T12" fmla="*/ 0 w 45"/>
                <a:gd name="T13" fmla="*/ 186 h 226"/>
                <a:gd name="T14" fmla="*/ 0 w 45"/>
                <a:gd name="T15" fmla="*/ 226 h 226"/>
                <a:gd name="T16" fmla="*/ 45 w 45"/>
                <a:gd name="T17" fmla="*/ 226 h 226"/>
                <a:gd name="T18" fmla="*/ 45 w 45"/>
                <a:gd name="T19" fmla="*/ 186 h 226"/>
                <a:gd name="T20" fmla="*/ 39 w 45"/>
                <a:gd name="T21" fmla="*/ 18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" h="226">
                  <a:moveTo>
                    <a:pt x="39" y="180"/>
                  </a:moveTo>
                  <a:cubicBezTo>
                    <a:pt x="33" y="180"/>
                    <a:pt x="33" y="180"/>
                    <a:pt x="33" y="18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80"/>
                    <a:pt x="12" y="180"/>
                    <a:pt x="12" y="180"/>
                  </a:cubicBezTo>
                  <a:cubicBezTo>
                    <a:pt x="5" y="180"/>
                    <a:pt x="5" y="180"/>
                    <a:pt x="5" y="180"/>
                  </a:cubicBezTo>
                  <a:cubicBezTo>
                    <a:pt x="2" y="180"/>
                    <a:pt x="0" y="182"/>
                    <a:pt x="0" y="186"/>
                  </a:cubicBezTo>
                  <a:cubicBezTo>
                    <a:pt x="0" y="226"/>
                    <a:pt x="0" y="226"/>
                    <a:pt x="0" y="226"/>
                  </a:cubicBezTo>
                  <a:cubicBezTo>
                    <a:pt x="45" y="226"/>
                    <a:pt x="45" y="226"/>
                    <a:pt x="45" y="226"/>
                  </a:cubicBezTo>
                  <a:cubicBezTo>
                    <a:pt x="45" y="186"/>
                    <a:pt x="45" y="186"/>
                    <a:pt x="45" y="186"/>
                  </a:cubicBezTo>
                  <a:cubicBezTo>
                    <a:pt x="45" y="182"/>
                    <a:pt x="42" y="180"/>
                    <a:pt x="39" y="180"/>
                  </a:cubicBezTo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9"/>
            <p:cNvSpPr>
              <a:spLocks/>
            </p:cNvSpPr>
            <p:nvPr/>
          </p:nvSpPr>
          <p:spPr bwMode="gray">
            <a:xfrm>
              <a:off x="10827050" y="4919983"/>
              <a:ext cx="26988" cy="311150"/>
            </a:xfrm>
            <a:custGeom>
              <a:avLst/>
              <a:gdLst>
                <a:gd name="T0" fmla="*/ 14 w 20"/>
                <a:gd name="T1" fmla="*/ 180 h 226"/>
                <a:gd name="T2" fmla="*/ 8 w 20"/>
                <a:gd name="T3" fmla="*/ 180 h 226"/>
                <a:gd name="T4" fmla="*/ 8 w 20"/>
                <a:gd name="T5" fmla="*/ 0 h 226"/>
                <a:gd name="T6" fmla="*/ 0 w 20"/>
                <a:gd name="T7" fmla="*/ 0 h 226"/>
                <a:gd name="T8" fmla="*/ 0 w 20"/>
                <a:gd name="T9" fmla="*/ 180 h 226"/>
                <a:gd name="T10" fmla="*/ 6 w 20"/>
                <a:gd name="T11" fmla="*/ 180 h 226"/>
                <a:gd name="T12" fmla="*/ 12 w 20"/>
                <a:gd name="T13" fmla="*/ 186 h 226"/>
                <a:gd name="T14" fmla="*/ 12 w 20"/>
                <a:gd name="T15" fmla="*/ 226 h 226"/>
                <a:gd name="T16" fmla="*/ 20 w 20"/>
                <a:gd name="T17" fmla="*/ 226 h 226"/>
                <a:gd name="T18" fmla="*/ 20 w 20"/>
                <a:gd name="T19" fmla="*/ 186 h 226"/>
                <a:gd name="T20" fmla="*/ 14 w 20"/>
                <a:gd name="T21" fmla="*/ 18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26">
                  <a:moveTo>
                    <a:pt x="14" y="180"/>
                  </a:moveTo>
                  <a:cubicBezTo>
                    <a:pt x="8" y="180"/>
                    <a:pt x="8" y="180"/>
                    <a:pt x="8" y="18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6" y="180"/>
                    <a:pt x="6" y="180"/>
                    <a:pt x="6" y="180"/>
                  </a:cubicBezTo>
                  <a:cubicBezTo>
                    <a:pt x="9" y="180"/>
                    <a:pt x="12" y="182"/>
                    <a:pt x="12" y="186"/>
                  </a:cubicBezTo>
                  <a:cubicBezTo>
                    <a:pt x="12" y="226"/>
                    <a:pt x="12" y="226"/>
                    <a:pt x="12" y="226"/>
                  </a:cubicBezTo>
                  <a:cubicBezTo>
                    <a:pt x="20" y="226"/>
                    <a:pt x="20" y="226"/>
                    <a:pt x="20" y="226"/>
                  </a:cubicBezTo>
                  <a:cubicBezTo>
                    <a:pt x="20" y="186"/>
                    <a:pt x="20" y="186"/>
                    <a:pt x="20" y="186"/>
                  </a:cubicBezTo>
                  <a:cubicBezTo>
                    <a:pt x="20" y="182"/>
                    <a:pt x="17" y="180"/>
                    <a:pt x="14" y="180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60"/>
            <p:cNvSpPr>
              <a:spLocks/>
            </p:cNvSpPr>
            <p:nvPr/>
          </p:nvSpPr>
          <p:spPr bwMode="gray">
            <a:xfrm>
              <a:off x="10792125" y="4919983"/>
              <a:ext cx="25400" cy="311150"/>
            </a:xfrm>
            <a:custGeom>
              <a:avLst/>
              <a:gdLst>
                <a:gd name="T0" fmla="*/ 19 w 19"/>
                <a:gd name="T1" fmla="*/ 0 h 226"/>
                <a:gd name="T2" fmla="*/ 12 w 19"/>
                <a:gd name="T3" fmla="*/ 0 h 226"/>
                <a:gd name="T4" fmla="*/ 12 w 19"/>
                <a:gd name="T5" fmla="*/ 180 h 226"/>
                <a:gd name="T6" fmla="*/ 5 w 19"/>
                <a:gd name="T7" fmla="*/ 180 h 226"/>
                <a:gd name="T8" fmla="*/ 0 w 19"/>
                <a:gd name="T9" fmla="*/ 186 h 226"/>
                <a:gd name="T10" fmla="*/ 0 w 19"/>
                <a:gd name="T11" fmla="*/ 226 h 226"/>
                <a:gd name="T12" fmla="*/ 7 w 19"/>
                <a:gd name="T13" fmla="*/ 226 h 226"/>
                <a:gd name="T14" fmla="*/ 7 w 19"/>
                <a:gd name="T15" fmla="*/ 186 h 226"/>
                <a:gd name="T16" fmla="*/ 13 w 19"/>
                <a:gd name="T17" fmla="*/ 180 h 226"/>
                <a:gd name="T18" fmla="*/ 19 w 19"/>
                <a:gd name="T19" fmla="*/ 180 h 226"/>
                <a:gd name="T20" fmla="*/ 19 w 19"/>
                <a:gd name="T21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226">
                  <a:moveTo>
                    <a:pt x="19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180"/>
                    <a:pt x="12" y="180"/>
                    <a:pt x="12" y="180"/>
                  </a:cubicBezTo>
                  <a:cubicBezTo>
                    <a:pt x="5" y="180"/>
                    <a:pt x="5" y="180"/>
                    <a:pt x="5" y="180"/>
                  </a:cubicBezTo>
                  <a:cubicBezTo>
                    <a:pt x="2" y="180"/>
                    <a:pt x="0" y="182"/>
                    <a:pt x="0" y="186"/>
                  </a:cubicBezTo>
                  <a:cubicBezTo>
                    <a:pt x="0" y="226"/>
                    <a:pt x="0" y="226"/>
                    <a:pt x="0" y="226"/>
                  </a:cubicBezTo>
                  <a:cubicBezTo>
                    <a:pt x="7" y="226"/>
                    <a:pt x="7" y="226"/>
                    <a:pt x="7" y="226"/>
                  </a:cubicBezTo>
                  <a:cubicBezTo>
                    <a:pt x="7" y="186"/>
                    <a:pt x="7" y="186"/>
                    <a:pt x="7" y="186"/>
                  </a:cubicBezTo>
                  <a:cubicBezTo>
                    <a:pt x="7" y="182"/>
                    <a:pt x="10" y="180"/>
                    <a:pt x="13" y="180"/>
                  </a:cubicBezTo>
                  <a:cubicBezTo>
                    <a:pt x="19" y="180"/>
                    <a:pt x="19" y="180"/>
                    <a:pt x="19" y="180"/>
                  </a:cubicBezTo>
                  <a:cubicBezTo>
                    <a:pt x="19" y="0"/>
                    <a:pt x="19" y="0"/>
                    <a:pt x="19" y="0"/>
                  </a:cubicBezTo>
                </a:path>
              </a:pathLst>
            </a:custGeom>
            <a:solidFill>
              <a:srgbClr val="FFC7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61"/>
            <p:cNvSpPr>
              <a:spLocks/>
            </p:cNvSpPr>
            <p:nvPr/>
          </p:nvSpPr>
          <p:spPr bwMode="gray">
            <a:xfrm>
              <a:off x="10068225" y="4172270"/>
              <a:ext cx="242888" cy="239712"/>
            </a:xfrm>
            <a:custGeom>
              <a:avLst/>
              <a:gdLst>
                <a:gd name="T0" fmla="*/ 153 w 153"/>
                <a:gd name="T1" fmla="*/ 98 h 151"/>
                <a:gd name="T2" fmla="*/ 100 w 153"/>
                <a:gd name="T3" fmla="*/ 151 h 151"/>
                <a:gd name="T4" fmla="*/ 0 w 153"/>
                <a:gd name="T5" fmla="*/ 52 h 151"/>
                <a:gd name="T6" fmla="*/ 53 w 153"/>
                <a:gd name="T7" fmla="*/ 0 h 151"/>
                <a:gd name="T8" fmla="*/ 153 w 153"/>
                <a:gd name="T9" fmla="*/ 98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151">
                  <a:moveTo>
                    <a:pt x="153" y="98"/>
                  </a:moveTo>
                  <a:lnTo>
                    <a:pt x="100" y="151"/>
                  </a:lnTo>
                  <a:lnTo>
                    <a:pt x="0" y="52"/>
                  </a:lnTo>
                  <a:lnTo>
                    <a:pt x="53" y="0"/>
                  </a:lnTo>
                  <a:lnTo>
                    <a:pt x="153" y="98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62"/>
            <p:cNvSpPr>
              <a:spLocks/>
            </p:cNvSpPr>
            <p:nvPr/>
          </p:nvSpPr>
          <p:spPr bwMode="gray">
            <a:xfrm>
              <a:off x="9560225" y="3665858"/>
              <a:ext cx="579438" cy="576262"/>
            </a:xfrm>
            <a:custGeom>
              <a:avLst/>
              <a:gdLst>
                <a:gd name="T0" fmla="*/ 415 w 419"/>
                <a:gd name="T1" fmla="*/ 379 h 419"/>
                <a:gd name="T2" fmla="*/ 415 w 419"/>
                <a:gd name="T3" fmla="*/ 392 h 419"/>
                <a:gd name="T4" fmla="*/ 392 w 419"/>
                <a:gd name="T5" fmla="*/ 415 h 419"/>
                <a:gd name="T6" fmla="*/ 380 w 419"/>
                <a:gd name="T7" fmla="*/ 415 h 419"/>
                <a:gd name="T8" fmla="*/ 3 w 419"/>
                <a:gd name="T9" fmla="*/ 39 h 419"/>
                <a:gd name="T10" fmla="*/ 3 w 419"/>
                <a:gd name="T11" fmla="*/ 27 h 419"/>
                <a:gd name="T12" fmla="*/ 27 w 419"/>
                <a:gd name="T13" fmla="*/ 3 h 419"/>
                <a:gd name="T14" fmla="*/ 39 w 419"/>
                <a:gd name="T15" fmla="*/ 3 h 419"/>
                <a:gd name="T16" fmla="*/ 415 w 419"/>
                <a:gd name="T17" fmla="*/ 37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9" h="419">
                  <a:moveTo>
                    <a:pt x="415" y="379"/>
                  </a:moveTo>
                  <a:cubicBezTo>
                    <a:pt x="419" y="383"/>
                    <a:pt x="419" y="388"/>
                    <a:pt x="415" y="392"/>
                  </a:cubicBezTo>
                  <a:cubicBezTo>
                    <a:pt x="392" y="415"/>
                    <a:pt x="392" y="415"/>
                    <a:pt x="392" y="415"/>
                  </a:cubicBezTo>
                  <a:cubicBezTo>
                    <a:pt x="388" y="419"/>
                    <a:pt x="383" y="419"/>
                    <a:pt x="380" y="415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0" y="35"/>
                    <a:pt x="0" y="30"/>
                    <a:pt x="3" y="27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30" y="0"/>
                    <a:pt x="36" y="0"/>
                    <a:pt x="39" y="3"/>
                  </a:cubicBezTo>
                  <a:lnTo>
                    <a:pt x="415" y="37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63"/>
            <p:cNvSpPr>
              <a:spLocks/>
            </p:cNvSpPr>
            <p:nvPr/>
          </p:nvSpPr>
          <p:spPr bwMode="gray">
            <a:xfrm>
              <a:off x="10185700" y="4288158"/>
              <a:ext cx="1066800" cy="1058862"/>
            </a:xfrm>
            <a:custGeom>
              <a:avLst/>
              <a:gdLst>
                <a:gd name="T0" fmla="*/ 672 w 672"/>
                <a:gd name="T1" fmla="*/ 594 h 667"/>
                <a:gd name="T2" fmla="*/ 597 w 672"/>
                <a:gd name="T3" fmla="*/ 667 h 667"/>
                <a:gd name="T4" fmla="*/ 0 w 672"/>
                <a:gd name="T5" fmla="*/ 74 h 667"/>
                <a:gd name="T6" fmla="*/ 74 w 672"/>
                <a:gd name="T7" fmla="*/ 0 h 667"/>
                <a:gd name="T8" fmla="*/ 672 w 672"/>
                <a:gd name="T9" fmla="*/ 594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2" h="667">
                  <a:moveTo>
                    <a:pt x="672" y="594"/>
                  </a:moveTo>
                  <a:lnTo>
                    <a:pt x="597" y="667"/>
                  </a:lnTo>
                  <a:lnTo>
                    <a:pt x="0" y="74"/>
                  </a:lnTo>
                  <a:lnTo>
                    <a:pt x="74" y="0"/>
                  </a:lnTo>
                  <a:lnTo>
                    <a:pt x="672" y="594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64"/>
            <p:cNvSpPr>
              <a:spLocks/>
            </p:cNvSpPr>
            <p:nvPr/>
          </p:nvSpPr>
          <p:spPr bwMode="gray">
            <a:xfrm>
              <a:off x="10055525" y="4159570"/>
              <a:ext cx="109538" cy="106362"/>
            </a:xfrm>
            <a:custGeom>
              <a:avLst/>
              <a:gdLst>
                <a:gd name="T0" fmla="*/ 9 w 79"/>
                <a:gd name="T1" fmla="*/ 77 h 77"/>
                <a:gd name="T2" fmla="*/ 4 w 79"/>
                <a:gd name="T3" fmla="*/ 75 h 77"/>
                <a:gd name="T4" fmla="*/ 4 w 79"/>
                <a:gd name="T5" fmla="*/ 64 h 77"/>
                <a:gd name="T6" fmla="*/ 64 w 79"/>
                <a:gd name="T7" fmla="*/ 3 h 77"/>
                <a:gd name="T8" fmla="*/ 75 w 79"/>
                <a:gd name="T9" fmla="*/ 3 h 77"/>
                <a:gd name="T10" fmla="*/ 75 w 79"/>
                <a:gd name="T11" fmla="*/ 15 h 77"/>
                <a:gd name="T12" fmla="*/ 15 w 79"/>
                <a:gd name="T13" fmla="*/ 75 h 77"/>
                <a:gd name="T14" fmla="*/ 9 w 79"/>
                <a:gd name="T1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9" h="77">
                  <a:moveTo>
                    <a:pt x="9" y="77"/>
                  </a:moveTo>
                  <a:cubicBezTo>
                    <a:pt x="7" y="77"/>
                    <a:pt x="5" y="77"/>
                    <a:pt x="4" y="75"/>
                  </a:cubicBezTo>
                  <a:cubicBezTo>
                    <a:pt x="0" y="72"/>
                    <a:pt x="0" y="67"/>
                    <a:pt x="4" y="64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7" y="0"/>
                    <a:pt x="72" y="0"/>
                    <a:pt x="75" y="3"/>
                  </a:cubicBezTo>
                  <a:cubicBezTo>
                    <a:pt x="79" y="6"/>
                    <a:pt x="79" y="12"/>
                    <a:pt x="75" y="15"/>
                  </a:cubicBezTo>
                  <a:cubicBezTo>
                    <a:pt x="15" y="75"/>
                    <a:pt x="15" y="75"/>
                    <a:pt x="15" y="75"/>
                  </a:cubicBezTo>
                  <a:cubicBezTo>
                    <a:pt x="13" y="77"/>
                    <a:pt x="11" y="77"/>
                    <a:pt x="9" y="77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65"/>
            <p:cNvSpPr>
              <a:spLocks/>
            </p:cNvSpPr>
            <p:nvPr/>
          </p:nvSpPr>
          <p:spPr bwMode="gray">
            <a:xfrm>
              <a:off x="9787237" y="3891283"/>
              <a:ext cx="79375" cy="77787"/>
            </a:xfrm>
            <a:custGeom>
              <a:avLst/>
              <a:gdLst>
                <a:gd name="T0" fmla="*/ 9 w 58"/>
                <a:gd name="T1" fmla="*/ 57 h 57"/>
                <a:gd name="T2" fmla="*/ 3 w 58"/>
                <a:gd name="T3" fmla="*/ 55 h 57"/>
                <a:gd name="T4" fmla="*/ 3 w 58"/>
                <a:gd name="T5" fmla="*/ 44 h 57"/>
                <a:gd name="T6" fmla="*/ 44 w 58"/>
                <a:gd name="T7" fmla="*/ 3 h 57"/>
                <a:gd name="T8" fmla="*/ 55 w 58"/>
                <a:gd name="T9" fmla="*/ 3 h 57"/>
                <a:gd name="T10" fmla="*/ 55 w 58"/>
                <a:gd name="T11" fmla="*/ 14 h 57"/>
                <a:gd name="T12" fmla="*/ 15 w 58"/>
                <a:gd name="T13" fmla="*/ 55 h 57"/>
                <a:gd name="T14" fmla="*/ 9 w 58"/>
                <a:gd name="T15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57">
                  <a:moveTo>
                    <a:pt x="9" y="57"/>
                  </a:moveTo>
                  <a:cubicBezTo>
                    <a:pt x="7" y="57"/>
                    <a:pt x="5" y="56"/>
                    <a:pt x="3" y="55"/>
                  </a:cubicBezTo>
                  <a:cubicBezTo>
                    <a:pt x="0" y="52"/>
                    <a:pt x="0" y="47"/>
                    <a:pt x="3" y="44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7" y="0"/>
                    <a:pt x="52" y="0"/>
                    <a:pt x="55" y="3"/>
                  </a:cubicBezTo>
                  <a:cubicBezTo>
                    <a:pt x="58" y="6"/>
                    <a:pt x="58" y="11"/>
                    <a:pt x="55" y="14"/>
                  </a:cubicBezTo>
                  <a:cubicBezTo>
                    <a:pt x="15" y="55"/>
                    <a:pt x="15" y="55"/>
                    <a:pt x="15" y="55"/>
                  </a:cubicBezTo>
                  <a:cubicBezTo>
                    <a:pt x="13" y="56"/>
                    <a:pt x="11" y="57"/>
                    <a:pt x="9" y="57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66"/>
            <p:cNvSpPr>
              <a:spLocks/>
            </p:cNvSpPr>
            <p:nvPr/>
          </p:nvSpPr>
          <p:spPr bwMode="gray">
            <a:xfrm>
              <a:off x="10168237" y="4270695"/>
              <a:ext cx="153988" cy="150812"/>
            </a:xfrm>
            <a:custGeom>
              <a:avLst/>
              <a:gdLst>
                <a:gd name="T0" fmla="*/ 9 w 111"/>
                <a:gd name="T1" fmla="*/ 110 h 110"/>
                <a:gd name="T2" fmla="*/ 3 w 111"/>
                <a:gd name="T3" fmla="*/ 108 h 110"/>
                <a:gd name="T4" fmla="*/ 3 w 111"/>
                <a:gd name="T5" fmla="*/ 96 h 110"/>
                <a:gd name="T6" fmla="*/ 96 w 111"/>
                <a:gd name="T7" fmla="*/ 3 h 110"/>
                <a:gd name="T8" fmla="*/ 108 w 111"/>
                <a:gd name="T9" fmla="*/ 3 h 110"/>
                <a:gd name="T10" fmla="*/ 108 w 111"/>
                <a:gd name="T11" fmla="*/ 15 h 110"/>
                <a:gd name="T12" fmla="*/ 15 w 111"/>
                <a:gd name="T13" fmla="*/ 108 h 110"/>
                <a:gd name="T14" fmla="*/ 9 w 111"/>
                <a:gd name="T15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1" h="110">
                  <a:moveTo>
                    <a:pt x="9" y="110"/>
                  </a:moveTo>
                  <a:cubicBezTo>
                    <a:pt x="7" y="110"/>
                    <a:pt x="5" y="109"/>
                    <a:pt x="3" y="108"/>
                  </a:cubicBezTo>
                  <a:cubicBezTo>
                    <a:pt x="0" y="104"/>
                    <a:pt x="0" y="99"/>
                    <a:pt x="3" y="96"/>
                  </a:cubicBezTo>
                  <a:cubicBezTo>
                    <a:pt x="96" y="3"/>
                    <a:pt x="96" y="3"/>
                    <a:pt x="96" y="3"/>
                  </a:cubicBezTo>
                  <a:cubicBezTo>
                    <a:pt x="100" y="0"/>
                    <a:pt x="105" y="0"/>
                    <a:pt x="108" y="3"/>
                  </a:cubicBezTo>
                  <a:cubicBezTo>
                    <a:pt x="111" y="6"/>
                    <a:pt x="111" y="11"/>
                    <a:pt x="108" y="15"/>
                  </a:cubicBezTo>
                  <a:cubicBezTo>
                    <a:pt x="15" y="108"/>
                    <a:pt x="15" y="108"/>
                    <a:pt x="15" y="108"/>
                  </a:cubicBezTo>
                  <a:cubicBezTo>
                    <a:pt x="13" y="109"/>
                    <a:pt x="11" y="110"/>
                    <a:pt x="9" y="110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67"/>
            <p:cNvSpPr>
              <a:spLocks/>
            </p:cNvSpPr>
            <p:nvPr/>
          </p:nvSpPr>
          <p:spPr bwMode="gray">
            <a:xfrm>
              <a:off x="10269837" y="4296095"/>
              <a:ext cx="982663" cy="944562"/>
            </a:xfrm>
            <a:custGeom>
              <a:avLst/>
              <a:gdLst>
                <a:gd name="T0" fmla="*/ 619 w 619"/>
                <a:gd name="T1" fmla="*/ 589 h 595"/>
                <a:gd name="T2" fmla="*/ 613 w 619"/>
                <a:gd name="T3" fmla="*/ 595 h 595"/>
                <a:gd name="T4" fmla="*/ 0 w 619"/>
                <a:gd name="T5" fmla="*/ 26 h 595"/>
                <a:gd name="T6" fmla="*/ 27 w 619"/>
                <a:gd name="T7" fmla="*/ 0 h 595"/>
                <a:gd name="T8" fmla="*/ 619 w 619"/>
                <a:gd name="T9" fmla="*/ 589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9" h="595">
                  <a:moveTo>
                    <a:pt x="619" y="589"/>
                  </a:moveTo>
                  <a:lnTo>
                    <a:pt x="613" y="595"/>
                  </a:lnTo>
                  <a:lnTo>
                    <a:pt x="0" y="26"/>
                  </a:lnTo>
                  <a:lnTo>
                    <a:pt x="27" y="0"/>
                  </a:lnTo>
                  <a:lnTo>
                    <a:pt x="619" y="589"/>
                  </a:ln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68"/>
            <p:cNvSpPr>
              <a:spLocks/>
            </p:cNvSpPr>
            <p:nvPr/>
          </p:nvSpPr>
          <p:spPr bwMode="gray">
            <a:xfrm>
              <a:off x="10193637" y="4370708"/>
              <a:ext cx="949325" cy="976312"/>
            </a:xfrm>
            <a:custGeom>
              <a:avLst/>
              <a:gdLst>
                <a:gd name="T0" fmla="*/ 592 w 598"/>
                <a:gd name="T1" fmla="*/ 615 h 615"/>
                <a:gd name="T2" fmla="*/ 598 w 598"/>
                <a:gd name="T3" fmla="*/ 610 h 615"/>
                <a:gd name="T4" fmla="*/ 27 w 598"/>
                <a:gd name="T5" fmla="*/ 0 h 615"/>
                <a:gd name="T6" fmla="*/ 0 w 598"/>
                <a:gd name="T7" fmla="*/ 27 h 615"/>
                <a:gd name="T8" fmla="*/ 592 w 598"/>
                <a:gd name="T9" fmla="*/ 615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8" h="615">
                  <a:moveTo>
                    <a:pt x="592" y="615"/>
                  </a:moveTo>
                  <a:lnTo>
                    <a:pt x="598" y="610"/>
                  </a:lnTo>
                  <a:lnTo>
                    <a:pt x="27" y="0"/>
                  </a:lnTo>
                  <a:lnTo>
                    <a:pt x="0" y="27"/>
                  </a:lnTo>
                  <a:lnTo>
                    <a:pt x="592" y="615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9"/>
            <p:cNvSpPr>
              <a:spLocks/>
            </p:cNvSpPr>
            <p:nvPr/>
          </p:nvSpPr>
          <p:spPr bwMode="gray">
            <a:xfrm>
              <a:off x="10615912" y="5231133"/>
              <a:ext cx="665163" cy="93662"/>
            </a:xfrm>
            <a:custGeom>
              <a:avLst/>
              <a:gdLst>
                <a:gd name="T0" fmla="*/ 481 w 481"/>
                <a:gd name="T1" fmla="*/ 14 h 69"/>
                <a:gd name="T2" fmla="*/ 467 w 481"/>
                <a:gd name="T3" fmla="*/ 0 h 69"/>
                <a:gd name="T4" fmla="*/ 15 w 481"/>
                <a:gd name="T5" fmla="*/ 0 h 69"/>
                <a:gd name="T6" fmla="*/ 0 w 481"/>
                <a:gd name="T7" fmla="*/ 14 h 69"/>
                <a:gd name="T8" fmla="*/ 0 w 481"/>
                <a:gd name="T9" fmla="*/ 55 h 69"/>
                <a:gd name="T10" fmla="*/ 15 w 481"/>
                <a:gd name="T11" fmla="*/ 69 h 69"/>
                <a:gd name="T12" fmla="*/ 467 w 481"/>
                <a:gd name="T13" fmla="*/ 69 h 69"/>
                <a:gd name="T14" fmla="*/ 481 w 481"/>
                <a:gd name="T15" fmla="*/ 55 h 69"/>
                <a:gd name="T16" fmla="*/ 481 w 481"/>
                <a:gd name="T17" fmla="*/ 1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1" h="69">
                  <a:moveTo>
                    <a:pt x="481" y="14"/>
                  </a:moveTo>
                  <a:cubicBezTo>
                    <a:pt x="481" y="6"/>
                    <a:pt x="475" y="0"/>
                    <a:pt x="467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6"/>
                    <a:pt x="0" y="14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63"/>
                    <a:pt x="7" y="69"/>
                    <a:pt x="15" y="69"/>
                  </a:cubicBezTo>
                  <a:cubicBezTo>
                    <a:pt x="467" y="69"/>
                    <a:pt x="467" y="69"/>
                    <a:pt x="467" y="69"/>
                  </a:cubicBezTo>
                  <a:cubicBezTo>
                    <a:pt x="475" y="69"/>
                    <a:pt x="481" y="63"/>
                    <a:pt x="481" y="55"/>
                  </a:cubicBezTo>
                  <a:lnTo>
                    <a:pt x="481" y="1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Oval 70"/>
            <p:cNvSpPr>
              <a:spLocks noChangeArrowheads="1"/>
            </p:cNvSpPr>
            <p:nvPr/>
          </p:nvSpPr>
          <p:spPr bwMode="gray">
            <a:xfrm>
              <a:off x="1031270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Oval 71"/>
            <p:cNvSpPr>
              <a:spLocks noChangeArrowheads="1"/>
            </p:cNvSpPr>
            <p:nvPr/>
          </p:nvSpPr>
          <p:spPr bwMode="gray">
            <a:xfrm>
              <a:off x="10695287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Oval 72"/>
            <p:cNvSpPr>
              <a:spLocks noChangeArrowheads="1"/>
            </p:cNvSpPr>
            <p:nvPr/>
          </p:nvSpPr>
          <p:spPr bwMode="gray">
            <a:xfrm>
              <a:off x="1098580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Freeform 73"/>
            <p:cNvSpPr>
              <a:spLocks/>
            </p:cNvSpPr>
            <p:nvPr/>
          </p:nvSpPr>
          <p:spPr bwMode="gray">
            <a:xfrm>
              <a:off x="10176175" y="5042220"/>
              <a:ext cx="341313" cy="404812"/>
            </a:xfrm>
            <a:custGeom>
              <a:avLst/>
              <a:gdLst>
                <a:gd name="T0" fmla="*/ 247 w 247"/>
                <a:gd name="T1" fmla="*/ 0 h 295"/>
                <a:gd name="T2" fmla="*/ 66 w 247"/>
                <a:gd name="T3" fmla="*/ 0 h 295"/>
                <a:gd name="T4" fmla="*/ 16 w 247"/>
                <a:gd name="T5" fmla="*/ 295 h 295"/>
                <a:gd name="T6" fmla="*/ 197 w 247"/>
                <a:gd name="T7" fmla="*/ 295 h 295"/>
                <a:gd name="T8" fmla="*/ 247 w 247"/>
                <a:gd name="T9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7" h="295">
                  <a:moveTo>
                    <a:pt x="247" y="0"/>
                  </a:moveTo>
                  <a:cubicBezTo>
                    <a:pt x="193" y="0"/>
                    <a:pt x="97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197" y="295"/>
                    <a:pt x="197" y="295"/>
                    <a:pt x="197" y="295"/>
                  </a:cubicBezTo>
                  <a:cubicBezTo>
                    <a:pt x="197" y="295"/>
                    <a:pt x="181" y="76"/>
                    <a:pt x="247" y="0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Freeform 74"/>
            <p:cNvSpPr>
              <a:spLocks/>
            </p:cNvSpPr>
            <p:nvPr/>
          </p:nvSpPr>
          <p:spPr bwMode="gray">
            <a:xfrm>
              <a:off x="10727037" y="5324795"/>
              <a:ext cx="3175" cy="1587"/>
            </a:xfrm>
            <a:custGeom>
              <a:avLst/>
              <a:gdLst>
                <a:gd name="T0" fmla="*/ 0 w 2"/>
                <a:gd name="T1" fmla="*/ 1 h 1"/>
                <a:gd name="T2" fmla="*/ 2 w 2"/>
                <a:gd name="T3" fmla="*/ 0 h 1"/>
                <a:gd name="T4" fmla="*/ 0 w 2"/>
                <a:gd name="T5" fmla="*/ 0 h 1"/>
                <a:gd name="T6" fmla="*/ 0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1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Freeform 75"/>
            <p:cNvSpPr>
              <a:spLocks/>
            </p:cNvSpPr>
            <p:nvPr/>
          </p:nvSpPr>
          <p:spPr bwMode="gray">
            <a:xfrm>
              <a:off x="10512725" y="5324795"/>
              <a:ext cx="3175" cy="1587"/>
            </a:xfrm>
            <a:custGeom>
              <a:avLst/>
              <a:gdLst>
                <a:gd name="T0" fmla="*/ 0 w 3"/>
                <a:gd name="T1" fmla="*/ 1 h 1"/>
                <a:gd name="T2" fmla="*/ 3 w 3"/>
                <a:gd name="T3" fmla="*/ 0 h 1"/>
                <a:gd name="T4" fmla="*/ 0 w 3"/>
                <a:gd name="T5" fmla="*/ 0 h 1"/>
                <a:gd name="T6" fmla="*/ 0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cubicBezTo>
                    <a:pt x="1" y="0"/>
                    <a:pt x="2" y="0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Freeform 76"/>
            <p:cNvSpPr>
              <a:spLocks/>
            </p:cNvSpPr>
            <p:nvPr/>
          </p:nvSpPr>
          <p:spPr bwMode="gray">
            <a:xfrm>
              <a:off x="10176175" y="5042220"/>
              <a:ext cx="127000" cy="404812"/>
            </a:xfrm>
            <a:custGeom>
              <a:avLst/>
              <a:gdLst>
                <a:gd name="T0" fmla="*/ 92 w 92"/>
                <a:gd name="T1" fmla="*/ 0 h 295"/>
                <a:gd name="T2" fmla="*/ 66 w 92"/>
                <a:gd name="T3" fmla="*/ 0 h 295"/>
                <a:gd name="T4" fmla="*/ 16 w 92"/>
                <a:gd name="T5" fmla="*/ 295 h 295"/>
                <a:gd name="T6" fmla="*/ 42 w 92"/>
                <a:gd name="T7" fmla="*/ 295 h 295"/>
                <a:gd name="T8" fmla="*/ 92 w 92"/>
                <a:gd name="T9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295">
                  <a:moveTo>
                    <a:pt x="92" y="0"/>
                  </a:moveTo>
                  <a:cubicBezTo>
                    <a:pt x="82" y="0"/>
                    <a:pt x="73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42" y="295"/>
                    <a:pt x="42" y="295"/>
                    <a:pt x="42" y="295"/>
                  </a:cubicBezTo>
                  <a:cubicBezTo>
                    <a:pt x="42" y="295"/>
                    <a:pt x="26" y="76"/>
                    <a:pt x="92" y="0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Rectangle 77"/>
            <p:cNvSpPr>
              <a:spLocks noChangeArrowheads="1"/>
            </p:cNvSpPr>
            <p:nvPr/>
          </p:nvSpPr>
          <p:spPr bwMode="gray">
            <a:xfrm>
              <a:off x="9574512" y="3729358"/>
              <a:ext cx="22225" cy="693737"/>
            </a:xfrm>
            <a:prstGeom prst="rect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Freeform 78"/>
            <p:cNvSpPr>
              <a:spLocks/>
            </p:cNvSpPr>
            <p:nvPr/>
          </p:nvSpPr>
          <p:spPr bwMode="gray">
            <a:xfrm>
              <a:off x="10393662" y="5042220"/>
              <a:ext cx="906463" cy="404812"/>
            </a:xfrm>
            <a:custGeom>
              <a:avLst/>
              <a:gdLst>
                <a:gd name="T0" fmla="*/ 642 w 656"/>
                <a:gd name="T1" fmla="*/ 206 h 295"/>
                <a:gd name="T2" fmla="*/ 219 w 656"/>
                <a:gd name="T3" fmla="*/ 206 h 295"/>
                <a:gd name="T4" fmla="*/ 217 w 656"/>
                <a:gd name="T5" fmla="*/ 207 h 295"/>
                <a:gd name="T6" fmla="*/ 217 w 656"/>
                <a:gd name="T7" fmla="*/ 0 h 295"/>
                <a:gd name="T8" fmla="*/ 66 w 656"/>
                <a:gd name="T9" fmla="*/ 0 h 295"/>
                <a:gd name="T10" fmla="*/ 16 w 656"/>
                <a:gd name="T11" fmla="*/ 295 h 295"/>
                <a:gd name="T12" fmla="*/ 642 w 656"/>
                <a:gd name="T13" fmla="*/ 295 h 295"/>
                <a:gd name="T14" fmla="*/ 656 w 656"/>
                <a:gd name="T15" fmla="*/ 281 h 295"/>
                <a:gd name="T16" fmla="*/ 656 w 656"/>
                <a:gd name="T17" fmla="*/ 221 h 295"/>
                <a:gd name="T18" fmla="*/ 642 w 656"/>
                <a:gd name="T19" fmla="*/ 206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6" h="295">
                  <a:moveTo>
                    <a:pt x="642" y="206"/>
                  </a:moveTo>
                  <a:cubicBezTo>
                    <a:pt x="219" y="206"/>
                    <a:pt x="219" y="206"/>
                    <a:pt x="219" y="206"/>
                  </a:cubicBezTo>
                  <a:cubicBezTo>
                    <a:pt x="219" y="206"/>
                    <a:pt x="218" y="206"/>
                    <a:pt x="217" y="207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17" y="0"/>
                    <a:pt x="119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642" y="295"/>
                    <a:pt x="642" y="295"/>
                    <a:pt x="642" y="295"/>
                  </a:cubicBezTo>
                  <a:cubicBezTo>
                    <a:pt x="650" y="295"/>
                    <a:pt x="656" y="289"/>
                    <a:pt x="656" y="281"/>
                  </a:cubicBezTo>
                  <a:cubicBezTo>
                    <a:pt x="656" y="221"/>
                    <a:pt x="656" y="221"/>
                    <a:pt x="656" y="221"/>
                  </a:cubicBezTo>
                  <a:cubicBezTo>
                    <a:pt x="656" y="213"/>
                    <a:pt x="650" y="206"/>
                    <a:pt x="642" y="206"/>
                  </a:cubicBez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Freeform 79"/>
            <p:cNvSpPr>
              <a:spLocks/>
            </p:cNvSpPr>
            <p:nvPr/>
          </p:nvSpPr>
          <p:spPr bwMode="gray">
            <a:xfrm>
              <a:off x="10393662" y="5042220"/>
              <a:ext cx="300038" cy="404812"/>
            </a:xfrm>
            <a:custGeom>
              <a:avLst/>
              <a:gdLst>
                <a:gd name="T0" fmla="*/ 81 w 217"/>
                <a:gd name="T1" fmla="*/ 15 h 295"/>
                <a:gd name="T2" fmla="*/ 217 w 217"/>
                <a:gd name="T3" fmla="*/ 15 h 295"/>
                <a:gd name="T4" fmla="*/ 217 w 217"/>
                <a:gd name="T5" fmla="*/ 0 h 295"/>
                <a:gd name="T6" fmla="*/ 66 w 217"/>
                <a:gd name="T7" fmla="*/ 0 h 295"/>
                <a:gd name="T8" fmla="*/ 16 w 217"/>
                <a:gd name="T9" fmla="*/ 295 h 295"/>
                <a:gd name="T10" fmla="*/ 30 w 217"/>
                <a:gd name="T11" fmla="*/ 295 h 295"/>
                <a:gd name="T12" fmla="*/ 81 w 217"/>
                <a:gd name="T13" fmla="*/ 15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7" h="295">
                  <a:moveTo>
                    <a:pt x="81" y="15"/>
                  </a:moveTo>
                  <a:cubicBezTo>
                    <a:pt x="122" y="15"/>
                    <a:pt x="188" y="15"/>
                    <a:pt x="217" y="15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17" y="0"/>
                    <a:pt x="119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30" y="295"/>
                    <a:pt x="30" y="295"/>
                    <a:pt x="30" y="295"/>
                  </a:cubicBezTo>
                  <a:cubicBezTo>
                    <a:pt x="28" y="244"/>
                    <a:pt x="25" y="79"/>
                    <a:pt x="81" y="15"/>
                  </a:cubicBezTo>
                  <a:close/>
                </a:path>
              </a:pathLst>
            </a:custGeom>
            <a:solidFill>
              <a:srgbClr val="FFCB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Freeform 80"/>
            <p:cNvSpPr>
              <a:spLocks/>
            </p:cNvSpPr>
            <p:nvPr/>
          </p:nvSpPr>
          <p:spPr bwMode="gray">
            <a:xfrm>
              <a:off x="10414300" y="542798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Freeform 81"/>
            <p:cNvSpPr>
              <a:spLocks/>
            </p:cNvSpPr>
            <p:nvPr/>
          </p:nvSpPr>
          <p:spPr bwMode="gray">
            <a:xfrm>
              <a:off x="10414300" y="5432745"/>
              <a:ext cx="0" cy="1587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Freeform 82"/>
            <p:cNvSpPr>
              <a:spLocks/>
            </p:cNvSpPr>
            <p:nvPr/>
          </p:nvSpPr>
          <p:spPr bwMode="gray">
            <a:xfrm>
              <a:off x="10414300" y="544068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Freeform 83"/>
            <p:cNvSpPr>
              <a:spLocks/>
            </p:cNvSpPr>
            <p:nvPr/>
          </p:nvSpPr>
          <p:spPr bwMode="gray">
            <a:xfrm>
              <a:off x="10433350" y="5324795"/>
              <a:ext cx="866775" cy="122237"/>
            </a:xfrm>
            <a:custGeom>
              <a:avLst/>
              <a:gdLst>
                <a:gd name="T0" fmla="*/ 613 w 627"/>
                <a:gd name="T1" fmla="*/ 0 h 89"/>
                <a:gd name="T2" fmla="*/ 613 w 627"/>
                <a:gd name="T3" fmla="*/ 56 h 89"/>
                <a:gd name="T4" fmla="*/ 599 w 627"/>
                <a:gd name="T5" fmla="*/ 71 h 89"/>
                <a:gd name="T6" fmla="*/ 0 w 627"/>
                <a:gd name="T7" fmla="*/ 71 h 89"/>
                <a:gd name="T8" fmla="*/ 1 w 627"/>
                <a:gd name="T9" fmla="*/ 89 h 89"/>
                <a:gd name="T10" fmla="*/ 613 w 627"/>
                <a:gd name="T11" fmla="*/ 89 h 89"/>
                <a:gd name="T12" fmla="*/ 627 w 627"/>
                <a:gd name="T13" fmla="*/ 75 h 89"/>
                <a:gd name="T14" fmla="*/ 627 w 627"/>
                <a:gd name="T15" fmla="*/ 15 h 89"/>
                <a:gd name="T16" fmla="*/ 613 w 627"/>
                <a:gd name="T17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7" h="89">
                  <a:moveTo>
                    <a:pt x="613" y="0"/>
                  </a:moveTo>
                  <a:cubicBezTo>
                    <a:pt x="613" y="56"/>
                    <a:pt x="613" y="56"/>
                    <a:pt x="613" y="56"/>
                  </a:cubicBezTo>
                  <a:cubicBezTo>
                    <a:pt x="613" y="64"/>
                    <a:pt x="607" y="71"/>
                    <a:pt x="599" y="71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78"/>
                    <a:pt x="1" y="84"/>
                    <a:pt x="1" y="89"/>
                  </a:cubicBezTo>
                  <a:cubicBezTo>
                    <a:pt x="613" y="89"/>
                    <a:pt x="613" y="89"/>
                    <a:pt x="613" y="89"/>
                  </a:cubicBezTo>
                  <a:cubicBezTo>
                    <a:pt x="621" y="89"/>
                    <a:pt x="627" y="83"/>
                    <a:pt x="627" y="75"/>
                  </a:cubicBezTo>
                  <a:cubicBezTo>
                    <a:pt x="627" y="15"/>
                    <a:pt x="627" y="15"/>
                    <a:pt x="627" y="15"/>
                  </a:cubicBezTo>
                  <a:cubicBezTo>
                    <a:pt x="627" y="7"/>
                    <a:pt x="621" y="1"/>
                    <a:pt x="613" y="0"/>
                  </a:cubicBezTo>
                  <a:close/>
                </a:path>
              </a:pathLst>
            </a:custGeom>
            <a:solidFill>
              <a:srgbClr val="DB9D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Freeform 84"/>
            <p:cNvSpPr>
              <a:spLocks/>
            </p:cNvSpPr>
            <p:nvPr/>
          </p:nvSpPr>
          <p:spPr bwMode="gray">
            <a:xfrm>
              <a:off x="10452400" y="5086670"/>
              <a:ext cx="203200" cy="238125"/>
            </a:xfrm>
            <a:custGeom>
              <a:avLst/>
              <a:gdLst>
                <a:gd name="T0" fmla="*/ 146 w 146"/>
                <a:gd name="T1" fmla="*/ 174 h 174"/>
                <a:gd name="T2" fmla="*/ 146 w 146"/>
                <a:gd name="T3" fmla="*/ 0 h 174"/>
                <a:gd name="T4" fmla="*/ 40 w 146"/>
                <a:gd name="T5" fmla="*/ 0 h 174"/>
                <a:gd name="T6" fmla="*/ 0 w 146"/>
                <a:gd name="T7" fmla="*/ 174 h 174"/>
                <a:gd name="T8" fmla="*/ 146 w 146"/>
                <a:gd name="T9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6" h="174">
                  <a:moveTo>
                    <a:pt x="146" y="174"/>
                  </a:moveTo>
                  <a:cubicBezTo>
                    <a:pt x="146" y="0"/>
                    <a:pt x="146" y="0"/>
                    <a:pt x="146" y="0"/>
                  </a:cubicBezTo>
                  <a:cubicBezTo>
                    <a:pt x="146" y="0"/>
                    <a:pt x="82" y="0"/>
                    <a:pt x="40" y="0"/>
                  </a:cubicBezTo>
                  <a:cubicBezTo>
                    <a:pt x="8" y="38"/>
                    <a:pt x="0" y="119"/>
                    <a:pt x="0" y="174"/>
                  </a:cubicBezTo>
                  <a:lnTo>
                    <a:pt x="146" y="17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Freeform 85"/>
            <p:cNvSpPr>
              <a:spLocks/>
            </p:cNvSpPr>
            <p:nvPr/>
          </p:nvSpPr>
          <p:spPr bwMode="gray">
            <a:xfrm>
              <a:off x="10452400" y="5086670"/>
              <a:ext cx="203200" cy="238125"/>
            </a:xfrm>
            <a:custGeom>
              <a:avLst/>
              <a:gdLst>
                <a:gd name="T0" fmla="*/ 146 w 146"/>
                <a:gd name="T1" fmla="*/ 174 h 174"/>
                <a:gd name="T2" fmla="*/ 40 w 146"/>
                <a:gd name="T3" fmla="*/ 0 h 174"/>
                <a:gd name="T4" fmla="*/ 0 w 146"/>
                <a:gd name="T5" fmla="*/ 174 h 174"/>
                <a:gd name="T6" fmla="*/ 146 w 146"/>
                <a:gd name="T7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6" h="174">
                  <a:moveTo>
                    <a:pt x="146" y="174"/>
                  </a:moveTo>
                  <a:cubicBezTo>
                    <a:pt x="146" y="174"/>
                    <a:pt x="84" y="73"/>
                    <a:pt x="40" y="0"/>
                  </a:cubicBezTo>
                  <a:cubicBezTo>
                    <a:pt x="8" y="38"/>
                    <a:pt x="0" y="119"/>
                    <a:pt x="0" y="174"/>
                  </a:cubicBezTo>
                  <a:lnTo>
                    <a:pt x="146" y="174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Oval 86"/>
            <p:cNvSpPr>
              <a:spLocks noChangeArrowheads="1"/>
            </p:cNvSpPr>
            <p:nvPr/>
          </p:nvSpPr>
          <p:spPr bwMode="gray">
            <a:xfrm>
              <a:off x="10458750" y="5353370"/>
              <a:ext cx="188913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Oval 87"/>
            <p:cNvSpPr>
              <a:spLocks noChangeArrowheads="1"/>
            </p:cNvSpPr>
            <p:nvPr/>
          </p:nvSpPr>
          <p:spPr bwMode="gray">
            <a:xfrm>
              <a:off x="10503200" y="5396233"/>
              <a:ext cx="100013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Oval 88"/>
            <p:cNvSpPr>
              <a:spLocks noChangeArrowheads="1"/>
            </p:cNvSpPr>
            <p:nvPr/>
          </p:nvSpPr>
          <p:spPr bwMode="gray">
            <a:xfrm>
              <a:off x="11041362" y="5353370"/>
              <a:ext cx="192088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Oval 89"/>
            <p:cNvSpPr>
              <a:spLocks noChangeArrowheads="1"/>
            </p:cNvSpPr>
            <p:nvPr/>
          </p:nvSpPr>
          <p:spPr bwMode="gray">
            <a:xfrm>
              <a:off x="1083975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Freeform 90"/>
            <p:cNvSpPr>
              <a:spLocks/>
            </p:cNvSpPr>
            <p:nvPr/>
          </p:nvSpPr>
          <p:spPr bwMode="gray">
            <a:xfrm>
              <a:off x="10503200" y="5412108"/>
              <a:ext cx="85725" cy="87312"/>
            </a:xfrm>
            <a:custGeom>
              <a:avLst/>
              <a:gdLst>
                <a:gd name="T0" fmla="*/ 37 w 62"/>
                <a:gd name="T1" fmla="*/ 63 h 63"/>
                <a:gd name="T2" fmla="*/ 62 w 62"/>
                <a:gd name="T3" fmla="*/ 52 h 63"/>
                <a:gd name="T4" fmla="*/ 10 w 62"/>
                <a:gd name="T5" fmla="*/ 0 h 63"/>
                <a:gd name="T6" fmla="*/ 0 w 62"/>
                <a:gd name="T7" fmla="*/ 26 h 63"/>
                <a:gd name="T8" fmla="*/ 37 w 62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63">
                  <a:moveTo>
                    <a:pt x="37" y="63"/>
                  </a:moveTo>
                  <a:cubicBezTo>
                    <a:pt x="47" y="63"/>
                    <a:pt x="56" y="59"/>
                    <a:pt x="62" y="5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6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Freeform 91"/>
            <p:cNvSpPr>
              <a:spLocks/>
            </p:cNvSpPr>
            <p:nvPr/>
          </p:nvSpPr>
          <p:spPr bwMode="gray">
            <a:xfrm>
              <a:off x="10241262" y="5359720"/>
              <a:ext cx="120650" cy="15875"/>
            </a:xfrm>
            <a:custGeom>
              <a:avLst/>
              <a:gdLst>
                <a:gd name="T0" fmla="*/ 81 w 87"/>
                <a:gd name="T1" fmla="*/ 12 h 12"/>
                <a:gd name="T2" fmla="*/ 6 w 87"/>
                <a:gd name="T3" fmla="*/ 12 h 12"/>
                <a:gd name="T4" fmla="*/ 0 w 87"/>
                <a:gd name="T5" fmla="*/ 6 h 12"/>
                <a:gd name="T6" fmla="*/ 6 w 87"/>
                <a:gd name="T7" fmla="*/ 0 h 12"/>
                <a:gd name="T8" fmla="*/ 81 w 87"/>
                <a:gd name="T9" fmla="*/ 0 h 12"/>
                <a:gd name="T10" fmla="*/ 87 w 87"/>
                <a:gd name="T11" fmla="*/ 6 h 12"/>
                <a:gd name="T12" fmla="*/ 81 w 8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2">
                  <a:moveTo>
                    <a:pt x="8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4" y="0"/>
                    <a:pt x="87" y="3"/>
                    <a:pt x="87" y="6"/>
                  </a:cubicBezTo>
                  <a:cubicBezTo>
                    <a:pt x="87" y="9"/>
                    <a:pt x="84" y="12"/>
                    <a:pt x="81" y="12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Freeform 92"/>
            <p:cNvSpPr>
              <a:spLocks/>
            </p:cNvSpPr>
            <p:nvPr/>
          </p:nvSpPr>
          <p:spPr bwMode="gray">
            <a:xfrm>
              <a:off x="10241262" y="5396233"/>
              <a:ext cx="120650" cy="17462"/>
            </a:xfrm>
            <a:custGeom>
              <a:avLst/>
              <a:gdLst>
                <a:gd name="T0" fmla="*/ 81 w 87"/>
                <a:gd name="T1" fmla="*/ 12 h 12"/>
                <a:gd name="T2" fmla="*/ 6 w 87"/>
                <a:gd name="T3" fmla="*/ 12 h 12"/>
                <a:gd name="T4" fmla="*/ 0 w 87"/>
                <a:gd name="T5" fmla="*/ 6 h 12"/>
                <a:gd name="T6" fmla="*/ 6 w 87"/>
                <a:gd name="T7" fmla="*/ 0 h 12"/>
                <a:gd name="T8" fmla="*/ 81 w 87"/>
                <a:gd name="T9" fmla="*/ 0 h 12"/>
                <a:gd name="T10" fmla="*/ 87 w 87"/>
                <a:gd name="T11" fmla="*/ 6 h 12"/>
                <a:gd name="T12" fmla="*/ 81 w 8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2">
                  <a:moveTo>
                    <a:pt x="8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4" y="0"/>
                    <a:pt x="87" y="3"/>
                    <a:pt x="87" y="6"/>
                  </a:cubicBezTo>
                  <a:cubicBezTo>
                    <a:pt x="87" y="10"/>
                    <a:pt x="84" y="12"/>
                    <a:pt x="81" y="12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Freeform 93"/>
            <p:cNvSpPr>
              <a:spLocks/>
            </p:cNvSpPr>
            <p:nvPr/>
          </p:nvSpPr>
          <p:spPr bwMode="gray">
            <a:xfrm>
              <a:off x="10209512" y="5086670"/>
              <a:ext cx="227013" cy="239712"/>
            </a:xfrm>
            <a:custGeom>
              <a:avLst/>
              <a:gdLst>
                <a:gd name="T0" fmla="*/ 31 w 164"/>
                <a:gd name="T1" fmla="*/ 0 h 175"/>
                <a:gd name="T2" fmla="*/ 0 w 164"/>
                <a:gd name="T3" fmla="*/ 175 h 175"/>
                <a:gd name="T4" fmla="*/ 133 w 164"/>
                <a:gd name="T5" fmla="*/ 175 h 175"/>
                <a:gd name="T6" fmla="*/ 164 w 164"/>
                <a:gd name="T7" fmla="*/ 0 h 175"/>
                <a:gd name="T8" fmla="*/ 31 w 164"/>
                <a:gd name="T9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4" h="175">
                  <a:moveTo>
                    <a:pt x="31" y="0"/>
                  </a:moveTo>
                  <a:cubicBezTo>
                    <a:pt x="9" y="49"/>
                    <a:pt x="1" y="119"/>
                    <a:pt x="0" y="175"/>
                  </a:cubicBezTo>
                  <a:cubicBezTo>
                    <a:pt x="133" y="175"/>
                    <a:pt x="133" y="175"/>
                    <a:pt x="133" y="175"/>
                  </a:cubicBezTo>
                  <a:cubicBezTo>
                    <a:pt x="134" y="119"/>
                    <a:pt x="142" y="49"/>
                    <a:pt x="164" y="0"/>
                  </a:cubicBezTo>
                  <a:lnTo>
                    <a:pt x="31" y="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8" name="Freeform 94"/>
            <p:cNvSpPr>
              <a:spLocks/>
            </p:cNvSpPr>
            <p:nvPr/>
          </p:nvSpPr>
          <p:spPr bwMode="gray">
            <a:xfrm>
              <a:off x="10209512" y="5086670"/>
              <a:ext cx="185738" cy="239712"/>
            </a:xfrm>
            <a:custGeom>
              <a:avLst/>
              <a:gdLst>
                <a:gd name="T0" fmla="*/ 31 w 134"/>
                <a:gd name="T1" fmla="*/ 0 h 175"/>
                <a:gd name="T2" fmla="*/ 0 w 134"/>
                <a:gd name="T3" fmla="*/ 175 h 175"/>
                <a:gd name="T4" fmla="*/ 133 w 134"/>
                <a:gd name="T5" fmla="*/ 175 h 175"/>
                <a:gd name="T6" fmla="*/ 31 w 134"/>
                <a:gd name="T7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4" h="175">
                  <a:moveTo>
                    <a:pt x="31" y="0"/>
                  </a:moveTo>
                  <a:cubicBezTo>
                    <a:pt x="9" y="49"/>
                    <a:pt x="1" y="119"/>
                    <a:pt x="0" y="175"/>
                  </a:cubicBezTo>
                  <a:cubicBezTo>
                    <a:pt x="133" y="175"/>
                    <a:pt x="133" y="175"/>
                    <a:pt x="133" y="175"/>
                  </a:cubicBezTo>
                  <a:cubicBezTo>
                    <a:pt x="134" y="119"/>
                    <a:pt x="31" y="0"/>
                    <a:pt x="31" y="0"/>
                  </a:cubicBez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Freeform 95"/>
            <p:cNvSpPr>
              <a:spLocks noEditPoints="1"/>
            </p:cNvSpPr>
            <p:nvPr/>
          </p:nvSpPr>
          <p:spPr bwMode="gray">
            <a:xfrm>
              <a:off x="9257012" y="4496120"/>
              <a:ext cx="280988" cy="279400"/>
            </a:xfrm>
            <a:custGeom>
              <a:avLst/>
              <a:gdLst>
                <a:gd name="T0" fmla="*/ 203 w 203"/>
                <a:gd name="T1" fmla="*/ 93 h 203"/>
                <a:gd name="T2" fmla="*/ 187 w 203"/>
                <a:gd name="T3" fmla="*/ 77 h 203"/>
                <a:gd name="T4" fmla="*/ 192 w 203"/>
                <a:gd name="T5" fmla="*/ 54 h 203"/>
                <a:gd name="T6" fmla="*/ 170 w 203"/>
                <a:gd name="T7" fmla="*/ 46 h 203"/>
                <a:gd name="T8" fmla="*/ 167 w 203"/>
                <a:gd name="T9" fmla="*/ 23 h 203"/>
                <a:gd name="T10" fmla="*/ 144 w 203"/>
                <a:gd name="T11" fmla="*/ 25 h 203"/>
                <a:gd name="T12" fmla="*/ 132 w 203"/>
                <a:gd name="T13" fmla="*/ 4 h 203"/>
                <a:gd name="T14" fmla="*/ 111 w 203"/>
                <a:gd name="T15" fmla="*/ 15 h 203"/>
                <a:gd name="T16" fmla="*/ 92 w 203"/>
                <a:gd name="T17" fmla="*/ 0 h 203"/>
                <a:gd name="T18" fmla="*/ 77 w 203"/>
                <a:gd name="T19" fmla="*/ 18 h 203"/>
                <a:gd name="T20" fmla="*/ 54 w 203"/>
                <a:gd name="T21" fmla="*/ 11 h 203"/>
                <a:gd name="T22" fmla="*/ 47 w 203"/>
                <a:gd name="T23" fmla="*/ 33 h 203"/>
                <a:gd name="T24" fmla="*/ 23 w 203"/>
                <a:gd name="T25" fmla="*/ 36 h 203"/>
                <a:gd name="T26" fmla="*/ 24 w 203"/>
                <a:gd name="T27" fmla="*/ 59 h 203"/>
                <a:gd name="T28" fmla="*/ 4 w 203"/>
                <a:gd name="T29" fmla="*/ 71 h 203"/>
                <a:gd name="T30" fmla="*/ 14 w 203"/>
                <a:gd name="T31" fmla="*/ 93 h 203"/>
                <a:gd name="T32" fmla="*/ 0 w 203"/>
                <a:gd name="T33" fmla="*/ 112 h 203"/>
                <a:gd name="T34" fmla="*/ 16 w 203"/>
                <a:gd name="T35" fmla="*/ 127 h 203"/>
                <a:gd name="T36" fmla="*/ 11 w 203"/>
                <a:gd name="T37" fmla="*/ 149 h 203"/>
                <a:gd name="T38" fmla="*/ 32 w 203"/>
                <a:gd name="T39" fmla="*/ 158 h 203"/>
                <a:gd name="T40" fmla="*/ 36 w 203"/>
                <a:gd name="T41" fmla="*/ 180 h 203"/>
                <a:gd name="T42" fmla="*/ 59 w 203"/>
                <a:gd name="T43" fmla="*/ 180 h 203"/>
                <a:gd name="T44" fmla="*/ 71 w 203"/>
                <a:gd name="T45" fmla="*/ 199 h 203"/>
                <a:gd name="T46" fmla="*/ 92 w 203"/>
                <a:gd name="T47" fmla="*/ 191 h 203"/>
                <a:gd name="T48" fmla="*/ 111 w 203"/>
                <a:gd name="T49" fmla="*/ 203 h 203"/>
                <a:gd name="T50" fmla="*/ 127 w 203"/>
                <a:gd name="T51" fmla="*/ 188 h 203"/>
                <a:gd name="T52" fmla="*/ 149 w 203"/>
                <a:gd name="T53" fmla="*/ 192 h 203"/>
                <a:gd name="T54" fmla="*/ 158 w 203"/>
                <a:gd name="T55" fmla="*/ 171 h 203"/>
                <a:gd name="T56" fmla="*/ 180 w 203"/>
                <a:gd name="T57" fmla="*/ 167 h 203"/>
                <a:gd name="T58" fmla="*/ 180 w 203"/>
                <a:gd name="T59" fmla="*/ 144 h 203"/>
                <a:gd name="T60" fmla="*/ 199 w 203"/>
                <a:gd name="T61" fmla="*/ 132 h 203"/>
                <a:gd name="T62" fmla="*/ 190 w 203"/>
                <a:gd name="T63" fmla="*/ 112 h 203"/>
                <a:gd name="T64" fmla="*/ 57 w 203"/>
                <a:gd name="T65" fmla="*/ 58 h 203"/>
                <a:gd name="T66" fmla="*/ 93 w 203"/>
                <a:gd name="T67" fmla="*/ 73 h 203"/>
                <a:gd name="T68" fmla="*/ 39 w 203"/>
                <a:gd name="T69" fmla="*/ 95 h 203"/>
                <a:gd name="T70" fmla="*/ 93 w 203"/>
                <a:gd name="T71" fmla="*/ 166 h 203"/>
                <a:gd name="T72" fmla="*/ 39 w 203"/>
                <a:gd name="T73" fmla="*/ 111 h 203"/>
                <a:gd name="T74" fmla="*/ 93 w 203"/>
                <a:gd name="T75" fmla="*/ 133 h 203"/>
                <a:gd name="T76" fmla="*/ 89 w 203"/>
                <a:gd name="T77" fmla="*/ 102 h 203"/>
                <a:gd name="T78" fmla="*/ 114 w 203"/>
                <a:gd name="T79" fmla="*/ 102 h 203"/>
                <a:gd name="T80" fmla="*/ 89 w 203"/>
                <a:gd name="T81" fmla="*/ 102 h 203"/>
                <a:gd name="T82" fmla="*/ 110 w 203"/>
                <a:gd name="T83" fmla="*/ 166 h 203"/>
                <a:gd name="T84" fmla="*/ 124 w 203"/>
                <a:gd name="T85" fmla="*/ 125 h 203"/>
                <a:gd name="T86" fmla="*/ 165 w 203"/>
                <a:gd name="T87" fmla="*/ 111 h 203"/>
                <a:gd name="T88" fmla="*/ 132 w 203"/>
                <a:gd name="T89" fmla="*/ 95 h 203"/>
                <a:gd name="T90" fmla="*/ 110 w 203"/>
                <a:gd name="T91" fmla="*/ 40 h 203"/>
                <a:gd name="T92" fmla="*/ 165 w 203"/>
                <a:gd name="T93" fmla="*/ 9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3" h="203">
                  <a:moveTo>
                    <a:pt x="203" y="112"/>
                  </a:moveTo>
                  <a:cubicBezTo>
                    <a:pt x="203" y="93"/>
                    <a:pt x="203" y="93"/>
                    <a:pt x="203" y="93"/>
                  </a:cubicBezTo>
                  <a:cubicBezTo>
                    <a:pt x="190" y="93"/>
                    <a:pt x="190" y="93"/>
                    <a:pt x="190" y="93"/>
                  </a:cubicBezTo>
                  <a:cubicBezTo>
                    <a:pt x="189" y="88"/>
                    <a:pt x="188" y="82"/>
                    <a:pt x="187" y="77"/>
                  </a:cubicBezTo>
                  <a:cubicBezTo>
                    <a:pt x="199" y="72"/>
                    <a:pt x="199" y="72"/>
                    <a:pt x="199" y="72"/>
                  </a:cubicBezTo>
                  <a:cubicBezTo>
                    <a:pt x="192" y="54"/>
                    <a:pt x="192" y="54"/>
                    <a:pt x="192" y="54"/>
                  </a:cubicBezTo>
                  <a:cubicBezTo>
                    <a:pt x="179" y="60"/>
                    <a:pt x="179" y="60"/>
                    <a:pt x="179" y="60"/>
                  </a:cubicBezTo>
                  <a:cubicBezTo>
                    <a:pt x="177" y="55"/>
                    <a:pt x="174" y="51"/>
                    <a:pt x="170" y="46"/>
                  </a:cubicBezTo>
                  <a:cubicBezTo>
                    <a:pt x="180" y="36"/>
                    <a:pt x="180" y="36"/>
                    <a:pt x="180" y="36"/>
                  </a:cubicBezTo>
                  <a:cubicBezTo>
                    <a:pt x="167" y="23"/>
                    <a:pt x="167" y="23"/>
                    <a:pt x="167" y="23"/>
                  </a:cubicBezTo>
                  <a:cubicBezTo>
                    <a:pt x="157" y="33"/>
                    <a:pt x="157" y="33"/>
                    <a:pt x="157" y="33"/>
                  </a:cubicBezTo>
                  <a:cubicBezTo>
                    <a:pt x="153" y="30"/>
                    <a:pt x="148" y="27"/>
                    <a:pt x="144" y="25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32" y="4"/>
                    <a:pt x="132" y="4"/>
                    <a:pt x="132" y="4"/>
                  </a:cubicBezTo>
                  <a:cubicBezTo>
                    <a:pt x="127" y="18"/>
                    <a:pt x="127" y="18"/>
                    <a:pt x="127" y="18"/>
                  </a:cubicBezTo>
                  <a:cubicBezTo>
                    <a:pt x="122" y="16"/>
                    <a:pt x="116" y="15"/>
                    <a:pt x="111" y="15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5"/>
                    <a:pt x="92" y="15"/>
                    <a:pt x="92" y="15"/>
                  </a:cubicBezTo>
                  <a:cubicBezTo>
                    <a:pt x="87" y="15"/>
                    <a:pt x="82" y="16"/>
                    <a:pt x="77" y="18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55" y="27"/>
                    <a:pt x="51" y="30"/>
                    <a:pt x="47" y="33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0" y="51"/>
                    <a:pt x="27" y="55"/>
                    <a:pt x="24" y="59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4" y="71"/>
                    <a:pt x="4" y="71"/>
                    <a:pt x="4" y="71"/>
                  </a:cubicBezTo>
                  <a:cubicBezTo>
                    <a:pt x="17" y="77"/>
                    <a:pt x="17" y="77"/>
                    <a:pt x="17" y="77"/>
                  </a:cubicBezTo>
                  <a:cubicBezTo>
                    <a:pt x="15" y="82"/>
                    <a:pt x="14" y="88"/>
                    <a:pt x="14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14" y="112"/>
                    <a:pt x="14" y="112"/>
                    <a:pt x="14" y="112"/>
                  </a:cubicBezTo>
                  <a:cubicBezTo>
                    <a:pt x="14" y="117"/>
                    <a:pt x="15" y="122"/>
                    <a:pt x="16" y="127"/>
                  </a:cubicBezTo>
                  <a:cubicBezTo>
                    <a:pt x="4" y="132"/>
                    <a:pt x="4" y="132"/>
                    <a:pt x="4" y="132"/>
                  </a:cubicBezTo>
                  <a:cubicBezTo>
                    <a:pt x="11" y="149"/>
                    <a:pt x="11" y="149"/>
                    <a:pt x="11" y="149"/>
                  </a:cubicBezTo>
                  <a:cubicBezTo>
                    <a:pt x="23" y="144"/>
                    <a:pt x="23" y="144"/>
                    <a:pt x="23" y="144"/>
                  </a:cubicBezTo>
                  <a:cubicBezTo>
                    <a:pt x="26" y="149"/>
                    <a:pt x="29" y="154"/>
                    <a:pt x="32" y="158"/>
                  </a:cubicBezTo>
                  <a:cubicBezTo>
                    <a:pt x="23" y="167"/>
                    <a:pt x="23" y="167"/>
                    <a:pt x="23" y="167"/>
                  </a:cubicBezTo>
                  <a:cubicBezTo>
                    <a:pt x="36" y="180"/>
                    <a:pt x="36" y="180"/>
                    <a:pt x="36" y="180"/>
                  </a:cubicBezTo>
                  <a:cubicBezTo>
                    <a:pt x="45" y="171"/>
                    <a:pt x="45" y="171"/>
                    <a:pt x="45" y="171"/>
                  </a:cubicBezTo>
                  <a:cubicBezTo>
                    <a:pt x="50" y="175"/>
                    <a:pt x="54" y="178"/>
                    <a:pt x="59" y="180"/>
                  </a:cubicBezTo>
                  <a:cubicBezTo>
                    <a:pt x="54" y="192"/>
                    <a:pt x="54" y="192"/>
                    <a:pt x="54" y="192"/>
                  </a:cubicBezTo>
                  <a:cubicBezTo>
                    <a:pt x="71" y="199"/>
                    <a:pt x="71" y="199"/>
                    <a:pt x="71" y="199"/>
                  </a:cubicBezTo>
                  <a:cubicBezTo>
                    <a:pt x="76" y="188"/>
                    <a:pt x="76" y="188"/>
                    <a:pt x="76" y="188"/>
                  </a:cubicBezTo>
                  <a:cubicBezTo>
                    <a:pt x="81" y="189"/>
                    <a:pt x="87" y="190"/>
                    <a:pt x="92" y="191"/>
                  </a:cubicBezTo>
                  <a:cubicBezTo>
                    <a:pt x="92" y="203"/>
                    <a:pt x="92" y="203"/>
                    <a:pt x="92" y="203"/>
                  </a:cubicBezTo>
                  <a:cubicBezTo>
                    <a:pt x="111" y="203"/>
                    <a:pt x="111" y="203"/>
                    <a:pt x="111" y="203"/>
                  </a:cubicBezTo>
                  <a:cubicBezTo>
                    <a:pt x="111" y="191"/>
                    <a:pt x="111" y="191"/>
                    <a:pt x="111" y="191"/>
                  </a:cubicBezTo>
                  <a:cubicBezTo>
                    <a:pt x="117" y="190"/>
                    <a:pt x="122" y="189"/>
                    <a:pt x="127" y="188"/>
                  </a:cubicBezTo>
                  <a:cubicBezTo>
                    <a:pt x="132" y="199"/>
                    <a:pt x="132" y="199"/>
                    <a:pt x="132" y="199"/>
                  </a:cubicBezTo>
                  <a:cubicBezTo>
                    <a:pt x="149" y="192"/>
                    <a:pt x="149" y="192"/>
                    <a:pt x="149" y="192"/>
                  </a:cubicBezTo>
                  <a:cubicBezTo>
                    <a:pt x="144" y="181"/>
                    <a:pt x="144" y="181"/>
                    <a:pt x="144" y="181"/>
                  </a:cubicBezTo>
                  <a:cubicBezTo>
                    <a:pt x="149" y="178"/>
                    <a:pt x="154" y="175"/>
                    <a:pt x="158" y="171"/>
                  </a:cubicBezTo>
                  <a:cubicBezTo>
                    <a:pt x="167" y="180"/>
                    <a:pt x="167" y="180"/>
                    <a:pt x="167" y="180"/>
                  </a:cubicBezTo>
                  <a:cubicBezTo>
                    <a:pt x="180" y="167"/>
                    <a:pt x="180" y="167"/>
                    <a:pt x="180" y="167"/>
                  </a:cubicBezTo>
                  <a:cubicBezTo>
                    <a:pt x="171" y="158"/>
                    <a:pt x="171" y="158"/>
                    <a:pt x="171" y="158"/>
                  </a:cubicBezTo>
                  <a:cubicBezTo>
                    <a:pt x="175" y="154"/>
                    <a:pt x="178" y="149"/>
                    <a:pt x="180" y="144"/>
                  </a:cubicBezTo>
                  <a:cubicBezTo>
                    <a:pt x="192" y="149"/>
                    <a:pt x="192" y="149"/>
                    <a:pt x="192" y="149"/>
                  </a:cubicBezTo>
                  <a:cubicBezTo>
                    <a:pt x="199" y="132"/>
                    <a:pt x="199" y="132"/>
                    <a:pt x="199" y="132"/>
                  </a:cubicBezTo>
                  <a:cubicBezTo>
                    <a:pt x="187" y="127"/>
                    <a:pt x="187" y="127"/>
                    <a:pt x="187" y="127"/>
                  </a:cubicBezTo>
                  <a:cubicBezTo>
                    <a:pt x="188" y="122"/>
                    <a:pt x="189" y="117"/>
                    <a:pt x="190" y="112"/>
                  </a:cubicBezTo>
                  <a:lnTo>
                    <a:pt x="203" y="112"/>
                  </a:lnTo>
                  <a:close/>
                  <a:moveTo>
                    <a:pt x="57" y="58"/>
                  </a:moveTo>
                  <a:cubicBezTo>
                    <a:pt x="67" y="48"/>
                    <a:pt x="80" y="41"/>
                    <a:pt x="93" y="40"/>
                  </a:cubicBezTo>
                  <a:cubicBezTo>
                    <a:pt x="93" y="73"/>
                    <a:pt x="93" y="73"/>
                    <a:pt x="93" y="73"/>
                  </a:cubicBezTo>
                  <a:cubicBezTo>
                    <a:pt x="83" y="76"/>
                    <a:pt x="75" y="84"/>
                    <a:pt x="72" y="95"/>
                  </a:cubicBezTo>
                  <a:cubicBezTo>
                    <a:pt x="39" y="95"/>
                    <a:pt x="39" y="95"/>
                    <a:pt x="39" y="95"/>
                  </a:cubicBezTo>
                  <a:cubicBezTo>
                    <a:pt x="40" y="81"/>
                    <a:pt x="47" y="68"/>
                    <a:pt x="57" y="58"/>
                  </a:cubicBezTo>
                  <a:close/>
                  <a:moveTo>
                    <a:pt x="93" y="166"/>
                  </a:moveTo>
                  <a:cubicBezTo>
                    <a:pt x="80" y="164"/>
                    <a:pt x="67" y="158"/>
                    <a:pt x="57" y="148"/>
                  </a:cubicBezTo>
                  <a:cubicBezTo>
                    <a:pt x="47" y="138"/>
                    <a:pt x="40" y="125"/>
                    <a:pt x="39" y="111"/>
                  </a:cubicBezTo>
                  <a:cubicBezTo>
                    <a:pt x="72" y="111"/>
                    <a:pt x="72" y="111"/>
                    <a:pt x="72" y="111"/>
                  </a:cubicBezTo>
                  <a:cubicBezTo>
                    <a:pt x="75" y="122"/>
                    <a:pt x="83" y="130"/>
                    <a:pt x="93" y="133"/>
                  </a:cubicBezTo>
                  <a:lnTo>
                    <a:pt x="93" y="166"/>
                  </a:lnTo>
                  <a:close/>
                  <a:moveTo>
                    <a:pt x="89" y="102"/>
                  </a:moveTo>
                  <a:cubicBezTo>
                    <a:pt x="89" y="95"/>
                    <a:pt x="95" y="89"/>
                    <a:pt x="102" y="89"/>
                  </a:cubicBezTo>
                  <a:cubicBezTo>
                    <a:pt x="109" y="89"/>
                    <a:pt x="114" y="95"/>
                    <a:pt x="114" y="102"/>
                  </a:cubicBezTo>
                  <a:cubicBezTo>
                    <a:pt x="114" y="109"/>
                    <a:pt x="109" y="114"/>
                    <a:pt x="102" y="114"/>
                  </a:cubicBezTo>
                  <a:cubicBezTo>
                    <a:pt x="95" y="114"/>
                    <a:pt x="89" y="109"/>
                    <a:pt x="89" y="102"/>
                  </a:cubicBezTo>
                  <a:close/>
                  <a:moveTo>
                    <a:pt x="147" y="148"/>
                  </a:moveTo>
                  <a:cubicBezTo>
                    <a:pt x="137" y="158"/>
                    <a:pt x="124" y="164"/>
                    <a:pt x="110" y="166"/>
                  </a:cubicBezTo>
                  <a:cubicBezTo>
                    <a:pt x="110" y="133"/>
                    <a:pt x="110" y="133"/>
                    <a:pt x="110" y="133"/>
                  </a:cubicBezTo>
                  <a:cubicBezTo>
                    <a:pt x="115" y="131"/>
                    <a:pt x="120" y="129"/>
                    <a:pt x="124" y="125"/>
                  </a:cubicBezTo>
                  <a:cubicBezTo>
                    <a:pt x="128" y="121"/>
                    <a:pt x="130" y="116"/>
                    <a:pt x="132" y="111"/>
                  </a:cubicBezTo>
                  <a:cubicBezTo>
                    <a:pt x="165" y="111"/>
                    <a:pt x="165" y="111"/>
                    <a:pt x="165" y="111"/>
                  </a:cubicBezTo>
                  <a:cubicBezTo>
                    <a:pt x="163" y="125"/>
                    <a:pt x="157" y="138"/>
                    <a:pt x="147" y="148"/>
                  </a:cubicBezTo>
                  <a:close/>
                  <a:moveTo>
                    <a:pt x="132" y="95"/>
                  </a:moveTo>
                  <a:cubicBezTo>
                    <a:pt x="129" y="84"/>
                    <a:pt x="121" y="76"/>
                    <a:pt x="110" y="73"/>
                  </a:cubicBezTo>
                  <a:cubicBezTo>
                    <a:pt x="110" y="40"/>
                    <a:pt x="110" y="40"/>
                    <a:pt x="110" y="40"/>
                  </a:cubicBezTo>
                  <a:cubicBezTo>
                    <a:pt x="124" y="41"/>
                    <a:pt x="137" y="48"/>
                    <a:pt x="147" y="58"/>
                  </a:cubicBezTo>
                  <a:cubicBezTo>
                    <a:pt x="157" y="68"/>
                    <a:pt x="163" y="81"/>
                    <a:pt x="165" y="95"/>
                  </a:cubicBezTo>
                  <a:lnTo>
                    <a:pt x="132" y="95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Freeform 96"/>
            <p:cNvSpPr>
              <a:spLocks noEditPoints="1"/>
            </p:cNvSpPr>
            <p:nvPr/>
          </p:nvSpPr>
          <p:spPr bwMode="gray">
            <a:xfrm>
              <a:off x="9109375" y="4723133"/>
              <a:ext cx="254000" cy="254000"/>
            </a:xfrm>
            <a:custGeom>
              <a:avLst/>
              <a:gdLst>
                <a:gd name="T0" fmla="*/ 184 w 184"/>
                <a:gd name="T1" fmla="*/ 112 h 185"/>
                <a:gd name="T2" fmla="*/ 161 w 184"/>
                <a:gd name="T3" fmla="*/ 89 h 185"/>
                <a:gd name="T4" fmla="*/ 181 w 184"/>
                <a:gd name="T5" fmla="*/ 63 h 185"/>
                <a:gd name="T6" fmla="*/ 150 w 184"/>
                <a:gd name="T7" fmla="*/ 55 h 185"/>
                <a:gd name="T8" fmla="*/ 155 w 184"/>
                <a:gd name="T9" fmla="*/ 22 h 185"/>
                <a:gd name="T10" fmla="*/ 123 w 184"/>
                <a:gd name="T11" fmla="*/ 31 h 185"/>
                <a:gd name="T12" fmla="*/ 111 w 184"/>
                <a:gd name="T13" fmla="*/ 0 h 185"/>
                <a:gd name="T14" fmla="*/ 88 w 184"/>
                <a:gd name="T15" fmla="*/ 23 h 185"/>
                <a:gd name="T16" fmla="*/ 63 w 184"/>
                <a:gd name="T17" fmla="*/ 3 h 185"/>
                <a:gd name="T18" fmla="*/ 54 w 184"/>
                <a:gd name="T19" fmla="*/ 34 h 185"/>
                <a:gd name="T20" fmla="*/ 22 w 184"/>
                <a:gd name="T21" fmla="*/ 29 h 185"/>
                <a:gd name="T22" fmla="*/ 30 w 184"/>
                <a:gd name="T23" fmla="*/ 61 h 185"/>
                <a:gd name="T24" fmla="*/ 0 w 184"/>
                <a:gd name="T25" fmla="*/ 73 h 185"/>
                <a:gd name="T26" fmla="*/ 23 w 184"/>
                <a:gd name="T27" fmla="*/ 96 h 185"/>
                <a:gd name="T28" fmla="*/ 2 w 184"/>
                <a:gd name="T29" fmla="*/ 121 h 185"/>
                <a:gd name="T30" fmla="*/ 34 w 184"/>
                <a:gd name="T31" fmla="*/ 130 h 185"/>
                <a:gd name="T32" fmla="*/ 29 w 184"/>
                <a:gd name="T33" fmla="*/ 162 h 185"/>
                <a:gd name="T34" fmla="*/ 60 w 184"/>
                <a:gd name="T35" fmla="*/ 154 h 185"/>
                <a:gd name="T36" fmla="*/ 72 w 184"/>
                <a:gd name="T37" fmla="*/ 185 h 185"/>
                <a:gd name="T38" fmla="*/ 95 w 184"/>
                <a:gd name="T39" fmla="*/ 161 h 185"/>
                <a:gd name="T40" fmla="*/ 121 w 184"/>
                <a:gd name="T41" fmla="*/ 182 h 185"/>
                <a:gd name="T42" fmla="*/ 129 w 184"/>
                <a:gd name="T43" fmla="*/ 150 h 185"/>
                <a:gd name="T44" fmla="*/ 162 w 184"/>
                <a:gd name="T45" fmla="*/ 156 h 185"/>
                <a:gd name="T46" fmla="*/ 153 w 184"/>
                <a:gd name="T47" fmla="*/ 124 h 185"/>
                <a:gd name="T48" fmla="*/ 184 w 184"/>
                <a:gd name="T49" fmla="*/ 112 h 185"/>
                <a:gd name="T50" fmla="*/ 92 w 184"/>
                <a:gd name="T51" fmla="*/ 115 h 185"/>
                <a:gd name="T52" fmla="*/ 69 w 184"/>
                <a:gd name="T53" fmla="*/ 92 h 185"/>
                <a:gd name="T54" fmla="*/ 92 w 184"/>
                <a:gd name="T55" fmla="*/ 70 h 185"/>
                <a:gd name="T56" fmla="*/ 114 w 184"/>
                <a:gd name="T57" fmla="*/ 92 h 185"/>
                <a:gd name="T58" fmla="*/ 92 w 184"/>
                <a:gd name="T59" fmla="*/ 115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84" h="185">
                  <a:moveTo>
                    <a:pt x="184" y="112"/>
                  </a:moveTo>
                  <a:cubicBezTo>
                    <a:pt x="161" y="89"/>
                    <a:pt x="161" y="89"/>
                    <a:pt x="161" y="89"/>
                  </a:cubicBezTo>
                  <a:cubicBezTo>
                    <a:pt x="181" y="63"/>
                    <a:pt x="181" y="63"/>
                    <a:pt x="181" y="63"/>
                  </a:cubicBezTo>
                  <a:cubicBezTo>
                    <a:pt x="150" y="55"/>
                    <a:pt x="150" y="55"/>
                    <a:pt x="150" y="55"/>
                  </a:cubicBezTo>
                  <a:cubicBezTo>
                    <a:pt x="155" y="22"/>
                    <a:pt x="155" y="22"/>
                    <a:pt x="155" y="22"/>
                  </a:cubicBezTo>
                  <a:cubicBezTo>
                    <a:pt x="123" y="31"/>
                    <a:pt x="123" y="31"/>
                    <a:pt x="123" y="31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88" y="23"/>
                    <a:pt x="88" y="23"/>
                    <a:pt x="88" y="23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54" y="34"/>
                    <a:pt x="54" y="34"/>
                    <a:pt x="54" y="34"/>
                  </a:cubicBezTo>
                  <a:cubicBezTo>
                    <a:pt x="22" y="29"/>
                    <a:pt x="22" y="29"/>
                    <a:pt x="22" y="29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23" y="96"/>
                    <a:pt x="23" y="96"/>
                    <a:pt x="23" y="96"/>
                  </a:cubicBezTo>
                  <a:cubicBezTo>
                    <a:pt x="2" y="121"/>
                    <a:pt x="2" y="121"/>
                    <a:pt x="2" y="121"/>
                  </a:cubicBezTo>
                  <a:cubicBezTo>
                    <a:pt x="34" y="130"/>
                    <a:pt x="34" y="130"/>
                    <a:pt x="34" y="130"/>
                  </a:cubicBezTo>
                  <a:cubicBezTo>
                    <a:pt x="29" y="162"/>
                    <a:pt x="29" y="162"/>
                    <a:pt x="29" y="162"/>
                  </a:cubicBezTo>
                  <a:cubicBezTo>
                    <a:pt x="60" y="154"/>
                    <a:pt x="60" y="154"/>
                    <a:pt x="60" y="154"/>
                  </a:cubicBezTo>
                  <a:cubicBezTo>
                    <a:pt x="72" y="185"/>
                    <a:pt x="72" y="185"/>
                    <a:pt x="72" y="185"/>
                  </a:cubicBezTo>
                  <a:cubicBezTo>
                    <a:pt x="95" y="161"/>
                    <a:pt x="95" y="161"/>
                    <a:pt x="95" y="161"/>
                  </a:cubicBezTo>
                  <a:cubicBezTo>
                    <a:pt x="121" y="182"/>
                    <a:pt x="121" y="182"/>
                    <a:pt x="121" y="182"/>
                  </a:cubicBezTo>
                  <a:cubicBezTo>
                    <a:pt x="129" y="150"/>
                    <a:pt x="129" y="150"/>
                    <a:pt x="129" y="150"/>
                  </a:cubicBezTo>
                  <a:cubicBezTo>
                    <a:pt x="162" y="156"/>
                    <a:pt x="162" y="156"/>
                    <a:pt x="162" y="156"/>
                  </a:cubicBezTo>
                  <a:cubicBezTo>
                    <a:pt x="153" y="124"/>
                    <a:pt x="153" y="124"/>
                    <a:pt x="153" y="124"/>
                  </a:cubicBezTo>
                  <a:lnTo>
                    <a:pt x="184" y="112"/>
                  </a:lnTo>
                  <a:close/>
                  <a:moveTo>
                    <a:pt x="92" y="115"/>
                  </a:moveTo>
                  <a:cubicBezTo>
                    <a:pt x="79" y="115"/>
                    <a:pt x="69" y="105"/>
                    <a:pt x="69" y="92"/>
                  </a:cubicBezTo>
                  <a:cubicBezTo>
                    <a:pt x="69" y="80"/>
                    <a:pt x="79" y="70"/>
                    <a:pt x="92" y="70"/>
                  </a:cubicBezTo>
                  <a:cubicBezTo>
                    <a:pt x="104" y="70"/>
                    <a:pt x="114" y="80"/>
                    <a:pt x="114" y="92"/>
                  </a:cubicBezTo>
                  <a:cubicBezTo>
                    <a:pt x="114" y="105"/>
                    <a:pt x="104" y="115"/>
                    <a:pt x="92" y="115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Freeform 97"/>
            <p:cNvSpPr>
              <a:spLocks noEditPoints="1"/>
            </p:cNvSpPr>
            <p:nvPr/>
          </p:nvSpPr>
          <p:spPr bwMode="gray">
            <a:xfrm>
              <a:off x="9464975" y="4650108"/>
              <a:ext cx="358775" cy="355600"/>
            </a:xfrm>
            <a:custGeom>
              <a:avLst/>
              <a:gdLst>
                <a:gd name="T0" fmla="*/ 247 w 259"/>
                <a:gd name="T1" fmla="*/ 139 h 259"/>
                <a:gd name="T2" fmla="*/ 228 w 259"/>
                <a:gd name="T3" fmla="*/ 133 h 259"/>
                <a:gd name="T4" fmla="*/ 224 w 259"/>
                <a:gd name="T5" fmla="*/ 103 h 259"/>
                <a:gd name="T6" fmla="*/ 241 w 259"/>
                <a:gd name="T7" fmla="*/ 94 h 259"/>
                <a:gd name="T8" fmla="*/ 247 w 259"/>
                <a:gd name="T9" fmla="*/ 73 h 259"/>
                <a:gd name="T10" fmla="*/ 239 w 259"/>
                <a:gd name="T11" fmla="*/ 59 h 259"/>
                <a:gd name="T12" fmla="*/ 219 w 259"/>
                <a:gd name="T13" fmla="*/ 53 h 259"/>
                <a:gd name="T14" fmla="*/ 202 w 259"/>
                <a:gd name="T15" fmla="*/ 63 h 259"/>
                <a:gd name="T16" fmla="*/ 178 w 259"/>
                <a:gd name="T17" fmla="*/ 44 h 259"/>
                <a:gd name="T18" fmla="*/ 183 w 259"/>
                <a:gd name="T19" fmla="*/ 25 h 259"/>
                <a:gd name="T20" fmla="*/ 173 w 259"/>
                <a:gd name="T21" fmla="*/ 7 h 259"/>
                <a:gd name="T22" fmla="*/ 157 w 259"/>
                <a:gd name="T23" fmla="*/ 2 h 259"/>
                <a:gd name="T24" fmla="*/ 138 w 259"/>
                <a:gd name="T25" fmla="*/ 12 h 259"/>
                <a:gd name="T26" fmla="*/ 133 w 259"/>
                <a:gd name="T27" fmla="*/ 31 h 259"/>
                <a:gd name="T28" fmla="*/ 103 w 259"/>
                <a:gd name="T29" fmla="*/ 35 h 259"/>
                <a:gd name="T30" fmla="*/ 93 w 259"/>
                <a:gd name="T31" fmla="*/ 18 h 259"/>
                <a:gd name="T32" fmla="*/ 73 w 259"/>
                <a:gd name="T33" fmla="*/ 12 h 259"/>
                <a:gd name="T34" fmla="*/ 59 w 259"/>
                <a:gd name="T35" fmla="*/ 20 h 259"/>
                <a:gd name="T36" fmla="*/ 53 w 259"/>
                <a:gd name="T37" fmla="*/ 40 h 259"/>
                <a:gd name="T38" fmla="*/ 63 w 259"/>
                <a:gd name="T39" fmla="*/ 58 h 259"/>
                <a:gd name="T40" fmla="*/ 44 w 259"/>
                <a:gd name="T41" fmla="*/ 81 h 259"/>
                <a:gd name="T42" fmla="*/ 25 w 259"/>
                <a:gd name="T43" fmla="*/ 76 h 259"/>
                <a:gd name="T44" fmla="*/ 7 w 259"/>
                <a:gd name="T45" fmla="*/ 86 h 259"/>
                <a:gd name="T46" fmla="*/ 2 w 259"/>
                <a:gd name="T47" fmla="*/ 103 h 259"/>
                <a:gd name="T48" fmla="*/ 12 w 259"/>
                <a:gd name="T49" fmla="*/ 121 h 259"/>
                <a:gd name="T50" fmla="*/ 31 w 259"/>
                <a:gd name="T51" fmla="*/ 126 h 259"/>
                <a:gd name="T52" fmla="*/ 35 w 259"/>
                <a:gd name="T53" fmla="*/ 156 h 259"/>
                <a:gd name="T54" fmla="*/ 18 w 259"/>
                <a:gd name="T55" fmla="*/ 166 h 259"/>
                <a:gd name="T56" fmla="*/ 12 w 259"/>
                <a:gd name="T57" fmla="*/ 186 h 259"/>
                <a:gd name="T58" fmla="*/ 20 w 259"/>
                <a:gd name="T59" fmla="*/ 201 h 259"/>
                <a:gd name="T60" fmla="*/ 40 w 259"/>
                <a:gd name="T61" fmla="*/ 206 h 259"/>
                <a:gd name="T62" fmla="*/ 58 w 259"/>
                <a:gd name="T63" fmla="*/ 197 h 259"/>
                <a:gd name="T64" fmla="*/ 81 w 259"/>
                <a:gd name="T65" fmla="*/ 215 h 259"/>
                <a:gd name="T66" fmla="*/ 76 w 259"/>
                <a:gd name="T67" fmla="*/ 234 h 259"/>
                <a:gd name="T68" fmla="*/ 86 w 259"/>
                <a:gd name="T69" fmla="*/ 253 h 259"/>
                <a:gd name="T70" fmla="*/ 102 w 259"/>
                <a:gd name="T71" fmla="*/ 257 h 259"/>
                <a:gd name="T72" fmla="*/ 121 w 259"/>
                <a:gd name="T73" fmla="*/ 247 h 259"/>
                <a:gd name="T74" fmla="*/ 126 w 259"/>
                <a:gd name="T75" fmla="*/ 228 h 259"/>
                <a:gd name="T76" fmla="*/ 156 w 259"/>
                <a:gd name="T77" fmla="*/ 224 h 259"/>
                <a:gd name="T78" fmla="*/ 166 w 259"/>
                <a:gd name="T79" fmla="*/ 242 h 259"/>
                <a:gd name="T80" fmla="*/ 186 w 259"/>
                <a:gd name="T81" fmla="*/ 247 h 259"/>
                <a:gd name="T82" fmla="*/ 200 w 259"/>
                <a:gd name="T83" fmla="*/ 239 h 259"/>
                <a:gd name="T84" fmla="*/ 206 w 259"/>
                <a:gd name="T85" fmla="*/ 219 h 259"/>
                <a:gd name="T86" fmla="*/ 197 w 259"/>
                <a:gd name="T87" fmla="*/ 202 h 259"/>
                <a:gd name="T88" fmla="*/ 215 w 259"/>
                <a:gd name="T89" fmla="*/ 178 h 259"/>
                <a:gd name="T90" fmla="*/ 234 w 259"/>
                <a:gd name="T91" fmla="*/ 183 h 259"/>
                <a:gd name="T92" fmla="*/ 252 w 259"/>
                <a:gd name="T93" fmla="*/ 173 h 259"/>
                <a:gd name="T94" fmla="*/ 257 w 259"/>
                <a:gd name="T95" fmla="*/ 157 h 259"/>
                <a:gd name="T96" fmla="*/ 247 w 259"/>
                <a:gd name="T97" fmla="*/ 139 h 259"/>
                <a:gd name="T98" fmla="*/ 116 w 259"/>
                <a:gd name="T99" fmla="*/ 178 h 259"/>
                <a:gd name="T100" fmla="*/ 82 w 259"/>
                <a:gd name="T101" fmla="*/ 116 h 259"/>
                <a:gd name="T102" fmla="*/ 143 w 259"/>
                <a:gd name="T103" fmla="*/ 82 h 259"/>
                <a:gd name="T104" fmla="*/ 177 w 259"/>
                <a:gd name="T105" fmla="*/ 143 h 259"/>
                <a:gd name="T106" fmla="*/ 116 w 259"/>
                <a:gd name="T107" fmla="*/ 178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59" h="259">
                  <a:moveTo>
                    <a:pt x="247" y="139"/>
                  </a:moveTo>
                  <a:cubicBezTo>
                    <a:pt x="228" y="133"/>
                    <a:pt x="228" y="133"/>
                    <a:pt x="228" y="133"/>
                  </a:cubicBezTo>
                  <a:cubicBezTo>
                    <a:pt x="228" y="123"/>
                    <a:pt x="227" y="113"/>
                    <a:pt x="224" y="103"/>
                  </a:cubicBezTo>
                  <a:cubicBezTo>
                    <a:pt x="241" y="94"/>
                    <a:pt x="241" y="94"/>
                    <a:pt x="241" y="94"/>
                  </a:cubicBezTo>
                  <a:cubicBezTo>
                    <a:pt x="249" y="90"/>
                    <a:pt x="251" y="81"/>
                    <a:pt x="247" y="73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5" y="52"/>
                    <a:pt x="226" y="49"/>
                    <a:pt x="219" y="53"/>
                  </a:cubicBezTo>
                  <a:cubicBezTo>
                    <a:pt x="202" y="63"/>
                    <a:pt x="202" y="63"/>
                    <a:pt x="202" y="63"/>
                  </a:cubicBezTo>
                  <a:cubicBezTo>
                    <a:pt x="195" y="55"/>
                    <a:pt x="187" y="49"/>
                    <a:pt x="178" y="44"/>
                  </a:cubicBezTo>
                  <a:cubicBezTo>
                    <a:pt x="183" y="25"/>
                    <a:pt x="183" y="25"/>
                    <a:pt x="183" y="25"/>
                  </a:cubicBezTo>
                  <a:cubicBezTo>
                    <a:pt x="185" y="17"/>
                    <a:pt x="181" y="9"/>
                    <a:pt x="173" y="7"/>
                  </a:cubicBezTo>
                  <a:cubicBezTo>
                    <a:pt x="157" y="2"/>
                    <a:pt x="157" y="2"/>
                    <a:pt x="157" y="2"/>
                  </a:cubicBezTo>
                  <a:cubicBezTo>
                    <a:pt x="149" y="0"/>
                    <a:pt x="141" y="5"/>
                    <a:pt x="138" y="12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23" y="31"/>
                    <a:pt x="113" y="32"/>
                    <a:pt x="103" y="35"/>
                  </a:cubicBezTo>
                  <a:cubicBezTo>
                    <a:pt x="93" y="18"/>
                    <a:pt x="93" y="18"/>
                    <a:pt x="93" y="18"/>
                  </a:cubicBezTo>
                  <a:cubicBezTo>
                    <a:pt x="90" y="11"/>
                    <a:pt x="80" y="8"/>
                    <a:pt x="73" y="12"/>
                  </a:cubicBezTo>
                  <a:cubicBezTo>
                    <a:pt x="59" y="20"/>
                    <a:pt x="59" y="20"/>
                    <a:pt x="59" y="20"/>
                  </a:cubicBezTo>
                  <a:cubicBezTo>
                    <a:pt x="51" y="24"/>
                    <a:pt x="49" y="33"/>
                    <a:pt x="53" y="40"/>
                  </a:cubicBezTo>
                  <a:cubicBezTo>
                    <a:pt x="63" y="58"/>
                    <a:pt x="63" y="58"/>
                    <a:pt x="63" y="58"/>
                  </a:cubicBezTo>
                  <a:cubicBezTo>
                    <a:pt x="55" y="64"/>
                    <a:pt x="49" y="72"/>
                    <a:pt x="44" y="81"/>
                  </a:cubicBezTo>
                  <a:cubicBezTo>
                    <a:pt x="25" y="76"/>
                    <a:pt x="25" y="76"/>
                    <a:pt x="25" y="76"/>
                  </a:cubicBezTo>
                  <a:cubicBezTo>
                    <a:pt x="17" y="74"/>
                    <a:pt x="9" y="78"/>
                    <a:pt x="7" y="86"/>
                  </a:cubicBezTo>
                  <a:cubicBezTo>
                    <a:pt x="2" y="103"/>
                    <a:pt x="2" y="103"/>
                    <a:pt x="2" y="103"/>
                  </a:cubicBezTo>
                  <a:cubicBezTo>
                    <a:pt x="0" y="110"/>
                    <a:pt x="4" y="119"/>
                    <a:pt x="12" y="121"/>
                  </a:cubicBezTo>
                  <a:cubicBezTo>
                    <a:pt x="31" y="126"/>
                    <a:pt x="31" y="126"/>
                    <a:pt x="31" y="126"/>
                  </a:cubicBezTo>
                  <a:cubicBezTo>
                    <a:pt x="31" y="136"/>
                    <a:pt x="32" y="146"/>
                    <a:pt x="35" y="156"/>
                  </a:cubicBezTo>
                  <a:cubicBezTo>
                    <a:pt x="18" y="166"/>
                    <a:pt x="18" y="166"/>
                    <a:pt x="18" y="166"/>
                  </a:cubicBezTo>
                  <a:cubicBezTo>
                    <a:pt x="11" y="170"/>
                    <a:pt x="8" y="179"/>
                    <a:pt x="12" y="186"/>
                  </a:cubicBezTo>
                  <a:cubicBezTo>
                    <a:pt x="20" y="201"/>
                    <a:pt x="20" y="201"/>
                    <a:pt x="20" y="201"/>
                  </a:cubicBezTo>
                  <a:cubicBezTo>
                    <a:pt x="24" y="208"/>
                    <a:pt x="33" y="210"/>
                    <a:pt x="40" y="206"/>
                  </a:cubicBezTo>
                  <a:cubicBezTo>
                    <a:pt x="58" y="197"/>
                    <a:pt x="58" y="197"/>
                    <a:pt x="58" y="197"/>
                  </a:cubicBezTo>
                  <a:cubicBezTo>
                    <a:pt x="64" y="204"/>
                    <a:pt x="72" y="210"/>
                    <a:pt x="81" y="215"/>
                  </a:cubicBezTo>
                  <a:cubicBezTo>
                    <a:pt x="76" y="234"/>
                    <a:pt x="76" y="234"/>
                    <a:pt x="76" y="234"/>
                  </a:cubicBezTo>
                  <a:cubicBezTo>
                    <a:pt x="74" y="242"/>
                    <a:pt x="78" y="250"/>
                    <a:pt x="86" y="253"/>
                  </a:cubicBezTo>
                  <a:cubicBezTo>
                    <a:pt x="102" y="257"/>
                    <a:pt x="102" y="257"/>
                    <a:pt x="102" y="257"/>
                  </a:cubicBezTo>
                  <a:cubicBezTo>
                    <a:pt x="110" y="259"/>
                    <a:pt x="118" y="255"/>
                    <a:pt x="121" y="247"/>
                  </a:cubicBezTo>
                  <a:cubicBezTo>
                    <a:pt x="126" y="228"/>
                    <a:pt x="126" y="228"/>
                    <a:pt x="126" y="228"/>
                  </a:cubicBezTo>
                  <a:cubicBezTo>
                    <a:pt x="136" y="228"/>
                    <a:pt x="146" y="227"/>
                    <a:pt x="156" y="224"/>
                  </a:cubicBezTo>
                  <a:cubicBezTo>
                    <a:pt x="166" y="242"/>
                    <a:pt x="166" y="242"/>
                    <a:pt x="166" y="242"/>
                  </a:cubicBezTo>
                  <a:cubicBezTo>
                    <a:pt x="170" y="249"/>
                    <a:pt x="179" y="251"/>
                    <a:pt x="186" y="247"/>
                  </a:cubicBezTo>
                  <a:cubicBezTo>
                    <a:pt x="200" y="239"/>
                    <a:pt x="200" y="239"/>
                    <a:pt x="200" y="239"/>
                  </a:cubicBezTo>
                  <a:cubicBezTo>
                    <a:pt x="208" y="235"/>
                    <a:pt x="210" y="226"/>
                    <a:pt x="206" y="219"/>
                  </a:cubicBezTo>
                  <a:cubicBezTo>
                    <a:pt x="197" y="202"/>
                    <a:pt x="197" y="202"/>
                    <a:pt x="197" y="202"/>
                  </a:cubicBezTo>
                  <a:cubicBezTo>
                    <a:pt x="204" y="195"/>
                    <a:pt x="210" y="187"/>
                    <a:pt x="215" y="178"/>
                  </a:cubicBezTo>
                  <a:cubicBezTo>
                    <a:pt x="234" y="183"/>
                    <a:pt x="234" y="183"/>
                    <a:pt x="234" y="183"/>
                  </a:cubicBezTo>
                  <a:cubicBezTo>
                    <a:pt x="242" y="185"/>
                    <a:pt x="250" y="181"/>
                    <a:pt x="252" y="173"/>
                  </a:cubicBezTo>
                  <a:cubicBezTo>
                    <a:pt x="257" y="157"/>
                    <a:pt x="257" y="157"/>
                    <a:pt x="257" y="157"/>
                  </a:cubicBezTo>
                  <a:cubicBezTo>
                    <a:pt x="259" y="149"/>
                    <a:pt x="255" y="141"/>
                    <a:pt x="247" y="139"/>
                  </a:cubicBezTo>
                  <a:close/>
                  <a:moveTo>
                    <a:pt x="116" y="178"/>
                  </a:moveTo>
                  <a:cubicBezTo>
                    <a:pt x="90" y="170"/>
                    <a:pt x="74" y="143"/>
                    <a:pt x="82" y="116"/>
                  </a:cubicBezTo>
                  <a:cubicBezTo>
                    <a:pt x="89" y="90"/>
                    <a:pt x="117" y="74"/>
                    <a:pt x="143" y="82"/>
                  </a:cubicBezTo>
                  <a:cubicBezTo>
                    <a:pt x="169" y="89"/>
                    <a:pt x="185" y="117"/>
                    <a:pt x="177" y="143"/>
                  </a:cubicBezTo>
                  <a:cubicBezTo>
                    <a:pt x="170" y="170"/>
                    <a:pt x="142" y="185"/>
                    <a:pt x="116" y="178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2" name="Freeform 98"/>
            <p:cNvSpPr>
              <a:spLocks noEditPoints="1"/>
            </p:cNvSpPr>
            <p:nvPr/>
          </p:nvSpPr>
          <p:spPr bwMode="gray">
            <a:xfrm>
              <a:off x="9818987" y="4658045"/>
              <a:ext cx="227013" cy="228600"/>
            </a:xfrm>
            <a:custGeom>
              <a:avLst/>
              <a:gdLst>
                <a:gd name="T0" fmla="*/ 165 w 165"/>
                <a:gd name="T1" fmla="*/ 75 h 166"/>
                <a:gd name="T2" fmla="*/ 165 w 165"/>
                <a:gd name="T3" fmla="*/ 75 h 166"/>
                <a:gd name="T4" fmla="*/ 151 w 165"/>
                <a:gd name="T5" fmla="*/ 63 h 166"/>
                <a:gd name="T6" fmla="*/ 156 w 165"/>
                <a:gd name="T7" fmla="*/ 44 h 166"/>
                <a:gd name="T8" fmla="*/ 138 w 165"/>
                <a:gd name="T9" fmla="*/ 38 h 166"/>
                <a:gd name="T10" fmla="*/ 136 w 165"/>
                <a:gd name="T11" fmla="*/ 19 h 166"/>
                <a:gd name="T12" fmla="*/ 117 w 165"/>
                <a:gd name="T13" fmla="*/ 20 h 166"/>
                <a:gd name="T14" fmla="*/ 107 w 165"/>
                <a:gd name="T15" fmla="*/ 3 h 166"/>
                <a:gd name="T16" fmla="*/ 90 w 165"/>
                <a:gd name="T17" fmla="*/ 12 h 166"/>
                <a:gd name="T18" fmla="*/ 90 w 165"/>
                <a:gd name="T19" fmla="*/ 0 h 166"/>
                <a:gd name="T20" fmla="*/ 75 w 165"/>
                <a:gd name="T21" fmla="*/ 0 h 166"/>
                <a:gd name="T22" fmla="*/ 62 w 165"/>
                <a:gd name="T23" fmla="*/ 14 h 166"/>
                <a:gd name="T24" fmla="*/ 44 w 165"/>
                <a:gd name="T25" fmla="*/ 9 h 166"/>
                <a:gd name="T26" fmla="*/ 36 w 165"/>
                <a:gd name="T27" fmla="*/ 27 h 166"/>
                <a:gd name="T28" fmla="*/ 18 w 165"/>
                <a:gd name="T29" fmla="*/ 30 h 166"/>
                <a:gd name="T30" fmla="*/ 19 w 165"/>
                <a:gd name="T31" fmla="*/ 48 h 166"/>
                <a:gd name="T32" fmla="*/ 3 w 165"/>
                <a:gd name="T33" fmla="*/ 58 h 166"/>
                <a:gd name="T34" fmla="*/ 10 w 165"/>
                <a:gd name="T35" fmla="*/ 75 h 166"/>
                <a:gd name="T36" fmla="*/ 0 w 165"/>
                <a:gd name="T37" fmla="*/ 75 h 166"/>
                <a:gd name="T38" fmla="*/ 0 w 165"/>
                <a:gd name="T39" fmla="*/ 80 h 166"/>
                <a:gd name="T40" fmla="*/ 0 w 165"/>
                <a:gd name="T41" fmla="*/ 90 h 166"/>
                <a:gd name="T42" fmla="*/ 10 w 165"/>
                <a:gd name="T43" fmla="*/ 90 h 166"/>
                <a:gd name="T44" fmla="*/ 3 w 165"/>
                <a:gd name="T45" fmla="*/ 107 h 166"/>
                <a:gd name="T46" fmla="*/ 18 w 165"/>
                <a:gd name="T47" fmla="*/ 118 h 166"/>
                <a:gd name="T48" fmla="*/ 18 w 165"/>
                <a:gd name="T49" fmla="*/ 136 h 166"/>
                <a:gd name="T50" fmla="*/ 36 w 165"/>
                <a:gd name="T51" fmla="*/ 140 h 166"/>
                <a:gd name="T52" fmla="*/ 44 w 165"/>
                <a:gd name="T53" fmla="*/ 156 h 166"/>
                <a:gd name="T54" fmla="*/ 62 w 165"/>
                <a:gd name="T55" fmla="*/ 153 h 166"/>
                <a:gd name="T56" fmla="*/ 75 w 165"/>
                <a:gd name="T57" fmla="*/ 166 h 166"/>
                <a:gd name="T58" fmla="*/ 90 w 165"/>
                <a:gd name="T59" fmla="*/ 166 h 166"/>
                <a:gd name="T60" fmla="*/ 90 w 165"/>
                <a:gd name="T61" fmla="*/ 155 h 166"/>
                <a:gd name="T62" fmla="*/ 107 w 165"/>
                <a:gd name="T63" fmla="*/ 162 h 166"/>
                <a:gd name="T64" fmla="*/ 117 w 165"/>
                <a:gd name="T65" fmla="*/ 146 h 166"/>
                <a:gd name="T66" fmla="*/ 135 w 165"/>
                <a:gd name="T67" fmla="*/ 147 h 166"/>
                <a:gd name="T68" fmla="*/ 138 w 165"/>
                <a:gd name="T69" fmla="*/ 129 h 166"/>
                <a:gd name="T70" fmla="*/ 156 w 165"/>
                <a:gd name="T71" fmla="*/ 122 h 166"/>
                <a:gd name="T72" fmla="*/ 151 w 165"/>
                <a:gd name="T73" fmla="*/ 103 h 166"/>
                <a:gd name="T74" fmla="*/ 165 w 165"/>
                <a:gd name="T75" fmla="*/ 90 h 166"/>
                <a:gd name="T76" fmla="*/ 133 w 165"/>
                <a:gd name="T77" fmla="*/ 75 h 166"/>
                <a:gd name="T78" fmla="*/ 104 w 165"/>
                <a:gd name="T79" fmla="*/ 71 h 166"/>
                <a:gd name="T80" fmla="*/ 113 w 165"/>
                <a:gd name="T81" fmla="*/ 42 h 166"/>
                <a:gd name="T82" fmla="*/ 90 w 165"/>
                <a:gd name="T83" fmla="*/ 59 h 166"/>
                <a:gd name="T84" fmla="*/ 113 w 165"/>
                <a:gd name="T85" fmla="*/ 42 h 166"/>
                <a:gd name="T86" fmla="*/ 75 w 165"/>
                <a:gd name="T87" fmla="*/ 90 h 166"/>
                <a:gd name="T88" fmla="*/ 90 w 165"/>
                <a:gd name="T89" fmla="*/ 76 h 166"/>
                <a:gd name="T90" fmla="*/ 75 w 165"/>
                <a:gd name="T91" fmla="*/ 32 h 166"/>
                <a:gd name="T92" fmla="*/ 69 w 165"/>
                <a:gd name="T93" fmla="*/ 61 h 166"/>
                <a:gd name="T94" fmla="*/ 75 w 165"/>
                <a:gd name="T95" fmla="*/ 32 h 166"/>
                <a:gd name="T96" fmla="*/ 60 w 165"/>
                <a:gd name="T97" fmla="*/ 71 h 166"/>
                <a:gd name="T98" fmla="*/ 31 w 165"/>
                <a:gd name="T99" fmla="*/ 75 h 166"/>
                <a:gd name="T100" fmla="*/ 41 w 165"/>
                <a:gd name="T101" fmla="*/ 115 h 166"/>
                <a:gd name="T102" fmla="*/ 57 w 165"/>
                <a:gd name="T103" fmla="*/ 90 h 166"/>
                <a:gd name="T104" fmla="*/ 41 w 165"/>
                <a:gd name="T105" fmla="*/ 115 h 166"/>
                <a:gd name="T106" fmla="*/ 69 w 165"/>
                <a:gd name="T107" fmla="*/ 106 h 166"/>
                <a:gd name="T108" fmla="*/ 75 w 165"/>
                <a:gd name="T109" fmla="*/ 135 h 166"/>
                <a:gd name="T110" fmla="*/ 90 w 165"/>
                <a:gd name="T111" fmla="*/ 135 h 166"/>
                <a:gd name="T112" fmla="*/ 94 w 165"/>
                <a:gd name="T113" fmla="*/ 106 h 166"/>
                <a:gd name="T114" fmla="*/ 90 w 165"/>
                <a:gd name="T115" fmla="*/ 135 h 166"/>
                <a:gd name="T116" fmla="*/ 104 w 165"/>
                <a:gd name="T117" fmla="*/ 96 h 166"/>
                <a:gd name="T118" fmla="*/ 133 w 165"/>
                <a:gd name="T119" fmla="*/ 9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5" h="166">
                  <a:moveTo>
                    <a:pt x="165" y="90"/>
                  </a:moveTo>
                  <a:cubicBezTo>
                    <a:pt x="165" y="75"/>
                    <a:pt x="165" y="75"/>
                    <a:pt x="165" y="75"/>
                  </a:cubicBezTo>
                  <a:cubicBezTo>
                    <a:pt x="165" y="75"/>
                    <a:pt x="165" y="75"/>
                    <a:pt x="165" y="75"/>
                  </a:cubicBezTo>
                  <a:cubicBezTo>
                    <a:pt x="165" y="75"/>
                    <a:pt x="165" y="75"/>
                    <a:pt x="165" y="75"/>
                  </a:cubicBezTo>
                  <a:cubicBezTo>
                    <a:pt x="154" y="75"/>
                    <a:pt x="154" y="75"/>
                    <a:pt x="154" y="75"/>
                  </a:cubicBezTo>
                  <a:cubicBezTo>
                    <a:pt x="153" y="71"/>
                    <a:pt x="152" y="67"/>
                    <a:pt x="151" y="63"/>
                  </a:cubicBezTo>
                  <a:cubicBezTo>
                    <a:pt x="162" y="58"/>
                    <a:pt x="162" y="58"/>
                    <a:pt x="162" y="58"/>
                  </a:cubicBezTo>
                  <a:cubicBezTo>
                    <a:pt x="156" y="44"/>
                    <a:pt x="156" y="44"/>
                    <a:pt x="156" y="44"/>
                  </a:cubicBezTo>
                  <a:cubicBezTo>
                    <a:pt x="145" y="49"/>
                    <a:pt x="145" y="49"/>
                    <a:pt x="145" y="49"/>
                  </a:cubicBezTo>
                  <a:cubicBezTo>
                    <a:pt x="143" y="45"/>
                    <a:pt x="141" y="41"/>
                    <a:pt x="138" y="38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36" y="19"/>
                    <a:pt x="136" y="19"/>
                    <a:pt x="136" y="19"/>
                  </a:cubicBezTo>
                  <a:cubicBezTo>
                    <a:pt x="127" y="27"/>
                    <a:pt x="127" y="27"/>
                    <a:pt x="127" y="27"/>
                  </a:cubicBezTo>
                  <a:cubicBezTo>
                    <a:pt x="124" y="25"/>
                    <a:pt x="120" y="22"/>
                    <a:pt x="117" y="20"/>
                  </a:cubicBezTo>
                  <a:cubicBezTo>
                    <a:pt x="121" y="9"/>
                    <a:pt x="121" y="9"/>
                    <a:pt x="121" y="9"/>
                  </a:cubicBezTo>
                  <a:cubicBezTo>
                    <a:pt x="107" y="3"/>
                    <a:pt x="107" y="3"/>
                    <a:pt x="107" y="3"/>
                  </a:cubicBezTo>
                  <a:cubicBezTo>
                    <a:pt x="103" y="14"/>
                    <a:pt x="103" y="14"/>
                    <a:pt x="103" y="14"/>
                  </a:cubicBezTo>
                  <a:cubicBezTo>
                    <a:pt x="99" y="13"/>
                    <a:pt x="94" y="12"/>
                    <a:pt x="90" y="12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5" y="12"/>
                    <a:pt x="75" y="12"/>
                    <a:pt x="75" y="12"/>
                  </a:cubicBezTo>
                  <a:cubicBezTo>
                    <a:pt x="71" y="12"/>
                    <a:pt x="66" y="13"/>
                    <a:pt x="62" y="14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44" y="22"/>
                    <a:pt x="40" y="24"/>
                    <a:pt x="36" y="27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3" y="41"/>
                    <a:pt x="21" y="45"/>
                    <a:pt x="19" y="48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11" y="66"/>
                    <a:pt x="11" y="71"/>
                    <a:pt x="1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0" y="95"/>
                    <a:pt x="11" y="99"/>
                    <a:pt x="12" y="103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9" y="121"/>
                    <a:pt x="9" y="121"/>
                    <a:pt x="9" y="121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20" y="122"/>
                    <a:pt x="23" y="125"/>
                    <a:pt x="26" y="129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29" y="147"/>
                    <a:pt x="29" y="147"/>
                    <a:pt x="29" y="147"/>
                  </a:cubicBezTo>
                  <a:cubicBezTo>
                    <a:pt x="36" y="140"/>
                    <a:pt x="36" y="140"/>
                    <a:pt x="36" y="140"/>
                  </a:cubicBezTo>
                  <a:cubicBezTo>
                    <a:pt x="40" y="142"/>
                    <a:pt x="44" y="145"/>
                    <a:pt x="48" y="147"/>
                  </a:cubicBezTo>
                  <a:cubicBezTo>
                    <a:pt x="44" y="156"/>
                    <a:pt x="44" y="156"/>
                    <a:pt x="44" y="156"/>
                  </a:cubicBezTo>
                  <a:cubicBezTo>
                    <a:pt x="58" y="162"/>
                    <a:pt x="58" y="162"/>
                    <a:pt x="58" y="162"/>
                  </a:cubicBezTo>
                  <a:cubicBezTo>
                    <a:pt x="62" y="153"/>
                    <a:pt x="62" y="153"/>
                    <a:pt x="62" y="153"/>
                  </a:cubicBezTo>
                  <a:cubicBezTo>
                    <a:pt x="66" y="154"/>
                    <a:pt x="70" y="155"/>
                    <a:pt x="75" y="155"/>
                  </a:cubicBezTo>
                  <a:cubicBezTo>
                    <a:pt x="75" y="166"/>
                    <a:pt x="75" y="166"/>
                    <a:pt x="75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55"/>
                    <a:pt x="90" y="155"/>
                    <a:pt x="90" y="155"/>
                  </a:cubicBezTo>
                  <a:cubicBezTo>
                    <a:pt x="94" y="155"/>
                    <a:pt x="99" y="154"/>
                    <a:pt x="103" y="152"/>
                  </a:cubicBezTo>
                  <a:cubicBezTo>
                    <a:pt x="107" y="162"/>
                    <a:pt x="107" y="162"/>
                    <a:pt x="107" y="162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17" y="146"/>
                    <a:pt x="117" y="146"/>
                    <a:pt x="117" y="146"/>
                  </a:cubicBezTo>
                  <a:cubicBezTo>
                    <a:pt x="121" y="144"/>
                    <a:pt x="124" y="142"/>
                    <a:pt x="127" y="140"/>
                  </a:cubicBezTo>
                  <a:cubicBezTo>
                    <a:pt x="135" y="147"/>
                    <a:pt x="135" y="147"/>
                    <a:pt x="135" y="147"/>
                  </a:cubicBezTo>
                  <a:cubicBezTo>
                    <a:pt x="146" y="137"/>
                    <a:pt x="146" y="137"/>
                    <a:pt x="146" y="137"/>
                  </a:cubicBezTo>
                  <a:cubicBezTo>
                    <a:pt x="138" y="129"/>
                    <a:pt x="138" y="129"/>
                    <a:pt x="138" y="129"/>
                  </a:cubicBezTo>
                  <a:cubicBezTo>
                    <a:pt x="141" y="125"/>
                    <a:pt x="143" y="121"/>
                    <a:pt x="146" y="117"/>
                  </a:cubicBezTo>
                  <a:cubicBezTo>
                    <a:pt x="156" y="122"/>
                    <a:pt x="156" y="122"/>
                    <a:pt x="156" y="122"/>
                  </a:cubicBezTo>
                  <a:cubicBezTo>
                    <a:pt x="162" y="108"/>
                    <a:pt x="162" y="108"/>
                    <a:pt x="162" y="108"/>
                  </a:cubicBezTo>
                  <a:cubicBezTo>
                    <a:pt x="151" y="103"/>
                    <a:pt x="151" y="103"/>
                    <a:pt x="151" y="103"/>
                  </a:cubicBezTo>
                  <a:cubicBezTo>
                    <a:pt x="152" y="99"/>
                    <a:pt x="153" y="95"/>
                    <a:pt x="154" y="90"/>
                  </a:cubicBezTo>
                  <a:lnTo>
                    <a:pt x="165" y="90"/>
                  </a:lnTo>
                  <a:close/>
                  <a:moveTo>
                    <a:pt x="123" y="52"/>
                  </a:moveTo>
                  <a:cubicBezTo>
                    <a:pt x="128" y="59"/>
                    <a:pt x="132" y="67"/>
                    <a:pt x="133" y="75"/>
                  </a:cubicBezTo>
                  <a:cubicBezTo>
                    <a:pt x="106" y="75"/>
                    <a:pt x="106" y="75"/>
                    <a:pt x="106" y="75"/>
                  </a:cubicBezTo>
                  <a:cubicBezTo>
                    <a:pt x="105" y="74"/>
                    <a:pt x="105" y="72"/>
                    <a:pt x="104" y="71"/>
                  </a:cubicBezTo>
                  <a:lnTo>
                    <a:pt x="123" y="52"/>
                  </a:lnTo>
                  <a:close/>
                  <a:moveTo>
                    <a:pt x="113" y="42"/>
                  </a:moveTo>
                  <a:cubicBezTo>
                    <a:pt x="94" y="61"/>
                    <a:pt x="94" y="61"/>
                    <a:pt x="94" y="61"/>
                  </a:cubicBezTo>
                  <a:cubicBezTo>
                    <a:pt x="93" y="61"/>
                    <a:pt x="92" y="60"/>
                    <a:pt x="90" y="59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9" y="34"/>
                    <a:pt x="107" y="37"/>
                    <a:pt x="113" y="42"/>
                  </a:cubicBezTo>
                  <a:close/>
                  <a:moveTo>
                    <a:pt x="90" y="90"/>
                  </a:moveTo>
                  <a:cubicBezTo>
                    <a:pt x="86" y="94"/>
                    <a:pt x="79" y="94"/>
                    <a:pt x="75" y="90"/>
                  </a:cubicBezTo>
                  <a:cubicBezTo>
                    <a:pt x="71" y="86"/>
                    <a:pt x="71" y="80"/>
                    <a:pt x="75" y="76"/>
                  </a:cubicBezTo>
                  <a:cubicBezTo>
                    <a:pt x="79" y="72"/>
                    <a:pt x="86" y="72"/>
                    <a:pt x="90" y="76"/>
                  </a:cubicBezTo>
                  <a:cubicBezTo>
                    <a:pt x="94" y="80"/>
                    <a:pt x="94" y="86"/>
                    <a:pt x="90" y="90"/>
                  </a:cubicBezTo>
                  <a:close/>
                  <a:moveTo>
                    <a:pt x="75" y="32"/>
                  </a:moveTo>
                  <a:cubicBezTo>
                    <a:pt x="75" y="59"/>
                    <a:pt x="75" y="59"/>
                    <a:pt x="75" y="59"/>
                  </a:cubicBezTo>
                  <a:cubicBezTo>
                    <a:pt x="73" y="60"/>
                    <a:pt x="71" y="60"/>
                    <a:pt x="69" y="61"/>
                  </a:cubicBezTo>
                  <a:cubicBezTo>
                    <a:pt x="50" y="42"/>
                    <a:pt x="50" y="42"/>
                    <a:pt x="50" y="42"/>
                  </a:cubicBezTo>
                  <a:cubicBezTo>
                    <a:pt x="57" y="37"/>
                    <a:pt x="66" y="33"/>
                    <a:pt x="75" y="32"/>
                  </a:cubicBezTo>
                  <a:close/>
                  <a:moveTo>
                    <a:pt x="41" y="52"/>
                  </a:moveTo>
                  <a:cubicBezTo>
                    <a:pt x="60" y="71"/>
                    <a:pt x="60" y="71"/>
                    <a:pt x="60" y="71"/>
                  </a:cubicBezTo>
                  <a:cubicBezTo>
                    <a:pt x="59" y="72"/>
                    <a:pt x="58" y="74"/>
                    <a:pt x="58" y="75"/>
                  </a:cubicBezTo>
                  <a:cubicBezTo>
                    <a:pt x="31" y="75"/>
                    <a:pt x="31" y="75"/>
                    <a:pt x="31" y="75"/>
                  </a:cubicBezTo>
                  <a:cubicBezTo>
                    <a:pt x="32" y="67"/>
                    <a:pt x="35" y="59"/>
                    <a:pt x="41" y="52"/>
                  </a:cubicBezTo>
                  <a:close/>
                  <a:moveTo>
                    <a:pt x="41" y="115"/>
                  </a:moveTo>
                  <a:cubicBezTo>
                    <a:pt x="35" y="108"/>
                    <a:pt x="32" y="99"/>
                    <a:pt x="30" y="9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8" y="92"/>
                    <a:pt x="59" y="94"/>
                    <a:pt x="60" y="96"/>
                  </a:cubicBezTo>
                  <a:lnTo>
                    <a:pt x="41" y="115"/>
                  </a:lnTo>
                  <a:close/>
                  <a:moveTo>
                    <a:pt x="50" y="125"/>
                  </a:moveTo>
                  <a:cubicBezTo>
                    <a:pt x="69" y="106"/>
                    <a:pt x="69" y="106"/>
                    <a:pt x="69" y="106"/>
                  </a:cubicBezTo>
                  <a:cubicBezTo>
                    <a:pt x="71" y="107"/>
                    <a:pt x="73" y="107"/>
                    <a:pt x="75" y="108"/>
                  </a:cubicBezTo>
                  <a:cubicBezTo>
                    <a:pt x="75" y="135"/>
                    <a:pt x="75" y="135"/>
                    <a:pt x="75" y="135"/>
                  </a:cubicBezTo>
                  <a:cubicBezTo>
                    <a:pt x="66" y="134"/>
                    <a:pt x="57" y="130"/>
                    <a:pt x="50" y="125"/>
                  </a:cubicBezTo>
                  <a:close/>
                  <a:moveTo>
                    <a:pt x="90" y="135"/>
                  </a:moveTo>
                  <a:cubicBezTo>
                    <a:pt x="90" y="107"/>
                    <a:pt x="90" y="107"/>
                    <a:pt x="90" y="107"/>
                  </a:cubicBezTo>
                  <a:cubicBezTo>
                    <a:pt x="92" y="107"/>
                    <a:pt x="93" y="106"/>
                    <a:pt x="94" y="106"/>
                  </a:cubicBezTo>
                  <a:cubicBezTo>
                    <a:pt x="113" y="125"/>
                    <a:pt x="113" y="125"/>
                    <a:pt x="113" y="125"/>
                  </a:cubicBezTo>
                  <a:cubicBezTo>
                    <a:pt x="107" y="130"/>
                    <a:pt x="99" y="133"/>
                    <a:pt x="90" y="135"/>
                  </a:cubicBezTo>
                  <a:close/>
                  <a:moveTo>
                    <a:pt x="123" y="115"/>
                  </a:moveTo>
                  <a:cubicBezTo>
                    <a:pt x="104" y="96"/>
                    <a:pt x="104" y="96"/>
                    <a:pt x="104" y="96"/>
                  </a:cubicBezTo>
                  <a:cubicBezTo>
                    <a:pt x="105" y="94"/>
                    <a:pt x="106" y="92"/>
                    <a:pt x="106" y="90"/>
                  </a:cubicBezTo>
                  <a:cubicBezTo>
                    <a:pt x="133" y="90"/>
                    <a:pt x="133" y="90"/>
                    <a:pt x="133" y="90"/>
                  </a:cubicBezTo>
                  <a:cubicBezTo>
                    <a:pt x="132" y="99"/>
                    <a:pt x="129" y="108"/>
                    <a:pt x="123" y="115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3" name="Freeform 99"/>
            <p:cNvSpPr>
              <a:spLocks/>
            </p:cNvSpPr>
            <p:nvPr/>
          </p:nvSpPr>
          <p:spPr bwMode="gray">
            <a:xfrm>
              <a:off x="9061750" y="4907283"/>
              <a:ext cx="1035050" cy="211137"/>
            </a:xfrm>
            <a:custGeom>
              <a:avLst/>
              <a:gdLst>
                <a:gd name="T0" fmla="*/ 3 w 748"/>
                <a:gd name="T1" fmla="*/ 0 h 153"/>
                <a:gd name="T2" fmla="*/ 0 w 748"/>
                <a:gd name="T3" fmla="*/ 26 h 153"/>
                <a:gd name="T4" fmla="*/ 127 w 748"/>
                <a:gd name="T5" fmla="*/ 153 h 153"/>
                <a:gd name="T6" fmla="*/ 621 w 748"/>
                <a:gd name="T7" fmla="*/ 153 h 153"/>
                <a:gd name="T8" fmla="*/ 748 w 748"/>
                <a:gd name="T9" fmla="*/ 26 h 153"/>
                <a:gd name="T10" fmla="*/ 745 w 748"/>
                <a:gd name="T11" fmla="*/ 0 h 153"/>
                <a:gd name="T12" fmla="*/ 3 w 748"/>
                <a:gd name="T13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8" h="153">
                  <a:moveTo>
                    <a:pt x="3" y="0"/>
                  </a:moveTo>
                  <a:cubicBezTo>
                    <a:pt x="1" y="9"/>
                    <a:pt x="0" y="17"/>
                    <a:pt x="0" y="26"/>
                  </a:cubicBezTo>
                  <a:cubicBezTo>
                    <a:pt x="0" y="96"/>
                    <a:pt x="57" y="153"/>
                    <a:pt x="127" y="153"/>
                  </a:cubicBezTo>
                  <a:cubicBezTo>
                    <a:pt x="621" y="153"/>
                    <a:pt x="621" y="153"/>
                    <a:pt x="621" y="153"/>
                  </a:cubicBezTo>
                  <a:cubicBezTo>
                    <a:pt x="691" y="153"/>
                    <a:pt x="748" y="96"/>
                    <a:pt x="748" y="26"/>
                  </a:cubicBezTo>
                  <a:cubicBezTo>
                    <a:pt x="748" y="17"/>
                    <a:pt x="747" y="9"/>
                    <a:pt x="745" y="0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4" name="Freeform 100"/>
            <p:cNvSpPr>
              <a:spLocks/>
            </p:cNvSpPr>
            <p:nvPr/>
          </p:nvSpPr>
          <p:spPr bwMode="gray">
            <a:xfrm>
              <a:off x="9101437" y="4907283"/>
              <a:ext cx="995363" cy="211137"/>
            </a:xfrm>
            <a:custGeom>
              <a:avLst/>
              <a:gdLst>
                <a:gd name="T0" fmla="*/ 716 w 719"/>
                <a:gd name="T1" fmla="*/ 0 h 153"/>
                <a:gd name="T2" fmla="*/ 700 w 719"/>
                <a:gd name="T3" fmla="*/ 0 h 153"/>
                <a:gd name="T4" fmla="*/ 701 w 719"/>
                <a:gd name="T5" fmla="*/ 8 h 153"/>
                <a:gd name="T6" fmla="*/ 573 w 719"/>
                <a:gd name="T7" fmla="*/ 135 h 153"/>
                <a:gd name="T8" fmla="*/ 80 w 719"/>
                <a:gd name="T9" fmla="*/ 135 h 153"/>
                <a:gd name="T10" fmla="*/ 0 w 719"/>
                <a:gd name="T11" fmla="*/ 106 h 153"/>
                <a:gd name="T12" fmla="*/ 98 w 719"/>
                <a:gd name="T13" fmla="*/ 153 h 153"/>
                <a:gd name="T14" fmla="*/ 592 w 719"/>
                <a:gd name="T15" fmla="*/ 153 h 153"/>
                <a:gd name="T16" fmla="*/ 719 w 719"/>
                <a:gd name="T17" fmla="*/ 26 h 153"/>
                <a:gd name="T18" fmla="*/ 716 w 719"/>
                <a:gd name="T19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19" h="153">
                  <a:moveTo>
                    <a:pt x="716" y="0"/>
                  </a:moveTo>
                  <a:cubicBezTo>
                    <a:pt x="700" y="0"/>
                    <a:pt x="700" y="0"/>
                    <a:pt x="700" y="0"/>
                  </a:cubicBezTo>
                  <a:cubicBezTo>
                    <a:pt x="701" y="3"/>
                    <a:pt x="701" y="5"/>
                    <a:pt x="701" y="8"/>
                  </a:cubicBezTo>
                  <a:cubicBezTo>
                    <a:pt x="701" y="78"/>
                    <a:pt x="644" y="135"/>
                    <a:pt x="573" y="135"/>
                  </a:cubicBezTo>
                  <a:cubicBezTo>
                    <a:pt x="80" y="135"/>
                    <a:pt x="80" y="135"/>
                    <a:pt x="80" y="135"/>
                  </a:cubicBezTo>
                  <a:cubicBezTo>
                    <a:pt x="50" y="135"/>
                    <a:pt x="22" y="124"/>
                    <a:pt x="0" y="106"/>
                  </a:cubicBezTo>
                  <a:cubicBezTo>
                    <a:pt x="23" y="135"/>
                    <a:pt x="59" y="153"/>
                    <a:pt x="98" y="153"/>
                  </a:cubicBezTo>
                  <a:cubicBezTo>
                    <a:pt x="592" y="153"/>
                    <a:pt x="592" y="153"/>
                    <a:pt x="592" y="153"/>
                  </a:cubicBezTo>
                  <a:cubicBezTo>
                    <a:pt x="662" y="153"/>
                    <a:pt x="719" y="96"/>
                    <a:pt x="719" y="26"/>
                  </a:cubicBezTo>
                  <a:cubicBezTo>
                    <a:pt x="719" y="17"/>
                    <a:pt x="718" y="9"/>
                    <a:pt x="716" y="0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5" name="Freeform 101"/>
            <p:cNvSpPr>
              <a:spLocks/>
            </p:cNvSpPr>
            <p:nvPr/>
          </p:nvSpPr>
          <p:spPr bwMode="gray">
            <a:xfrm>
              <a:off x="9064925" y="4192908"/>
              <a:ext cx="1028700" cy="377825"/>
            </a:xfrm>
            <a:custGeom>
              <a:avLst/>
              <a:gdLst>
                <a:gd name="T0" fmla="*/ 744 w 744"/>
                <a:gd name="T1" fmla="*/ 274 h 274"/>
                <a:gd name="T2" fmla="*/ 621 w 744"/>
                <a:gd name="T3" fmla="*/ 173 h 274"/>
                <a:gd name="T4" fmla="*/ 581 w 744"/>
                <a:gd name="T5" fmla="*/ 179 h 274"/>
                <a:gd name="T6" fmla="*/ 457 w 744"/>
                <a:gd name="T7" fmla="*/ 68 h 274"/>
                <a:gd name="T8" fmla="*/ 372 w 744"/>
                <a:gd name="T9" fmla="*/ 101 h 274"/>
                <a:gd name="T10" fmla="*/ 249 w 744"/>
                <a:gd name="T11" fmla="*/ 0 h 274"/>
                <a:gd name="T12" fmla="*/ 123 w 744"/>
                <a:gd name="T13" fmla="*/ 125 h 274"/>
                <a:gd name="T14" fmla="*/ 133 w 744"/>
                <a:gd name="T15" fmla="*/ 173 h 274"/>
                <a:gd name="T16" fmla="*/ 123 w 744"/>
                <a:gd name="T17" fmla="*/ 173 h 274"/>
                <a:gd name="T18" fmla="*/ 0 w 744"/>
                <a:gd name="T19" fmla="*/ 274 h 274"/>
                <a:gd name="T20" fmla="*/ 744 w 744"/>
                <a:gd name="T21" fmla="*/ 27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44" h="274">
                  <a:moveTo>
                    <a:pt x="744" y="274"/>
                  </a:moveTo>
                  <a:cubicBezTo>
                    <a:pt x="733" y="217"/>
                    <a:pt x="682" y="173"/>
                    <a:pt x="621" y="173"/>
                  </a:cubicBezTo>
                  <a:cubicBezTo>
                    <a:pt x="607" y="173"/>
                    <a:pt x="594" y="175"/>
                    <a:pt x="581" y="179"/>
                  </a:cubicBezTo>
                  <a:cubicBezTo>
                    <a:pt x="574" y="117"/>
                    <a:pt x="521" y="68"/>
                    <a:pt x="457" y="68"/>
                  </a:cubicBezTo>
                  <a:cubicBezTo>
                    <a:pt x="424" y="68"/>
                    <a:pt x="394" y="81"/>
                    <a:pt x="372" y="101"/>
                  </a:cubicBezTo>
                  <a:cubicBezTo>
                    <a:pt x="361" y="44"/>
                    <a:pt x="310" y="0"/>
                    <a:pt x="249" y="0"/>
                  </a:cubicBezTo>
                  <a:cubicBezTo>
                    <a:pt x="179" y="0"/>
                    <a:pt x="123" y="56"/>
                    <a:pt x="123" y="125"/>
                  </a:cubicBezTo>
                  <a:cubicBezTo>
                    <a:pt x="123" y="142"/>
                    <a:pt x="127" y="159"/>
                    <a:pt x="133" y="173"/>
                  </a:cubicBezTo>
                  <a:cubicBezTo>
                    <a:pt x="130" y="173"/>
                    <a:pt x="127" y="173"/>
                    <a:pt x="123" y="173"/>
                  </a:cubicBezTo>
                  <a:cubicBezTo>
                    <a:pt x="62" y="173"/>
                    <a:pt x="12" y="217"/>
                    <a:pt x="0" y="274"/>
                  </a:cubicBezTo>
                  <a:lnTo>
                    <a:pt x="744" y="2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6" name="Freeform 102"/>
            <p:cNvSpPr>
              <a:spLocks/>
            </p:cNvSpPr>
            <p:nvPr/>
          </p:nvSpPr>
          <p:spPr bwMode="gray">
            <a:xfrm>
              <a:off x="9268125" y="4192908"/>
              <a:ext cx="825500" cy="377825"/>
            </a:xfrm>
            <a:custGeom>
              <a:avLst/>
              <a:gdLst>
                <a:gd name="T0" fmla="*/ 80 w 597"/>
                <a:gd name="T1" fmla="*/ 23 h 274"/>
                <a:gd name="T2" fmla="*/ 203 w 597"/>
                <a:gd name="T3" fmla="*/ 125 h 274"/>
                <a:gd name="T4" fmla="*/ 288 w 597"/>
                <a:gd name="T5" fmla="*/ 91 h 274"/>
                <a:gd name="T6" fmla="*/ 413 w 597"/>
                <a:gd name="T7" fmla="*/ 203 h 274"/>
                <a:gd name="T8" fmla="*/ 452 w 597"/>
                <a:gd name="T9" fmla="*/ 196 h 274"/>
                <a:gd name="T10" fmla="*/ 568 w 597"/>
                <a:gd name="T11" fmla="*/ 274 h 274"/>
                <a:gd name="T12" fmla="*/ 597 w 597"/>
                <a:gd name="T13" fmla="*/ 274 h 274"/>
                <a:gd name="T14" fmla="*/ 474 w 597"/>
                <a:gd name="T15" fmla="*/ 173 h 274"/>
                <a:gd name="T16" fmla="*/ 434 w 597"/>
                <a:gd name="T17" fmla="*/ 179 h 274"/>
                <a:gd name="T18" fmla="*/ 310 w 597"/>
                <a:gd name="T19" fmla="*/ 68 h 274"/>
                <a:gd name="T20" fmla="*/ 225 w 597"/>
                <a:gd name="T21" fmla="*/ 101 h 274"/>
                <a:gd name="T22" fmla="*/ 102 w 597"/>
                <a:gd name="T23" fmla="*/ 0 h 274"/>
                <a:gd name="T24" fmla="*/ 0 w 597"/>
                <a:gd name="T25" fmla="*/ 52 h 274"/>
                <a:gd name="T26" fmla="*/ 80 w 597"/>
                <a:gd name="T27" fmla="*/ 23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97" h="274">
                  <a:moveTo>
                    <a:pt x="80" y="23"/>
                  </a:moveTo>
                  <a:cubicBezTo>
                    <a:pt x="141" y="23"/>
                    <a:pt x="192" y="67"/>
                    <a:pt x="203" y="125"/>
                  </a:cubicBezTo>
                  <a:cubicBezTo>
                    <a:pt x="225" y="104"/>
                    <a:pt x="255" y="91"/>
                    <a:pt x="288" y="91"/>
                  </a:cubicBezTo>
                  <a:cubicBezTo>
                    <a:pt x="353" y="91"/>
                    <a:pt x="406" y="140"/>
                    <a:pt x="413" y="203"/>
                  </a:cubicBezTo>
                  <a:cubicBezTo>
                    <a:pt x="425" y="199"/>
                    <a:pt x="438" y="196"/>
                    <a:pt x="452" y="196"/>
                  </a:cubicBezTo>
                  <a:cubicBezTo>
                    <a:pt x="505" y="196"/>
                    <a:pt x="549" y="229"/>
                    <a:pt x="568" y="274"/>
                  </a:cubicBezTo>
                  <a:cubicBezTo>
                    <a:pt x="597" y="274"/>
                    <a:pt x="597" y="274"/>
                    <a:pt x="597" y="274"/>
                  </a:cubicBezTo>
                  <a:cubicBezTo>
                    <a:pt x="586" y="217"/>
                    <a:pt x="535" y="173"/>
                    <a:pt x="474" y="173"/>
                  </a:cubicBezTo>
                  <a:cubicBezTo>
                    <a:pt x="460" y="173"/>
                    <a:pt x="447" y="175"/>
                    <a:pt x="434" y="179"/>
                  </a:cubicBezTo>
                  <a:cubicBezTo>
                    <a:pt x="427" y="117"/>
                    <a:pt x="374" y="68"/>
                    <a:pt x="310" y="68"/>
                  </a:cubicBezTo>
                  <a:cubicBezTo>
                    <a:pt x="277" y="68"/>
                    <a:pt x="247" y="81"/>
                    <a:pt x="225" y="101"/>
                  </a:cubicBezTo>
                  <a:cubicBezTo>
                    <a:pt x="214" y="44"/>
                    <a:pt x="163" y="0"/>
                    <a:pt x="102" y="0"/>
                  </a:cubicBezTo>
                  <a:cubicBezTo>
                    <a:pt x="60" y="0"/>
                    <a:pt x="23" y="20"/>
                    <a:pt x="0" y="52"/>
                  </a:cubicBezTo>
                  <a:cubicBezTo>
                    <a:pt x="22" y="34"/>
                    <a:pt x="49" y="23"/>
                    <a:pt x="80" y="23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Oval 103"/>
            <p:cNvSpPr>
              <a:spLocks noChangeArrowheads="1"/>
            </p:cNvSpPr>
            <p:nvPr/>
          </p:nvSpPr>
          <p:spPr bwMode="gray">
            <a:xfrm>
              <a:off x="11085812" y="5396233"/>
              <a:ext cx="103188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8" name="Oval 104"/>
            <p:cNvSpPr>
              <a:spLocks noChangeArrowheads="1"/>
            </p:cNvSpPr>
            <p:nvPr/>
          </p:nvSpPr>
          <p:spPr bwMode="gray">
            <a:xfrm>
              <a:off x="10884200" y="5396233"/>
              <a:ext cx="101600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9" name="Freeform 105"/>
            <p:cNvSpPr>
              <a:spLocks/>
            </p:cNvSpPr>
            <p:nvPr/>
          </p:nvSpPr>
          <p:spPr bwMode="gray">
            <a:xfrm>
              <a:off x="10884200" y="5412108"/>
              <a:ext cx="85725" cy="87312"/>
            </a:xfrm>
            <a:custGeom>
              <a:avLst/>
              <a:gdLst>
                <a:gd name="T0" fmla="*/ 37 w 62"/>
                <a:gd name="T1" fmla="*/ 63 h 63"/>
                <a:gd name="T2" fmla="*/ 62 w 62"/>
                <a:gd name="T3" fmla="*/ 52 h 63"/>
                <a:gd name="T4" fmla="*/ 11 w 62"/>
                <a:gd name="T5" fmla="*/ 0 h 63"/>
                <a:gd name="T6" fmla="*/ 0 w 62"/>
                <a:gd name="T7" fmla="*/ 26 h 63"/>
                <a:gd name="T8" fmla="*/ 37 w 62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63">
                  <a:moveTo>
                    <a:pt x="37" y="63"/>
                  </a:moveTo>
                  <a:cubicBezTo>
                    <a:pt x="47" y="63"/>
                    <a:pt x="56" y="59"/>
                    <a:pt x="62" y="5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6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0" name="Freeform 106"/>
            <p:cNvSpPr>
              <a:spLocks/>
            </p:cNvSpPr>
            <p:nvPr/>
          </p:nvSpPr>
          <p:spPr bwMode="gray">
            <a:xfrm>
              <a:off x="11085812" y="5412108"/>
              <a:ext cx="87313" cy="87312"/>
            </a:xfrm>
            <a:custGeom>
              <a:avLst/>
              <a:gdLst>
                <a:gd name="T0" fmla="*/ 37 w 63"/>
                <a:gd name="T1" fmla="*/ 63 h 63"/>
                <a:gd name="T2" fmla="*/ 63 w 63"/>
                <a:gd name="T3" fmla="*/ 52 h 63"/>
                <a:gd name="T4" fmla="*/ 11 w 63"/>
                <a:gd name="T5" fmla="*/ 0 h 63"/>
                <a:gd name="T6" fmla="*/ 0 w 63"/>
                <a:gd name="T7" fmla="*/ 26 h 63"/>
                <a:gd name="T8" fmla="*/ 37 w 63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63">
                  <a:moveTo>
                    <a:pt x="37" y="63"/>
                  </a:moveTo>
                  <a:cubicBezTo>
                    <a:pt x="47" y="63"/>
                    <a:pt x="56" y="59"/>
                    <a:pt x="63" y="5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7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4550102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Freeform: Shape 103"/>
          <p:cNvSpPr>
            <a:spLocks/>
          </p:cNvSpPr>
          <p:nvPr userDrawn="1"/>
        </p:nvSpPr>
        <p:spPr bwMode="gray">
          <a:xfrm>
            <a:off x="352" y="4251226"/>
            <a:ext cx="12436123" cy="2743300"/>
          </a:xfrm>
          <a:custGeom>
            <a:avLst/>
            <a:gdLst>
              <a:gd name="connsiteX0" fmla="*/ 5679089 w 12449404"/>
              <a:gd name="connsiteY0" fmla="*/ 0 h 2048448"/>
              <a:gd name="connsiteX1" fmla="*/ 6408130 w 12449404"/>
              <a:gd name="connsiteY1" fmla="*/ 0 h 2048448"/>
              <a:gd name="connsiteX2" fmla="*/ 6408130 w 12449404"/>
              <a:gd name="connsiteY2" fmla="*/ 578198 h 2048448"/>
              <a:gd name="connsiteX3" fmla="*/ 6867090 w 12449404"/>
              <a:gd name="connsiteY3" fmla="*/ 606386 h 2048448"/>
              <a:gd name="connsiteX4" fmla="*/ 7118635 w 12449404"/>
              <a:gd name="connsiteY4" fmla="*/ 606386 h 2048448"/>
              <a:gd name="connsiteX5" fmla="*/ 7118635 w 12449404"/>
              <a:gd name="connsiteY5" fmla="*/ 483901 h 2048448"/>
              <a:gd name="connsiteX6" fmla="*/ 7128240 w 12449404"/>
              <a:gd name="connsiteY6" fmla="*/ 483901 h 2048448"/>
              <a:gd name="connsiteX7" fmla="*/ 7128240 w 12449404"/>
              <a:gd name="connsiteY7" fmla="*/ 225552 h 2048448"/>
              <a:gd name="connsiteX8" fmla="*/ 7501176 w 12449404"/>
              <a:gd name="connsiteY8" fmla="*/ 225552 h 2048448"/>
              <a:gd name="connsiteX9" fmla="*/ 7501176 w 12449404"/>
              <a:gd name="connsiteY9" fmla="*/ 339268 h 2048448"/>
              <a:gd name="connsiteX10" fmla="*/ 7539643 w 12449404"/>
              <a:gd name="connsiteY10" fmla="*/ 339268 h 2048448"/>
              <a:gd name="connsiteX11" fmla="*/ 7539643 w 12449404"/>
              <a:gd name="connsiteY11" fmla="*/ 483901 h 2048448"/>
              <a:gd name="connsiteX12" fmla="*/ 7646440 w 12449404"/>
              <a:gd name="connsiteY12" fmla="*/ 483901 h 2048448"/>
              <a:gd name="connsiteX13" fmla="*/ 7646440 w 12449404"/>
              <a:gd name="connsiteY13" fmla="*/ 643969 h 2048448"/>
              <a:gd name="connsiteX14" fmla="*/ 8043905 w 12449404"/>
              <a:gd name="connsiteY14" fmla="*/ 643969 h 2048448"/>
              <a:gd name="connsiteX15" fmla="*/ 8043905 w 12449404"/>
              <a:gd name="connsiteY15" fmla="*/ 744644 h 2048448"/>
              <a:gd name="connsiteX16" fmla="*/ 8497281 w 12449404"/>
              <a:gd name="connsiteY16" fmla="*/ 744644 h 2048448"/>
              <a:gd name="connsiteX17" fmla="*/ 8497281 w 12449404"/>
              <a:gd name="connsiteY17" fmla="*/ 777377 h 2048448"/>
              <a:gd name="connsiteX18" fmla="*/ 8516897 w 12449404"/>
              <a:gd name="connsiteY18" fmla="*/ 777377 h 2048448"/>
              <a:gd name="connsiteX19" fmla="*/ 8516897 w 12449404"/>
              <a:gd name="connsiteY19" fmla="*/ 965361 h 2048448"/>
              <a:gd name="connsiteX20" fmla="*/ 8865577 w 12449404"/>
              <a:gd name="connsiteY20" fmla="*/ 965361 h 2048448"/>
              <a:gd name="connsiteX21" fmla="*/ 8865577 w 12449404"/>
              <a:gd name="connsiteY21" fmla="*/ 525721 h 2048448"/>
              <a:gd name="connsiteX22" fmla="*/ 8968665 w 12449404"/>
              <a:gd name="connsiteY22" fmla="*/ 525721 h 2048448"/>
              <a:gd name="connsiteX23" fmla="*/ 8968665 w 12449404"/>
              <a:gd name="connsiteY23" fmla="*/ 386248 h 2048448"/>
              <a:gd name="connsiteX24" fmla="*/ 9271866 w 12449404"/>
              <a:gd name="connsiteY24" fmla="*/ 386248 h 2048448"/>
              <a:gd name="connsiteX25" fmla="*/ 9271866 w 12449404"/>
              <a:gd name="connsiteY25" fmla="*/ 525721 h 2048448"/>
              <a:gd name="connsiteX26" fmla="*/ 9368890 w 12449404"/>
              <a:gd name="connsiteY26" fmla="*/ 525721 h 2048448"/>
              <a:gd name="connsiteX27" fmla="*/ 9368890 w 12449404"/>
              <a:gd name="connsiteY27" fmla="*/ 58792 h 2048448"/>
              <a:gd name="connsiteX28" fmla="*/ 10072314 w 12449404"/>
              <a:gd name="connsiteY28" fmla="*/ 58792 h 2048448"/>
              <a:gd name="connsiteX29" fmla="*/ 10072314 w 12449404"/>
              <a:gd name="connsiteY29" fmla="*/ 616681 h 2048448"/>
              <a:gd name="connsiteX30" fmla="*/ 10514986 w 12449404"/>
              <a:gd name="connsiteY30" fmla="*/ 255872 h 2048448"/>
              <a:gd name="connsiteX31" fmla="*/ 10514986 w 12449404"/>
              <a:gd name="connsiteY31" fmla="*/ 643969 h 2048448"/>
              <a:gd name="connsiteX32" fmla="*/ 10757546 w 12449404"/>
              <a:gd name="connsiteY32" fmla="*/ 643969 h 2048448"/>
              <a:gd name="connsiteX33" fmla="*/ 10757546 w 12449404"/>
              <a:gd name="connsiteY33" fmla="*/ 525721 h 2048448"/>
              <a:gd name="connsiteX34" fmla="*/ 10860634 w 12449404"/>
              <a:gd name="connsiteY34" fmla="*/ 525721 h 2048448"/>
              <a:gd name="connsiteX35" fmla="*/ 10860634 w 12449404"/>
              <a:gd name="connsiteY35" fmla="*/ 386248 h 2048448"/>
              <a:gd name="connsiteX36" fmla="*/ 11163835 w 12449404"/>
              <a:gd name="connsiteY36" fmla="*/ 386248 h 2048448"/>
              <a:gd name="connsiteX37" fmla="*/ 11163835 w 12449404"/>
              <a:gd name="connsiteY37" fmla="*/ 525721 h 2048448"/>
              <a:gd name="connsiteX38" fmla="*/ 11266923 w 12449404"/>
              <a:gd name="connsiteY38" fmla="*/ 525721 h 2048448"/>
              <a:gd name="connsiteX39" fmla="*/ 11266923 w 12449404"/>
              <a:gd name="connsiteY39" fmla="*/ 965361 h 2048448"/>
              <a:gd name="connsiteX40" fmla="*/ 11612572 w 12449404"/>
              <a:gd name="connsiteY40" fmla="*/ 965361 h 2048448"/>
              <a:gd name="connsiteX41" fmla="*/ 11612572 w 12449404"/>
              <a:gd name="connsiteY41" fmla="*/ 777377 h 2048448"/>
              <a:gd name="connsiteX42" fmla="*/ 12088596 w 12449404"/>
              <a:gd name="connsiteY42" fmla="*/ 777377 h 2048448"/>
              <a:gd name="connsiteX43" fmla="*/ 12088596 w 12449404"/>
              <a:gd name="connsiteY43" fmla="*/ 1374681 h 2048448"/>
              <a:gd name="connsiteX44" fmla="*/ 12449404 w 12449404"/>
              <a:gd name="connsiteY44" fmla="*/ 1374681 h 2048448"/>
              <a:gd name="connsiteX45" fmla="*/ 12449404 w 12449404"/>
              <a:gd name="connsiteY45" fmla="*/ 1677881 h 2048448"/>
              <a:gd name="connsiteX46" fmla="*/ 12436715 w 12449404"/>
              <a:gd name="connsiteY46" fmla="*/ 1677881 h 2048448"/>
              <a:gd name="connsiteX47" fmla="*/ 12436715 w 12449404"/>
              <a:gd name="connsiteY47" fmla="*/ 2048448 h 2048448"/>
              <a:gd name="connsiteX48" fmla="*/ 0 w 12449404"/>
              <a:gd name="connsiteY48" fmla="*/ 2048448 h 2048448"/>
              <a:gd name="connsiteX49" fmla="*/ 0 w 12449404"/>
              <a:gd name="connsiteY49" fmla="*/ 1406374 h 2048448"/>
              <a:gd name="connsiteX50" fmla="*/ 45352 w 12449404"/>
              <a:gd name="connsiteY50" fmla="*/ 1406374 h 2048448"/>
              <a:gd name="connsiteX51" fmla="*/ 45352 w 12449404"/>
              <a:gd name="connsiteY51" fmla="*/ 1140624 h 2048448"/>
              <a:gd name="connsiteX52" fmla="*/ 657888 w 12449404"/>
              <a:gd name="connsiteY52" fmla="*/ 1140624 h 2048448"/>
              <a:gd name="connsiteX53" fmla="*/ 657888 w 12449404"/>
              <a:gd name="connsiteY53" fmla="*/ 879713 h 2048448"/>
              <a:gd name="connsiteX54" fmla="*/ 1116848 w 12449404"/>
              <a:gd name="connsiteY54" fmla="*/ 879713 h 2048448"/>
              <a:gd name="connsiteX55" fmla="*/ 1116848 w 12449404"/>
              <a:gd name="connsiteY55" fmla="*/ 1197168 h 2048448"/>
              <a:gd name="connsiteX56" fmla="*/ 1597874 w 12449404"/>
              <a:gd name="connsiteY56" fmla="*/ 1197168 h 2048448"/>
              <a:gd name="connsiteX57" fmla="*/ 1597874 w 12449404"/>
              <a:gd name="connsiteY57" fmla="*/ 807564 h 2048448"/>
              <a:gd name="connsiteX58" fmla="*/ 1701140 w 12449404"/>
              <a:gd name="connsiteY58" fmla="*/ 807564 h 2048448"/>
              <a:gd name="connsiteX59" fmla="*/ 1701140 w 12449404"/>
              <a:gd name="connsiteY59" fmla="*/ 662931 h 2048448"/>
              <a:gd name="connsiteX60" fmla="*/ 2018881 w 12449404"/>
              <a:gd name="connsiteY60" fmla="*/ 662931 h 2048448"/>
              <a:gd name="connsiteX61" fmla="*/ 2018881 w 12449404"/>
              <a:gd name="connsiteY61" fmla="*/ 807564 h 2048448"/>
              <a:gd name="connsiteX62" fmla="*/ 2122148 w 12449404"/>
              <a:gd name="connsiteY62" fmla="*/ 807564 h 2048448"/>
              <a:gd name="connsiteX63" fmla="*/ 2122148 w 12449404"/>
              <a:gd name="connsiteY63" fmla="*/ 939446 h 2048448"/>
              <a:gd name="connsiteX64" fmla="*/ 2484020 w 12449404"/>
              <a:gd name="connsiteY64" fmla="*/ 939446 h 2048448"/>
              <a:gd name="connsiteX65" fmla="*/ 2484020 w 12449404"/>
              <a:gd name="connsiteY65" fmla="*/ 744644 h 2048448"/>
              <a:gd name="connsiteX66" fmla="*/ 2549333 w 12449404"/>
              <a:gd name="connsiteY66" fmla="*/ 744644 h 2048448"/>
              <a:gd name="connsiteX67" fmla="*/ 2976519 w 12449404"/>
              <a:gd name="connsiteY67" fmla="*/ 744644 h 2048448"/>
              <a:gd name="connsiteX68" fmla="*/ 3008294 w 12449404"/>
              <a:gd name="connsiteY68" fmla="*/ 744644 h 2048448"/>
              <a:gd name="connsiteX69" fmla="*/ 3008294 w 12449404"/>
              <a:gd name="connsiteY69" fmla="*/ 879713 h 2048448"/>
              <a:gd name="connsiteX70" fmla="*/ 3356927 w 12449404"/>
              <a:gd name="connsiteY70" fmla="*/ 879713 h 2048448"/>
              <a:gd name="connsiteX71" fmla="*/ 3356927 w 12449404"/>
              <a:gd name="connsiteY71" fmla="*/ 172822 h 2048448"/>
              <a:gd name="connsiteX72" fmla="*/ 3743513 w 12449404"/>
              <a:gd name="connsiteY72" fmla="*/ 172822 h 2048448"/>
              <a:gd name="connsiteX73" fmla="*/ 3743513 w 12449404"/>
              <a:gd name="connsiteY73" fmla="*/ 606386 h 2048448"/>
              <a:gd name="connsiteX74" fmla="*/ 4305739 w 12449404"/>
              <a:gd name="connsiteY74" fmla="*/ 606386 h 2048448"/>
              <a:gd name="connsiteX75" fmla="*/ 4305739 w 12449404"/>
              <a:gd name="connsiteY75" fmla="*/ 744644 h 2048448"/>
              <a:gd name="connsiteX76" fmla="*/ 4796473 w 12449404"/>
              <a:gd name="connsiteY76" fmla="*/ 744644 h 2048448"/>
              <a:gd name="connsiteX77" fmla="*/ 4796473 w 12449404"/>
              <a:gd name="connsiteY77" fmla="*/ 907753 h 2048448"/>
              <a:gd name="connsiteX78" fmla="*/ 4966423 w 12449404"/>
              <a:gd name="connsiteY78" fmla="*/ 907753 h 2048448"/>
              <a:gd name="connsiteX79" fmla="*/ 4966423 w 12449404"/>
              <a:gd name="connsiteY79" fmla="*/ 939446 h 2048448"/>
              <a:gd name="connsiteX80" fmla="*/ 5157463 w 12449404"/>
              <a:gd name="connsiteY80" fmla="*/ 939446 h 2048448"/>
              <a:gd name="connsiteX81" fmla="*/ 5157463 w 12449404"/>
              <a:gd name="connsiteY81" fmla="*/ 483901 h 2048448"/>
              <a:gd name="connsiteX82" fmla="*/ 5264259 w 12449404"/>
              <a:gd name="connsiteY82" fmla="*/ 483901 h 2048448"/>
              <a:gd name="connsiteX83" fmla="*/ 5264259 w 12449404"/>
              <a:gd name="connsiteY83" fmla="*/ 339268 h 2048448"/>
              <a:gd name="connsiteX84" fmla="*/ 5578471 w 12449404"/>
              <a:gd name="connsiteY84" fmla="*/ 339268 h 2048448"/>
              <a:gd name="connsiteX85" fmla="*/ 5578471 w 12449404"/>
              <a:gd name="connsiteY85" fmla="*/ 483901 h 2048448"/>
              <a:gd name="connsiteX86" fmla="*/ 5679089 w 12449404"/>
              <a:gd name="connsiteY86" fmla="*/ 483901 h 2048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</a:cxnLst>
            <a:rect l="l" t="t" r="r" b="b"/>
            <a:pathLst>
              <a:path w="12449404" h="2048448">
                <a:moveTo>
                  <a:pt x="5679089" y="0"/>
                </a:moveTo>
                <a:lnTo>
                  <a:pt x="6408130" y="0"/>
                </a:lnTo>
                <a:lnTo>
                  <a:pt x="6408130" y="578198"/>
                </a:lnTo>
                <a:lnTo>
                  <a:pt x="6867090" y="606386"/>
                </a:lnTo>
                <a:lnTo>
                  <a:pt x="7118635" y="606386"/>
                </a:lnTo>
                <a:lnTo>
                  <a:pt x="7118635" y="483901"/>
                </a:lnTo>
                <a:lnTo>
                  <a:pt x="7128240" y="483901"/>
                </a:lnTo>
                <a:lnTo>
                  <a:pt x="7128240" y="225552"/>
                </a:lnTo>
                <a:lnTo>
                  <a:pt x="7501176" y="225552"/>
                </a:lnTo>
                <a:lnTo>
                  <a:pt x="7501176" y="339268"/>
                </a:lnTo>
                <a:lnTo>
                  <a:pt x="7539643" y="339268"/>
                </a:lnTo>
                <a:lnTo>
                  <a:pt x="7539643" y="483901"/>
                </a:lnTo>
                <a:lnTo>
                  <a:pt x="7646440" y="483901"/>
                </a:lnTo>
                <a:lnTo>
                  <a:pt x="7646440" y="643969"/>
                </a:lnTo>
                <a:lnTo>
                  <a:pt x="8043905" y="643969"/>
                </a:lnTo>
                <a:lnTo>
                  <a:pt x="8043905" y="744644"/>
                </a:lnTo>
                <a:lnTo>
                  <a:pt x="8497281" y="744644"/>
                </a:lnTo>
                <a:lnTo>
                  <a:pt x="8497281" y="777377"/>
                </a:lnTo>
                <a:lnTo>
                  <a:pt x="8516897" y="777377"/>
                </a:lnTo>
                <a:lnTo>
                  <a:pt x="8516897" y="965361"/>
                </a:lnTo>
                <a:lnTo>
                  <a:pt x="8865577" y="965361"/>
                </a:lnTo>
                <a:lnTo>
                  <a:pt x="8865577" y="525721"/>
                </a:lnTo>
                <a:lnTo>
                  <a:pt x="8968665" y="525721"/>
                </a:lnTo>
                <a:lnTo>
                  <a:pt x="8968665" y="386248"/>
                </a:lnTo>
                <a:lnTo>
                  <a:pt x="9271866" y="386248"/>
                </a:lnTo>
                <a:lnTo>
                  <a:pt x="9271866" y="525721"/>
                </a:lnTo>
                <a:lnTo>
                  <a:pt x="9368890" y="525721"/>
                </a:lnTo>
                <a:lnTo>
                  <a:pt x="9368890" y="58792"/>
                </a:lnTo>
                <a:lnTo>
                  <a:pt x="10072314" y="58792"/>
                </a:lnTo>
                <a:lnTo>
                  <a:pt x="10072314" y="616681"/>
                </a:lnTo>
                <a:lnTo>
                  <a:pt x="10514986" y="255872"/>
                </a:lnTo>
                <a:lnTo>
                  <a:pt x="10514986" y="643969"/>
                </a:lnTo>
                <a:lnTo>
                  <a:pt x="10757546" y="643969"/>
                </a:lnTo>
                <a:lnTo>
                  <a:pt x="10757546" y="525721"/>
                </a:lnTo>
                <a:lnTo>
                  <a:pt x="10860634" y="525721"/>
                </a:lnTo>
                <a:lnTo>
                  <a:pt x="10860634" y="386248"/>
                </a:lnTo>
                <a:lnTo>
                  <a:pt x="11163835" y="386248"/>
                </a:lnTo>
                <a:lnTo>
                  <a:pt x="11163835" y="525721"/>
                </a:lnTo>
                <a:lnTo>
                  <a:pt x="11266923" y="525721"/>
                </a:lnTo>
                <a:lnTo>
                  <a:pt x="11266923" y="965361"/>
                </a:lnTo>
                <a:lnTo>
                  <a:pt x="11612572" y="965361"/>
                </a:lnTo>
                <a:lnTo>
                  <a:pt x="11612572" y="777377"/>
                </a:lnTo>
                <a:lnTo>
                  <a:pt x="12088596" y="777377"/>
                </a:lnTo>
                <a:lnTo>
                  <a:pt x="12088596" y="1374681"/>
                </a:lnTo>
                <a:lnTo>
                  <a:pt x="12449404" y="1374681"/>
                </a:lnTo>
                <a:lnTo>
                  <a:pt x="12449404" y="1677881"/>
                </a:lnTo>
                <a:lnTo>
                  <a:pt x="12436715" y="1677881"/>
                </a:lnTo>
                <a:lnTo>
                  <a:pt x="12436715" y="2048448"/>
                </a:lnTo>
                <a:lnTo>
                  <a:pt x="0" y="2048448"/>
                </a:lnTo>
                <a:lnTo>
                  <a:pt x="0" y="1406374"/>
                </a:lnTo>
                <a:lnTo>
                  <a:pt x="45352" y="1406374"/>
                </a:lnTo>
                <a:lnTo>
                  <a:pt x="45352" y="1140624"/>
                </a:lnTo>
                <a:lnTo>
                  <a:pt x="657888" y="1140624"/>
                </a:lnTo>
                <a:lnTo>
                  <a:pt x="657888" y="879713"/>
                </a:lnTo>
                <a:lnTo>
                  <a:pt x="1116848" y="879713"/>
                </a:lnTo>
                <a:lnTo>
                  <a:pt x="1116848" y="1197168"/>
                </a:lnTo>
                <a:lnTo>
                  <a:pt x="1597874" y="1197168"/>
                </a:lnTo>
                <a:lnTo>
                  <a:pt x="1597874" y="807564"/>
                </a:lnTo>
                <a:lnTo>
                  <a:pt x="1701140" y="807564"/>
                </a:lnTo>
                <a:lnTo>
                  <a:pt x="1701140" y="662931"/>
                </a:lnTo>
                <a:lnTo>
                  <a:pt x="2018881" y="662931"/>
                </a:lnTo>
                <a:lnTo>
                  <a:pt x="2018881" y="807564"/>
                </a:lnTo>
                <a:lnTo>
                  <a:pt x="2122148" y="807564"/>
                </a:lnTo>
                <a:lnTo>
                  <a:pt x="2122148" y="939446"/>
                </a:lnTo>
                <a:lnTo>
                  <a:pt x="2484020" y="939446"/>
                </a:lnTo>
                <a:lnTo>
                  <a:pt x="2484020" y="744644"/>
                </a:lnTo>
                <a:lnTo>
                  <a:pt x="2549333" y="744644"/>
                </a:lnTo>
                <a:lnTo>
                  <a:pt x="2976519" y="744644"/>
                </a:lnTo>
                <a:lnTo>
                  <a:pt x="3008294" y="744644"/>
                </a:lnTo>
                <a:lnTo>
                  <a:pt x="3008294" y="879713"/>
                </a:lnTo>
                <a:lnTo>
                  <a:pt x="3356927" y="879713"/>
                </a:lnTo>
                <a:lnTo>
                  <a:pt x="3356927" y="172822"/>
                </a:lnTo>
                <a:lnTo>
                  <a:pt x="3743513" y="172822"/>
                </a:lnTo>
                <a:lnTo>
                  <a:pt x="3743513" y="606386"/>
                </a:lnTo>
                <a:lnTo>
                  <a:pt x="4305739" y="606386"/>
                </a:lnTo>
                <a:lnTo>
                  <a:pt x="4305739" y="744644"/>
                </a:lnTo>
                <a:lnTo>
                  <a:pt x="4796473" y="744644"/>
                </a:lnTo>
                <a:lnTo>
                  <a:pt x="4796473" y="907753"/>
                </a:lnTo>
                <a:lnTo>
                  <a:pt x="4966423" y="907753"/>
                </a:lnTo>
                <a:lnTo>
                  <a:pt x="4966423" y="939446"/>
                </a:lnTo>
                <a:lnTo>
                  <a:pt x="5157463" y="939446"/>
                </a:lnTo>
                <a:lnTo>
                  <a:pt x="5157463" y="483901"/>
                </a:lnTo>
                <a:lnTo>
                  <a:pt x="5264259" y="483901"/>
                </a:lnTo>
                <a:lnTo>
                  <a:pt x="5264259" y="339268"/>
                </a:lnTo>
                <a:lnTo>
                  <a:pt x="5578471" y="339268"/>
                </a:lnTo>
                <a:lnTo>
                  <a:pt x="5578471" y="483901"/>
                </a:lnTo>
                <a:lnTo>
                  <a:pt x="5679089" y="483901"/>
                </a:lnTo>
                <a:close/>
              </a:path>
            </a:pathLst>
          </a:custGeom>
          <a:solidFill>
            <a:srgbClr val="409AE1">
              <a:alpha val="4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955786"/>
            <a:ext cx="7315137" cy="1828007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0" name="Picture 13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  <p:grpSp>
        <p:nvGrpSpPr>
          <p:cNvPr id="141" name="Group 140"/>
          <p:cNvGrpSpPr>
            <a:grpSpLocks noChangeAspect="1"/>
          </p:cNvGrpSpPr>
          <p:nvPr userDrawn="1"/>
        </p:nvGrpSpPr>
        <p:grpSpPr bwMode="gray">
          <a:xfrm>
            <a:off x="7462446" y="3200401"/>
            <a:ext cx="4577461" cy="3539940"/>
            <a:chOff x="8496600" y="3495586"/>
            <a:chExt cx="3009906" cy="2327684"/>
          </a:xfrm>
        </p:grpSpPr>
        <p:sp>
          <p:nvSpPr>
            <p:cNvPr id="142" name="Freeform 9"/>
            <p:cNvSpPr>
              <a:spLocks/>
            </p:cNvSpPr>
            <p:nvPr/>
          </p:nvSpPr>
          <p:spPr bwMode="gray">
            <a:xfrm>
              <a:off x="8496600" y="5501008"/>
              <a:ext cx="646113" cy="82550"/>
            </a:xfrm>
            <a:custGeom>
              <a:avLst/>
              <a:gdLst>
                <a:gd name="T0" fmla="*/ 437 w 467"/>
                <a:gd name="T1" fmla="*/ 60 h 60"/>
                <a:gd name="T2" fmla="*/ 30 w 467"/>
                <a:gd name="T3" fmla="*/ 60 h 60"/>
                <a:gd name="T4" fmla="*/ 0 w 467"/>
                <a:gd name="T5" fmla="*/ 30 h 60"/>
                <a:gd name="T6" fmla="*/ 30 w 467"/>
                <a:gd name="T7" fmla="*/ 0 h 60"/>
                <a:gd name="T8" fmla="*/ 437 w 467"/>
                <a:gd name="T9" fmla="*/ 0 h 60"/>
                <a:gd name="T10" fmla="*/ 467 w 467"/>
                <a:gd name="T11" fmla="*/ 30 h 60"/>
                <a:gd name="T12" fmla="*/ 437 w 467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7" h="60">
                  <a:moveTo>
                    <a:pt x="437" y="60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13" y="60"/>
                    <a:pt x="0" y="46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37" y="0"/>
                    <a:pt x="437" y="0"/>
                    <a:pt x="437" y="0"/>
                  </a:cubicBezTo>
                  <a:cubicBezTo>
                    <a:pt x="453" y="0"/>
                    <a:pt x="467" y="13"/>
                    <a:pt x="467" y="30"/>
                  </a:cubicBezTo>
                  <a:cubicBezTo>
                    <a:pt x="467" y="46"/>
                    <a:pt x="453" y="60"/>
                    <a:pt x="437" y="6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10"/>
            <p:cNvSpPr>
              <a:spLocks/>
            </p:cNvSpPr>
            <p:nvPr/>
          </p:nvSpPr>
          <p:spPr bwMode="gray">
            <a:xfrm>
              <a:off x="10804831" y="3495586"/>
              <a:ext cx="701675" cy="371475"/>
            </a:xfrm>
            <a:custGeom>
              <a:avLst/>
              <a:gdLst>
                <a:gd name="T0" fmla="*/ 440 w 507"/>
                <a:gd name="T1" fmla="*/ 127 h 271"/>
                <a:gd name="T2" fmla="*/ 306 w 507"/>
                <a:gd name="T3" fmla="*/ 0 h 271"/>
                <a:gd name="T4" fmla="*/ 174 w 507"/>
                <a:gd name="T5" fmla="*/ 106 h 271"/>
                <a:gd name="T6" fmla="*/ 99 w 507"/>
                <a:gd name="T7" fmla="*/ 72 h 271"/>
                <a:gd name="T8" fmla="*/ 0 w 507"/>
                <a:gd name="T9" fmla="*/ 171 h 271"/>
                <a:gd name="T10" fmla="*/ 99 w 507"/>
                <a:gd name="T11" fmla="*/ 271 h 271"/>
                <a:gd name="T12" fmla="*/ 435 w 507"/>
                <a:gd name="T13" fmla="*/ 271 h 271"/>
                <a:gd name="T14" fmla="*/ 507 w 507"/>
                <a:gd name="T15" fmla="*/ 199 h 271"/>
                <a:gd name="T16" fmla="*/ 440 w 507"/>
                <a:gd name="T17" fmla="*/ 127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7" h="271">
                  <a:moveTo>
                    <a:pt x="440" y="127"/>
                  </a:moveTo>
                  <a:cubicBezTo>
                    <a:pt x="436" y="56"/>
                    <a:pt x="378" y="0"/>
                    <a:pt x="306" y="0"/>
                  </a:cubicBezTo>
                  <a:cubicBezTo>
                    <a:pt x="241" y="0"/>
                    <a:pt x="187" y="46"/>
                    <a:pt x="174" y="106"/>
                  </a:cubicBezTo>
                  <a:cubicBezTo>
                    <a:pt x="156" y="85"/>
                    <a:pt x="129" y="72"/>
                    <a:pt x="99" y="72"/>
                  </a:cubicBezTo>
                  <a:cubicBezTo>
                    <a:pt x="44" y="72"/>
                    <a:pt x="0" y="116"/>
                    <a:pt x="0" y="171"/>
                  </a:cubicBezTo>
                  <a:cubicBezTo>
                    <a:pt x="0" y="226"/>
                    <a:pt x="44" y="271"/>
                    <a:pt x="99" y="271"/>
                  </a:cubicBezTo>
                  <a:cubicBezTo>
                    <a:pt x="99" y="271"/>
                    <a:pt x="434" y="271"/>
                    <a:pt x="435" y="271"/>
                  </a:cubicBezTo>
                  <a:cubicBezTo>
                    <a:pt x="475" y="271"/>
                    <a:pt x="507" y="238"/>
                    <a:pt x="507" y="199"/>
                  </a:cubicBezTo>
                  <a:cubicBezTo>
                    <a:pt x="507" y="161"/>
                    <a:pt x="478" y="130"/>
                    <a:pt x="440" y="1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11"/>
            <p:cNvSpPr>
              <a:spLocks/>
            </p:cNvSpPr>
            <p:nvPr/>
          </p:nvSpPr>
          <p:spPr bwMode="gray">
            <a:xfrm>
              <a:off x="10001550" y="5497833"/>
              <a:ext cx="1504950" cy="82550"/>
            </a:xfrm>
            <a:custGeom>
              <a:avLst/>
              <a:gdLst>
                <a:gd name="T0" fmla="*/ 1059 w 1089"/>
                <a:gd name="T1" fmla="*/ 60 h 60"/>
                <a:gd name="T2" fmla="*/ 30 w 1089"/>
                <a:gd name="T3" fmla="*/ 60 h 60"/>
                <a:gd name="T4" fmla="*/ 0 w 1089"/>
                <a:gd name="T5" fmla="*/ 30 h 60"/>
                <a:gd name="T6" fmla="*/ 30 w 1089"/>
                <a:gd name="T7" fmla="*/ 0 h 60"/>
                <a:gd name="T8" fmla="*/ 1059 w 1089"/>
                <a:gd name="T9" fmla="*/ 0 h 60"/>
                <a:gd name="T10" fmla="*/ 1089 w 1089"/>
                <a:gd name="T11" fmla="*/ 30 h 60"/>
                <a:gd name="T12" fmla="*/ 1059 w 1089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9" h="60">
                  <a:moveTo>
                    <a:pt x="1059" y="60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14" y="60"/>
                    <a:pt x="0" y="46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1059" y="0"/>
                    <a:pt x="1059" y="0"/>
                    <a:pt x="1059" y="0"/>
                  </a:cubicBezTo>
                  <a:cubicBezTo>
                    <a:pt x="1076" y="0"/>
                    <a:pt x="1089" y="13"/>
                    <a:pt x="1089" y="30"/>
                  </a:cubicBezTo>
                  <a:cubicBezTo>
                    <a:pt x="1089" y="46"/>
                    <a:pt x="1076" y="60"/>
                    <a:pt x="1059" y="6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12"/>
            <p:cNvSpPr>
              <a:spLocks/>
            </p:cNvSpPr>
            <p:nvPr/>
          </p:nvSpPr>
          <p:spPr bwMode="gray">
            <a:xfrm>
              <a:off x="9110962" y="5713733"/>
              <a:ext cx="1012825" cy="109537"/>
            </a:xfrm>
            <a:custGeom>
              <a:avLst/>
              <a:gdLst>
                <a:gd name="T0" fmla="*/ 692 w 732"/>
                <a:gd name="T1" fmla="*/ 80 h 80"/>
                <a:gd name="T2" fmla="*/ 40 w 732"/>
                <a:gd name="T3" fmla="*/ 80 h 80"/>
                <a:gd name="T4" fmla="*/ 0 w 732"/>
                <a:gd name="T5" fmla="*/ 40 h 80"/>
                <a:gd name="T6" fmla="*/ 40 w 732"/>
                <a:gd name="T7" fmla="*/ 0 h 80"/>
                <a:gd name="T8" fmla="*/ 692 w 732"/>
                <a:gd name="T9" fmla="*/ 0 h 80"/>
                <a:gd name="T10" fmla="*/ 732 w 732"/>
                <a:gd name="T11" fmla="*/ 40 h 80"/>
                <a:gd name="T12" fmla="*/ 692 w 732"/>
                <a:gd name="T13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2" h="80">
                  <a:moveTo>
                    <a:pt x="692" y="80"/>
                  </a:moveTo>
                  <a:cubicBezTo>
                    <a:pt x="40" y="80"/>
                    <a:pt x="40" y="80"/>
                    <a:pt x="40" y="80"/>
                  </a:cubicBezTo>
                  <a:cubicBezTo>
                    <a:pt x="18" y="80"/>
                    <a:pt x="0" y="62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692" y="0"/>
                    <a:pt x="692" y="0"/>
                    <a:pt x="692" y="0"/>
                  </a:cubicBezTo>
                  <a:cubicBezTo>
                    <a:pt x="714" y="0"/>
                    <a:pt x="732" y="18"/>
                    <a:pt x="732" y="40"/>
                  </a:cubicBezTo>
                  <a:cubicBezTo>
                    <a:pt x="732" y="62"/>
                    <a:pt x="714" y="80"/>
                    <a:pt x="692" y="8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13"/>
            <p:cNvSpPr>
              <a:spLocks/>
            </p:cNvSpPr>
            <p:nvPr/>
          </p:nvSpPr>
          <p:spPr bwMode="gray">
            <a:xfrm>
              <a:off x="8910937" y="4935858"/>
              <a:ext cx="33338" cy="77787"/>
            </a:xfrm>
            <a:custGeom>
              <a:avLst/>
              <a:gdLst>
                <a:gd name="T0" fmla="*/ 0 w 21"/>
                <a:gd name="T1" fmla="*/ 0 h 49"/>
                <a:gd name="T2" fmla="*/ 1 w 21"/>
                <a:gd name="T3" fmla="*/ 10 h 49"/>
                <a:gd name="T4" fmla="*/ 0 w 21"/>
                <a:gd name="T5" fmla="*/ 49 h 49"/>
                <a:gd name="T6" fmla="*/ 12 w 21"/>
                <a:gd name="T7" fmla="*/ 49 h 49"/>
                <a:gd name="T8" fmla="*/ 21 w 21"/>
                <a:gd name="T9" fmla="*/ 11 h 49"/>
                <a:gd name="T10" fmla="*/ 21 w 21"/>
                <a:gd name="T11" fmla="*/ 0 h 49"/>
                <a:gd name="T12" fmla="*/ 0 w 21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49">
                  <a:moveTo>
                    <a:pt x="0" y="0"/>
                  </a:moveTo>
                  <a:lnTo>
                    <a:pt x="1" y="10"/>
                  </a:lnTo>
                  <a:lnTo>
                    <a:pt x="0" y="49"/>
                  </a:lnTo>
                  <a:lnTo>
                    <a:pt x="12" y="49"/>
                  </a:lnTo>
                  <a:lnTo>
                    <a:pt x="21" y="11"/>
                  </a:lnTo>
                  <a:lnTo>
                    <a:pt x="2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14"/>
            <p:cNvSpPr>
              <a:spLocks/>
            </p:cNvSpPr>
            <p:nvPr/>
          </p:nvSpPr>
          <p:spPr bwMode="gray">
            <a:xfrm>
              <a:off x="8929987" y="4935858"/>
              <a:ext cx="14288" cy="77787"/>
            </a:xfrm>
            <a:custGeom>
              <a:avLst/>
              <a:gdLst>
                <a:gd name="T0" fmla="*/ 5 w 9"/>
                <a:gd name="T1" fmla="*/ 0 h 49"/>
                <a:gd name="T2" fmla="*/ 5 w 9"/>
                <a:gd name="T3" fmla="*/ 11 h 49"/>
                <a:gd name="T4" fmla="*/ 0 w 9"/>
                <a:gd name="T5" fmla="*/ 49 h 49"/>
                <a:gd name="T6" fmla="*/ 9 w 9"/>
                <a:gd name="T7" fmla="*/ 11 h 49"/>
                <a:gd name="T8" fmla="*/ 9 w 9"/>
                <a:gd name="T9" fmla="*/ 0 h 49"/>
                <a:gd name="T10" fmla="*/ 5 w 9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49">
                  <a:moveTo>
                    <a:pt x="5" y="0"/>
                  </a:moveTo>
                  <a:lnTo>
                    <a:pt x="5" y="11"/>
                  </a:lnTo>
                  <a:lnTo>
                    <a:pt x="0" y="49"/>
                  </a:lnTo>
                  <a:lnTo>
                    <a:pt x="9" y="11"/>
                  </a:lnTo>
                  <a:lnTo>
                    <a:pt x="9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99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15"/>
            <p:cNvSpPr>
              <a:spLocks/>
            </p:cNvSpPr>
            <p:nvPr/>
          </p:nvSpPr>
          <p:spPr bwMode="gray">
            <a:xfrm>
              <a:off x="8910937" y="4935858"/>
              <a:ext cx="6350" cy="77787"/>
            </a:xfrm>
            <a:custGeom>
              <a:avLst/>
              <a:gdLst>
                <a:gd name="T0" fmla="*/ 0 w 4"/>
                <a:gd name="T1" fmla="*/ 0 h 49"/>
                <a:gd name="T2" fmla="*/ 1 w 4"/>
                <a:gd name="T3" fmla="*/ 10 h 49"/>
                <a:gd name="T4" fmla="*/ 0 w 4"/>
                <a:gd name="T5" fmla="*/ 49 h 49"/>
                <a:gd name="T6" fmla="*/ 4 w 4"/>
                <a:gd name="T7" fmla="*/ 10 h 49"/>
                <a:gd name="T8" fmla="*/ 4 w 4"/>
                <a:gd name="T9" fmla="*/ 0 h 49"/>
                <a:gd name="T10" fmla="*/ 0 w 4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9">
                  <a:moveTo>
                    <a:pt x="0" y="0"/>
                  </a:moveTo>
                  <a:lnTo>
                    <a:pt x="1" y="10"/>
                  </a:lnTo>
                  <a:lnTo>
                    <a:pt x="0" y="49"/>
                  </a:lnTo>
                  <a:lnTo>
                    <a:pt x="4" y="1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16"/>
            <p:cNvSpPr>
              <a:spLocks/>
            </p:cNvSpPr>
            <p:nvPr/>
          </p:nvSpPr>
          <p:spPr bwMode="gray">
            <a:xfrm>
              <a:off x="8912525" y="4997770"/>
              <a:ext cx="33338" cy="47625"/>
            </a:xfrm>
            <a:custGeom>
              <a:avLst/>
              <a:gdLst>
                <a:gd name="T0" fmla="*/ 0 w 24"/>
                <a:gd name="T1" fmla="*/ 0 h 34"/>
                <a:gd name="T2" fmla="*/ 0 w 24"/>
                <a:gd name="T3" fmla="*/ 34 h 34"/>
                <a:gd name="T4" fmla="*/ 22 w 24"/>
                <a:gd name="T5" fmla="*/ 34 h 34"/>
                <a:gd name="T6" fmla="*/ 24 w 24"/>
                <a:gd name="T7" fmla="*/ 32 h 34"/>
                <a:gd name="T8" fmla="*/ 24 w 24"/>
                <a:gd name="T9" fmla="*/ 27 h 34"/>
                <a:gd name="T10" fmla="*/ 22 w 24"/>
                <a:gd name="T11" fmla="*/ 24 h 34"/>
                <a:gd name="T12" fmla="*/ 15 w 24"/>
                <a:gd name="T13" fmla="*/ 16 h 34"/>
                <a:gd name="T14" fmla="*/ 15 w 24"/>
                <a:gd name="T15" fmla="*/ 0 h 34"/>
                <a:gd name="T16" fmla="*/ 0 w 24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34">
                  <a:moveTo>
                    <a:pt x="0" y="0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4" y="34"/>
                    <a:pt x="24" y="32"/>
                  </a:cubicBezTo>
                  <a:cubicBezTo>
                    <a:pt x="24" y="30"/>
                    <a:pt x="24" y="27"/>
                    <a:pt x="24" y="27"/>
                  </a:cubicBezTo>
                  <a:cubicBezTo>
                    <a:pt x="24" y="27"/>
                    <a:pt x="24" y="26"/>
                    <a:pt x="22" y="24"/>
                  </a:cubicBezTo>
                  <a:cubicBezTo>
                    <a:pt x="20" y="23"/>
                    <a:pt x="16" y="18"/>
                    <a:pt x="15" y="16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17"/>
            <p:cNvSpPr>
              <a:spLocks/>
            </p:cNvSpPr>
            <p:nvPr/>
          </p:nvSpPr>
          <p:spPr bwMode="gray">
            <a:xfrm>
              <a:off x="8912525" y="5042220"/>
              <a:ext cx="33338" cy="4762"/>
            </a:xfrm>
            <a:custGeom>
              <a:avLst/>
              <a:gdLst>
                <a:gd name="T0" fmla="*/ 24 w 24"/>
                <a:gd name="T1" fmla="*/ 0 h 4"/>
                <a:gd name="T2" fmla="*/ 24 w 24"/>
                <a:gd name="T3" fmla="*/ 2 h 4"/>
                <a:gd name="T4" fmla="*/ 22 w 24"/>
                <a:gd name="T5" fmla="*/ 4 h 4"/>
                <a:gd name="T6" fmla="*/ 0 w 24"/>
                <a:gd name="T7" fmla="*/ 4 h 4"/>
                <a:gd name="T8" fmla="*/ 0 w 24"/>
                <a:gd name="T9" fmla="*/ 2 h 4"/>
                <a:gd name="T10" fmla="*/ 22 w 24"/>
                <a:gd name="T11" fmla="*/ 2 h 4"/>
                <a:gd name="T12" fmla="*/ 24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4" y="0"/>
                  </a:moveTo>
                  <a:cubicBezTo>
                    <a:pt x="24" y="0"/>
                    <a:pt x="24" y="1"/>
                    <a:pt x="24" y="2"/>
                  </a:cubicBezTo>
                  <a:cubicBezTo>
                    <a:pt x="24" y="4"/>
                    <a:pt x="22" y="4"/>
                    <a:pt x="22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2"/>
                    <a:pt x="24" y="2"/>
                    <a:pt x="24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18"/>
            <p:cNvSpPr>
              <a:spLocks/>
            </p:cNvSpPr>
            <p:nvPr/>
          </p:nvSpPr>
          <p:spPr bwMode="gray">
            <a:xfrm>
              <a:off x="8933162" y="5019995"/>
              <a:ext cx="12700" cy="25400"/>
            </a:xfrm>
            <a:custGeom>
              <a:avLst/>
              <a:gdLst>
                <a:gd name="T0" fmla="*/ 7 w 9"/>
                <a:gd name="T1" fmla="*/ 18 h 18"/>
                <a:gd name="T2" fmla="*/ 9 w 9"/>
                <a:gd name="T3" fmla="*/ 16 h 18"/>
                <a:gd name="T4" fmla="*/ 9 w 9"/>
                <a:gd name="T5" fmla="*/ 11 h 18"/>
                <a:gd name="T6" fmla="*/ 7 w 9"/>
                <a:gd name="T7" fmla="*/ 8 h 18"/>
                <a:gd name="T8" fmla="*/ 0 w 9"/>
                <a:gd name="T9" fmla="*/ 0 h 18"/>
                <a:gd name="T10" fmla="*/ 0 w 9"/>
                <a:gd name="T11" fmla="*/ 18 h 18"/>
                <a:gd name="T12" fmla="*/ 7 w 9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8">
                  <a:moveTo>
                    <a:pt x="7" y="18"/>
                  </a:moveTo>
                  <a:cubicBezTo>
                    <a:pt x="7" y="18"/>
                    <a:pt x="9" y="18"/>
                    <a:pt x="9" y="16"/>
                  </a:cubicBezTo>
                  <a:cubicBezTo>
                    <a:pt x="9" y="14"/>
                    <a:pt x="9" y="11"/>
                    <a:pt x="9" y="11"/>
                  </a:cubicBezTo>
                  <a:cubicBezTo>
                    <a:pt x="9" y="11"/>
                    <a:pt x="9" y="10"/>
                    <a:pt x="7" y="8"/>
                  </a:cubicBezTo>
                  <a:cubicBezTo>
                    <a:pt x="5" y="7"/>
                    <a:pt x="1" y="2"/>
                    <a:pt x="0" y="0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7" y="18"/>
                  </a:lnTo>
                  <a:close/>
                </a:path>
              </a:pathLst>
            </a:custGeom>
            <a:solidFill>
              <a:srgbClr val="3131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19"/>
            <p:cNvSpPr>
              <a:spLocks/>
            </p:cNvSpPr>
            <p:nvPr/>
          </p:nvSpPr>
          <p:spPr bwMode="gray">
            <a:xfrm>
              <a:off x="8874425" y="4935858"/>
              <a:ext cx="33338" cy="77787"/>
            </a:xfrm>
            <a:custGeom>
              <a:avLst/>
              <a:gdLst>
                <a:gd name="T0" fmla="*/ 0 w 21"/>
                <a:gd name="T1" fmla="*/ 0 h 49"/>
                <a:gd name="T2" fmla="*/ 0 w 21"/>
                <a:gd name="T3" fmla="*/ 10 h 49"/>
                <a:gd name="T4" fmla="*/ 0 w 21"/>
                <a:gd name="T5" fmla="*/ 49 h 49"/>
                <a:gd name="T6" fmla="*/ 13 w 21"/>
                <a:gd name="T7" fmla="*/ 49 h 49"/>
                <a:gd name="T8" fmla="*/ 21 w 21"/>
                <a:gd name="T9" fmla="*/ 11 h 49"/>
                <a:gd name="T10" fmla="*/ 21 w 21"/>
                <a:gd name="T11" fmla="*/ 0 h 49"/>
                <a:gd name="T12" fmla="*/ 0 w 21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49">
                  <a:moveTo>
                    <a:pt x="0" y="0"/>
                  </a:moveTo>
                  <a:lnTo>
                    <a:pt x="0" y="10"/>
                  </a:lnTo>
                  <a:lnTo>
                    <a:pt x="0" y="49"/>
                  </a:lnTo>
                  <a:lnTo>
                    <a:pt x="13" y="49"/>
                  </a:lnTo>
                  <a:lnTo>
                    <a:pt x="21" y="11"/>
                  </a:lnTo>
                  <a:lnTo>
                    <a:pt x="2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20"/>
            <p:cNvSpPr>
              <a:spLocks/>
            </p:cNvSpPr>
            <p:nvPr/>
          </p:nvSpPr>
          <p:spPr bwMode="gray">
            <a:xfrm>
              <a:off x="8895062" y="4935858"/>
              <a:ext cx="12700" cy="77787"/>
            </a:xfrm>
            <a:custGeom>
              <a:avLst/>
              <a:gdLst>
                <a:gd name="T0" fmla="*/ 4 w 8"/>
                <a:gd name="T1" fmla="*/ 0 h 49"/>
                <a:gd name="T2" fmla="*/ 4 w 8"/>
                <a:gd name="T3" fmla="*/ 11 h 49"/>
                <a:gd name="T4" fmla="*/ 0 w 8"/>
                <a:gd name="T5" fmla="*/ 49 h 49"/>
                <a:gd name="T6" fmla="*/ 8 w 8"/>
                <a:gd name="T7" fmla="*/ 11 h 49"/>
                <a:gd name="T8" fmla="*/ 8 w 8"/>
                <a:gd name="T9" fmla="*/ 0 h 49"/>
                <a:gd name="T10" fmla="*/ 4 w 8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49">
                  <a:moveTo>
                    <a:pt x="4" y="0"/>
                  </a:moveTo>
                  <a:lnTo>
                    <a:pt x="4" y="11"/>
                  </a:lnTo>
                  <a:lnTo>
                    <a:pt x="0" y="49"/>
                  </a:lnTo>
                  <a:lnTo>
                    <a:pt x="8" y="11"/>
                  </a:lnTo>
                  <a:lnTo>
                    <a:pt x="8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99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21"/>
            <p:cNvSpPr>
              <a:spLocks/>
            </p:cNvSpPr>
            <p:nvPr/>
          </p:nvSpPr>
          <p:spPr bwMode="gray">
            <a:xfrm>
              <a:off x="8874425" y="4935858"/>
              <a:ext cx="6350" cy="77787"/>
            </a:xfrm>
            <a:custGeom>
              <a:avLst/>
              <a:gdLst>
                <a:gd name="T0" fmla="*/ 0 w 4"/>
                <a:gd name="T1" fmla="*/ 0 h 49"/>
                <a:gd name="T2" fmla="*/ 0 w 4"/>
                <a:gd name="T3" fmla="*/ 10 h 49"/>
                <a:gd name="T4" fmla="*/ 0 w 4"/>
                <a:gd name="T5" fmla="*/ 49 h 49"/>
                <a:gd name="T6" fmla="*/ 4 w 4"/>
                <a:gd name="T7" fmla="*/ 10 h 49"/>
                <a:gd name="T8" fmla="*/ 4 w 4"/>
                <a:gd name="T9" fmla="*/ 0 h 49"/>
                <a:gd name="T10" fmla="*/ 0 w 4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9">
                  <a:moveTo>
                    <a:pt x="0" y="0"/>
                  </a:moveTo>
                  <a:lnTo>
                    <a:pt x="0" y="10"/>
                  </a:lnTo>
                  <a:lnTo>
                    <a:pt x="0" y="49"/>
                  </a:lnTo>
                  <a:lnTo>
                    <a:pt x="4" y="1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22"/>
            <p:cNvSpPr>
              <a:spLocks/>
            </p:cNvSpPr>
            <p:nvPr/>
          </p:nvSpPr>
          <p:spPr bwMode="gray">
            <a:xfrm>
              <a:off x="8874425" y="4997770"/>
              <a:ext cx="34925" cy="47625"/>
            </a:xfrm>
            <a:custGeom>
              <a:avLst/>
              <a:gdLst>
                <a:gd name="T0" fmla="*/ 0 w 25"/>
                <a:gd name="T1" fmla="*/ 0 h 34"/>
                <a:gd name="T2" fmla="*/ 0 w 25"/>
                <a:gd name="T3" fmla="*/ 34 h 34"/>
                <a:gd name="T4" fmla="*/ 23 w 25"/>
                <a:gd name="T5" fmla="*/ 34 h 34"/>
                <a:gd name="T6" fmla="*/ 24 w 25"/>
                <a:gd name="T7" fmla="*/ 32 h 34"/>
                <a:gd name="T8" fmla="*/ 24 w 25"/>
                <a:gd name="T9" fmla="*/ 27 h 34"/>
                <a:gd name="T10" fmla="*/ 22 w 25"/>
                <a:gd name="T11" fmla="*/ 24 h 34"/>
                <a:gd name="T12" fmla="*/ 16 w 25"/>
                <a:gd name="T13" fmla="*/ 16 h 34"/>
                <a:gd name="T14" fmla="*/ 16 w 25"/>
                <a:gd name="T15" fmla="*/ 0 h 34"/>
                <a:gd name="T16" fmla="*/ 0 w 25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34">
                  <a:moveTo>
                    <a:pt x="0" y="0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23" y="34"/>
                    <a:pt x="24" y="34"/>
                    <a:pt x="24" y="32"/>
                  </a:cubicBezTo>
                  <a:cubicBezTo>
                    <a:pt x="24" y="30"/>
                    <a:pt x="24" y="27"/>
                    <a:pt x="24" y="27"/>
                  </a:cubicBezTo>
                  <a:cubicBezTo>
                    <a:pt x="24" y="27"/>
                    <a:pt x="25" y="26"/>
                    <a:pt x="22" y="24"/>
                  </a:cubicBezTo>
                  <a:cubicBezTo>
                    <a:pt x="20" y="23"/>
                    <a:pt x="16" y="18"/>
                    <a:pt x="16" y="16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23"/>
            <p:cNvSpPr>
              <a:spLocks/>
            </p:cNvSpPr>
            <p:nvPr/>
          </p:nvSpPr>
          <p:spPr bwMode="gray">
            <a:xfrm>
              <a:off x="8874425" y="5042220"/>
              <a:ext cx="33338" cy="4762"/>
            </a:xfrm>
            <a:custGeom>
              <a:avLst/>
              <a:gdLst>
                <a:gd name="T0" fmla="*/ 24 w 24"/>
                <a:gd name="T1" fmla="*/ 0 h 4"/>
                <a:gd name="T2" fmla="*/ 24 w 24"/>
                <a:gd name="T3" fmla="*/ 2 h 4"/>
                <a:gd name="T4" fmla="*/ 23 w 24"/>
                <a:gd name="T5" fmla="*/ 4 h 4"/>
                <a:gd name="T6" fmla="*/ 0 w 24"/>
                <a:gd name="T7" fmla="*/ 4 h 4"/>
                <a:gd name="T8" fmla="*/ 0 w 24"/>
                <a:gd name="T9" fmla="*/ 2 h 4"/>
                <a:gd name="T10" fmla="*/ 23 w 24"/>
                <a:gd name="T11" fmla="*/ 2 h 4"/>
                <a:gd name="T12" fmla="*/ 24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4" y="0"/>
                  </a:moveTo>
                  <a:cubicBezTo>
                    <a:pt x="24" y="0"/>
                    <a:pt x="24" y="1"/>
                    <a:pt x="24" y="2"/>
                  </a:cubicBezTo>
                  <a:cubicBezTo>
                    <a:pt x="24" y="4"/>
                    <a:pt x="23" y="4"/>
                    <a:pt x="23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3" y="2"/>
                    <a:pt x="24" y="2"/>
                    <a:pt x="24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24"/>
            <p:cNvSpPr>
              <a:spLocks/>
            </p:cNvSpPr>
            <p:nvPr/>
          </p:nvSpPr>
          <p:spPr bwMode="gray">
            <a:xfrm>
              <a:off x="8896650" y="5019995"/>
              <a:ext cx="11113" cy="25400"/>
            </a:xfrm>
            <a:custGeom>
              <a:avLst/>
              <a:gdLst>
                <a:gd name="T0" fmla="*/ 0 w 8"/>
                <a:gd name="T1" fmla="*/ 0 h 18"/>
                <a:gd name="T2" fmla="*/ 0 w 8"/>
                <a:gd name="T3" fmla="*/ 18 h 18"/>
                <a:gd name="T4" fmla="*/ 7 w 8"/>
                <a:gd name="T5" fmla="*/ 18 h 18"/>
                <a:gd name="T6" fmla="*/ 8 w 8"/>
                <a:gd name="T7" fmla="*/ 16 h 18"/>
                <a:gd name="T8" fmla="*/ 8 w 8"/>
                <a:gd name="T9" fmla="*/ 11 h 18"/>
                <a:gd name="T10" fmla="*/ 8 w 8"/>
                <a:gd name="T11" fmla="*/ 11 h 18"/>
                <a:gd name="T12" fmla="*/ 8 w 8"/>
                <a:gd name="T13" fmla="*/ 11 h 18"/>
                <a:gd name="T14" fmla="*/ 8 w 8"/>
                <a:gd name="T15" fmla="*/ 11 h 18"/>
                <a:gd name="T16" fmla="*/ 6 w 8"/>
                <a:gd name="T17" fmla="*/ 8 h 18"/>
                <a:gd name="T18" fmla="*/ 0 w 8"/>
                <a:gd name="T1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18">
                  <a:moveTo>
                    <a:pt x="0" y="0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7" y="18"/>
                    <a:pt x="8" y="18"/>
                    <a:pt x="8" y="16"/>
                  </a:cubicBezTo>
                  <a:cubicBezTo>
                    <a:pt x="8" y="14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0"/>
                    <a:pt x="8" y="9"/>
                    <a:pt x="6" y="8"/>
                  </a:cubicBezTo>
                  <a:cubicBezTo>
                    <a:pt x="4" y="7"/>
                    <a:pt x="0" y="2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25"/>
            <p:cNvSpPr>
              <a:spLocks/>
            </p:cNvSpPr>
            <p:nvPr/>
          </p:nvSpPr>
          <p:spPr bwMode="gray">
            <a:xfrm>
              <a:off x="8929987" y="4756470"/>
              <a:ext cx="9525" cy="1587"/>
            </a:xfrm>
            <a:custGeom>
              <a:avLst/>
              <a:gdLst>
                <a:gd name="T0" fmla="*/ 0 w 6"/>
                <a:gd name="T1" fmla="*/ 0 h 1"/>
                <a:gd name="T2" fmla="*/ 6 w 6"/>
                <a:gd name="T3" fmla="*/ 1 h 1"/>
                <a:gd name="T4" fmla="*/ 6 w 6"/>
                <a:gd name="T5" fmla="*/ 1 h 1"/>
                <a:gd name="T6" fmla="*/ 0 w 6"/>
                <a:gd name="T7" fmla="*/ 0 h 1"/>
                <a:gd name="T8" fmla="*/ 0 w 6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">
                  <a:moveTo>
                    <a:pt x="0" y="0"/>
                  </a:moveTo>
                  <a:lnTo>
                    <a:pt x="6" y="1"/>
                  </a:lnTo>
                  <a:lnTo>
                    <a:pt x="6" y="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BD9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26"/>
            <p:cNvSpPr>
              <a:spLocks/>
            </p:cNvSpPr>
            <p:nvPr/>
          </p:nvSpPr>
          <p:spPr bwMode="gray">
            <a:xfrm>
              <a:off x="8917287" y="4731070"/>
              <a:ext cx="0" cy="1587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F6CA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27"/>
            <p:cNvSpPr>
              <a:spLocks/>
            </p:cNvSpPr>
            <p:nvPr/>
          </p:nvSpPr>
          <p:spPr bwMode="gray">
            <a:xfrm>
              <a:off x="8899825" y="4724720"/>
              <a:ext cx="50800" cy="57150"/>
            </a:xfrm>
            <a:custGeom>
              <a:avLst/>
              <a:gdLst>
                <a:gd name="T0" fmla="*/ 33 w 36"/>
                <a:gd name="T1" fmla="*/ 16 h 42"/>
                <a:gd name="T2" fmla="*/ 28 w 36"/>
                <a:gd name="T3" fmla="*/ 7 h 42"/>
                <a:gd name="T4" fmla="*/ 27 w 36"/>
                <a:gd name="T5" fmla="*/ 5 h 42"/>
                <a:gd name="T6" fmla="*/ 27 w 36"/>
                <a:gd name="T7" fmla="*/ 5 h 42"/>
                <a:gd name="T8" fmla="*/ 17 w 36"/>
                <a:gd name="T9" fmla="*/ 4 h 42"/>
                <a:gd name="T10" fmla="*/ 13 w 36"/>
                <a:gd name="T11" fmla="*/ 0 h 42"/>
                <a:gd name="T12" fmla="*/ 13 w 36"/>
                <a:gd name="T13" fmla="*/ 0 h 42"/>
                <a:gd name="T14" fmla="*/ 13 w 36"/>
                <a:gd name="T15" fmla="*/ 5 h 42"/>
                <a:gd name="T16" fmla="*/ 13 w 36"/>
                <a:gd name="T17" fmla="*/ 6 h 42"/>
                <a:gd name="T18" fmla="*/ 13 w 36"/>
                <a:gd name="T19" fmla="*/ 11 h 42"/>
                <a:gd name="T20" fmla="*/ 14 w 36"/>
                <a:gd name="T21" fmla="*/ 14 h 42"/>
                <a:gd name="T22" fmla="*/ 11 w 36"/>
                <a:gd name="T23" fmla="*/ 14 h 42"/>
                <a:gd name="T24" fmla="*/ 6 w 36"/>
                <a:gd name="T25" fmla="*/ 11 h 42"/>
                <a:gd name="T26" fmla="*/ 3 w 36"/>
                <a:gd name="T27" fmla="*/ 12 h 42"/>
                <a:gd name="T28" fmla="*/ 4 w 36"/>
                <a:gd name="T29" fmla="*/ 17 h 42"/>
                <a:gd name="T30" fmla="*/ 5 w 36"/>
                <a:gd name="T31" fmla="*/ 20 h 42"/>
                <a:gd name="T32" fmla="*/ 6 w 36"/>
                <a:gd name="T33" fmla="*/ 22 h 42"/>
                <a:gd name="T34" fmla="*/ 6 w 36"/>
                <a:gd name="T35" fmla="*/ 22 h 42"/>
                <a:gd name="T36" fmla="*/ 6 w 36"/>
                <a:gd name="T37" fmla="*/ 22 h 42"/>
                <a:gd name="T38" fmla="*/ 2 w 36"/>
                <a:gd name="T39" fmla="*/ 31 h 42"/>
                <a:gd name="T40" fmla="*/ 0 w 36"/>
                <a:gd name="T41" fmla="*/ 30 h 42"/>
                <a:gd name="T42" fmla="*/ 2 w 36"/>
                <a:gd name="T43" fmla="*/ 41 h 42"/>
                <a:gd name="T44" fmla="*/ 19 w 36"/>
                <a:gd name="T45" fmla="*/ 42 h 42"/>
                <a:gd name="T46" fmla="*/ 18 w 36"/>
                <a:gd name="T47" fmla="*/ 36 h 42"/>
                <a:gd name="T48" fmla="*/ 23 w 36"/>
                <a:gd name="T49" fmla="*/ 37 h 42"/>
                <a:gd name="T50" fmla="*/ 28 w 36"/>
                <a:gd name="T51" fmla="*/ 34 h 42"/>
                <a:gd name="T52" fmla="*/ 29 w 36"/>
                <a:gd name="T53" fmla="*/ 29 h 42"/>
                <a:gd name="T54" fmla="*/ 29 w 36"/>
                <a:gd name="T55" fmla="*/ 24 h 42"/>
                <a:gd name="T56" fmla="*/ 30 w 36"/>
                <a:gd name="T57" fmla="*/ 20 h 42"/>
                <a:gd name="T58" fmla="*/ 33 w 36"/>
                <a:gd name="T59" fmla="*/ 1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6" h="42">
                  <a:moveTo>
                    <a:pt x="33" y="16"/>
                  </a:moveTo>
                  <a:cubicBezTo>
                    <a:pt x="33" y="16"/>
                    <a:pt x="28" y="8"/>
                    <a:pt x="28" y="7"/>
                  </a:cubicBezTo>
                  <a:cubicBezTo>
                    <a:pt x="27" y="6"/>
                    <a:pt x="27" y="5"/>
                    <a:pt x="27" y="5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3" y="6"/>
                    <a:pt x="20" y="5"/>
                    <a:pt x="17" y="4"/>
                  </a:cubicBezTo>
                  <a:cubicBezTo>
                    <a:pt x="15" y="2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13" y="9"/>
                    <a:pt x="13" y="11"/>
                  </a:cubicBezTo>
                  <a:cubicBezTo>
                    <a:pt x="14" y="12"/>
                    <a:pt x="14" y="14"/>
                    <a:pt x="14" y="14"/>
                  </a:cubicBezTo>
                  <a:cubicBezTo>
                    <a:pt x="14" y="16"/>
                    <a:pt x="11" y="14"/>
                    <a:pt x="11" y="14"/>
                  </a:cubicBezTo>
                  <a:cubicBezTo>
                    <a:pt x="11" y="14"/>
                    <a:pt x="9" y="12"/>
                    <a:pt x="6" y="11"/>
                  </a:cubicBezTo>
                  <a:cubicBezTo>
                    <a:pt x="5" y="11"/>
                    <a:pt x="4" y="11"/>
                    <a:pt x="3" y="12"/>
                  </a:cubicBezTo>
                  <a:cubicBezTo>
                    <a:pt x="3" y="13"/>
                    <a:pt x="3" y="15"/>
                    <a:pt x="4" y="17"/>
                  </a:cubicBezTo>
                  <a:cubicBezTo>
                    <a:pt x="4" y="18"/>
                    <a:pt x="4" y="20"/>
                    <a:pt x="5" y="20"/>
                  </a:cubicBezTo>
                  <a:cubicBezTo>
                    <a:pt x="5" y="21"/>
                    <a:pt x="6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6" y="28"/>
                    <a:pt x="2" y="31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20" y="37"/>
                    <a:pt x="21" y="37"/>
                    <a:pt x="23" y="37"/>
                  </a:cubicBezTo>
                  <a:cubicBezTo>
                    <a:pt x="28" y="37"/>
                    <a:pt x="28" y="34"/>
                    <a:pt x="28" y="34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6" y="19"/>
                    <a:pt x="34" y="17"/>
                    <a:pt x="33" y="16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28"/>
            <p:cNvSpPr>
              <a:spLocks/>
            </p:cNvSpPr>
            <p:nvPr/>
          </p:nvSpPr>
          <p:spPr bwMode="gray">
            <a:xfrm>
              <a:off x="8907762" y="4772345"/>
              <a:ext cx="17463" cy="4762"/>
            </a:xfrm>
            <a:custGeom>
              <a:avLst/>
              <a:gdLst>
                <a:gd name="T0" fmla="*/ 0 w 12"/>
                <a:gd name="T1" fmla="*/ 0 h 3"/>
                <a:gd name="T2" fmla="*/ 12 w 12"/>
                <a:gd name="T3" fmla="*/ 3 h 3"/>
                <a:gd name="T4" fmla="*/ 12 w 12"/>
                <a:gd name="T5" fmla="*/ 1 h 3"/>
                <a:gd name="T6" fmla="*/ 0 w 1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3">
                  <a:moveTo>
                    <a:pt x="0" y="0"/>
                  </a:moveTo>
                  <a:cubicBezTo>
                    <a:pt x="1" y="1"/>
                    <a:pt x="4" y="3"/>
                    <a:pt x="12" y="3"/>
                  </a:cubicBezTo>
                  <a:cubicBezTo>
                    <a:pt x="12" y="2"/>
                    <a:pt x="12" y="2"/>
                    <a:pt x="12" y="1"/>
                  </a:cubicBezTo>
                  <a:cubicBezTo>
                    <a:pt x="8" y="1"/>
                    <a:pt x="4" y="1"/>
                    <a:pt x="0" y="0"/>
                  </a:cubicBezTo>
                  <a:close/>
                </a:path>
              </a:pathLst>
            </a:custGeom>
            <a:solidFill>
              <a:srgbClr val="8054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29"/>
            <p:cNvSpPr>
              <a:spLocks/>
            </p:cNvSpPr>
            <p:nvPr/>
          </p:nvSpPr>
          <p:spPr bwMode="gray">
            <a:xfrm>
              <a:off x="8934750" y="4758058"/>
              <a:ext cx="4763" cy="4762"/>
            </a:xfrm>
            <a:custGeom>
              <a:avLst/>
              <a:gdLst>
                <a:gd name="T0" fmla="*/ 4 w 4"/>
                <a:gd name="T1" fmla="*/ 3 h 4"/>
                <a:gd name="T2" fmla="*/ 2 w 4"/>
                <a:gd name="T3" fmla="*/ 0 h 4"/>
                <a:gd name="T4" fmla="*/ 0 w 4"/>
                <a:gd name="T5" fmla="*/ 0 h 4"/>
                <a:gd name="T6" fmla="*/ 4 w 4"/>
                <a:gd name="T7" fmla="*/ 4 h 4"/>
                <a:gd name="T8" fmla="*/ 4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4" y="3"/>
                  </a:moveTo>
                  <a:cubicBezTo>
                    <a:pt x="3" y="2"/>
                    <a:pt x="2" y="1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2" y="2"/>
                    <a:pt x="4" y="4"/>
                  </a:cubicBezTo>
                  <a:lnTo>
                    <a:pt x="4" y="3"/>
                  </a:lnTo>
                  <a:close/>
                </a:path>
              </a:pathLst>
            </a:custGeom>
            <a:solidFill>
              <a:srgbClr val="8054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30"/>
            <p:cNvSpPr>
              <a:spLocks/>
            </p:cNvSpPr>
            <p:nvPr/>
          </p:nvSpPr>
          <p:spPr bwMode="gray">
            <a:xfrm>
              <a:off x="8937925" y="4758058"/>
              <a:ext cx="1588" cy="3175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0 h 3"/>
                <a:gd name="T4" fmla="*/ 2 w 2"/>
                <a:gd name="T5" fmla="*/ 3 h 3"/>
                <a:gd name="T6" fmla="*/ 2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2"/>
                    <a:pt x="2" y="3"/>
                  </a:cubicBezTo>
                  <a:lnTo>
                    <a:pt x="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31"/>
            <p:cNvSpPr>
              <a:spLocks/>
            </p:cNvSpPr>
            <p:nvPr/>
          </p:nvSpPr>
          <p:spPr bwMode="gray">
            <a:xfrm>
              <a:off x="8934750" y="4739008"/>
              <a:ext cx="4763" cy="3175"/>
            </a:xfrm>
            <a:custGeom>
              <a:avLst/>
              <a:gdLst>
                <a:gd name="T0" fmla="*/ 3 w 3"/>
                <a:gd name="T1" fmla="*/ 1 h 3"/>
                <a:gd name="T2" fmla="*/ 1 w 3"/>
                <a:gd name="T3" fmla="*/ 3 h 3"/>
                <a:gd name="T4" fmla="*/ 0 w 3"/>
                <a:gd name="T5" fmla="*/ 2 h 3"/>
                <a:gd name="T6" fmla="*/ 1 w 3"/>
                <a:gd name="T7" fmla="*/ 0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3" y="2"/>
                    <a:pt x="2" y="3"/>
                    <a:pt x="1" y="3"/>
                  </a:cubicBezTo>
                  <a:cubicBezTo>
                    <a:pt x="1" y="3"/>
                    <a:pt x="0" y="3"/>
                    <a:pt x="0" y="2"/>
                  </a:cubicBezTo>
                  <a:cubicBezTo>
                    <a:pt x="0" y="1"/>
                    <a:pt x="0" y="1"/>
                    <a:pt x="1" y="0"/>
                  </a:cubicBezTo>
                  <a:cubicBezTo>
                    <a:pt x="2" y="0"/>
                    <a:pt x="2" y="1"/>
                    <a:pt x="3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32"/>
            <p:cNvSpPr>
              <a:spLocks/>
            </p:cNvSpPr>
            <p:nvPr/>
          </p:nvSpPr>
          <p:spPr bwMode="gray">
            <a:xfrm>
              <a:off x="8893475" y="4772345"/>
              <a:ext cx="34925" cy="22225"/>
            </a:xfrm>
            <a:custGeom>
              <a:avLst/>
              <a:gdLst>
                <a:gd name="T0" fmla="*/ 0 w 22"/>
                <a:gd name="T1" fmla="*/ 8 h 14"/>
                <a:gd name="T2" fmla="*/ 2 w 22"/>
                <a:gd name="T3" fmla="*/ 0 h 14"/>
                <a:gd name="T4" fmla="*/ 22 w 22"/>
                <a:gd name="T5" fmla="*/ 4 h 14"/>
                <a:gd name="T6" fmla="*/ 22 w 22"/>
                <a:gd name="T7" fmla="*/ 14 h 14"/>
                <a:gd name="T8" fmla="*/ 0 w 22"/>
                <a:gd name="T9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4">
                  <a:moveTo>
                    <a:pt x="0" y="8"/>
                  </a:moveTo>
                  <a:lnTo>
                    <a:pt x="2" y="0"/>
                  </a:lnTo>
                  <a:lnTo>
                    <a:pt x="22" y="4"/>
                  </a:lnTo>
                  <a:lnTo>
                    <a:pt x="22" y="14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33"/>
            <p:cNvSpPr>
              <a:spLocks/>
            </p:cNvSpPr>
            <p:nvPr/>
          </p:nvSpPr>
          <p:spPr bwMode="gray">
            <a:xfrm>
              <a:off x="8855375" y="4777108"/>
              <a:ext cx="103188" cy="166687"/>
            </a:xfrm>
            <a:custGeom>
              <a:avLst/>
              <a:gdLst>
                <a:gd name="T0" fmla="*/ 31 w 74"/>
                <a:gd name="T1" fmla="*/ 4 h 121"/>
                <a:gd name="T2" fmla="*/ 14 w 74"/>
                <a:gd name="T3" fmla="*/ 24 h 121"/>
                <a:gd name="T4" fmla="*/ 0 w 74"/>
                <a:gd name="T5" fmla="*/ 119 h 121"/>
                <a:gd name="T6" fmla="*/ 68 w 74"/>
                <a:gd name="T7" fmla="*/ 115 h 121"/>
                <a:gd name="T8" fmla="*/ 62 w 74"/>
                <a:gd name="T9" fmla="*/ 16 h 121"/>
                <a:gd name="T10" fmla="*/ 31 w 74"/>
                <a:gd name="T11" fmla="*/ 4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121">
                  <a:moveTo>
                    <a:pt x="31" y="4"/>
                  </a:moveTo>
                  <a:cubicBezTo>
                    <a:pt x="17" y="5"/>
                    <a:pt x="14" y="22"/>
                    <a:pt x="14" y="24"/>
                  </a:cubicBezTo>
                  <a:cubicBezTo>
                    <a:pt x="13" y="49"/>
                    <a:pt x="11" y="118"/>
                    <a:pt x="0" y="119"/>
                  </a:cubicBezTo>
                  <a:cubicBezTo>
                    <a:pt x="60" y="119"/>
                    <a:pt x="62" y="121"/>
                    <a:pt x="68" y="115"/>
                  </a:cubicBezTo>
                  <a:cubicBezTo>
                    <a:pt x="74" y="109"/>
                    <a:pt x="62" y="16"/>
                    <a:pt x="62" y="16"/>
                  </a:cubicBezTo>
                  <a:cubicBezTo>
                    <a:pt x="61" y="0"/>
                    <a:pt x="48" y="3"/>
                    <a:pt x="31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34"/>
            <p:cNvSpPr>
              <a:spLocks/>
            </p:cNvSpPr>
            <p:nvPr/>
          </p:nvSpPr>
          <p:spPr bwMode="gray">
            <a:xfrm>
              <a:off x="8855375" y="4780283"/>
              <a:ext cx="69850" cy="160337"/>
            </a:xfrm>
            <a:custGeom>
              <a:avLst/>
              <a:gdLst>
                <a:gd name="T0" fmla="*/ 31 w 50"/>
                <a:gd name="T1" fmla="*/ 1 h 116"/>
                <a:gd name="T2" fmla="*/ 14 w 50"/>
                <a:gd name="T3" fmla="*/ 21 h 116"/>
                <a:gd name="T4" fmla="*/ 0 w 50"/>
                <a:gd name="T5" fmla="*/ 116 h 116"/>
                <a:gd name="T6" fmla="*/ 9 w 50"/>
                <a:gd name="T7" fmla="*/ 116 h 116"/>
                <a:gd name="T8" fmla="*/ 8 w 50"/>
                <a:gd name="T9" fmla="*/ 116 h 116"/>
                <a:gd name="T10" fmla="*/ 22 w 50"/>
                <a:gd name="T11" fmla="*/ 31 h 116"/>
                <a:gd name="T12" fmla="*/ 40 w 50"/>
                <a:gd name="T13" fmla="*/ 2 h 116"/>
                <a:gd name="T14" fmla="*/ 49 w 50"/>
                <a:gd name="T15" fmla="*/ 0 h 116"/>
                <a:gd name="T16" fmla="*/ 31 w 50"/>
                <a:gd name="T17" fmla="*/ 1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" h="116">
                  <a:moveTo>
                    <a:pt x="31" y="1"/>
                  </a:moveTo>
                  <a:cubicBezTo>
                    <a:pt x="17" y="2"/>
                    <a:pt x="14" y="19"/>
                    <a:pt x="14" y="21"/>
                  </a:cubicBezTo>
                  <a:cubicBezTo>
                    <a:pt x="13" y="46"/>
                    <a:pt x="11" y="115"/>
                    <a:pt x="0" y="116"/>
                  </a:cubicBezTo>
                  <a:cubicBezTo>
                    <a:pt x="3" y="116"/>
                    <a:pt x="6" y="116"/>
                    <a:pt x="9" y="116"/>
                  </a:cubicBezTo>
                  <a:cubicBezTo>
                    <a:pt x="8" y="116"/>
                    <a:pt x="8" y="116"/>
                    <a:pt x="8" y="116"/>
                  </a:cubicBezTo>
                  <a:cubicBezTo>
                    <a:pt x="20" y="115"/>
                    <a:pt x="21" y="55"/>
                    <a:pt x="22" y="31"/>
                  </a:cubicBezTo>
                  <a:cubicBezTo>
                    <a:pt x="22" y="29"/>
                    <a:pt x="26" y="3"/>
                    <a:pt x="40" y="2"/>
                  </a:cubicBezTo>
                  <a:cubicBezTo>
                    <a:pt x="43" y="2"/>
                    <a:pt x="50" y="1"/>
                    <a:pt x="49" y="0"/>
                  </a:cubicBezTo>
                  <a:cubicBezTo>
                    <a:pt x="44" y="0"/>
                    <a:pt x="38" y="0"/>
                    <a:pt x="31" y="1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35"/>
            <p:cNvSpPr>
              <a:spLocks/>
            </p:cNvSpPr>
            <p:nvPr/>
          </p:nvSpPr>
          <p:spPr bwMode="gray">
            <a:xfrm>
              <a:off x="8890300" y="4850133"/>
              <a:ext cx="87313" cy="55562"/>
            </a:xfrm>
            <a:custGeom>
              <a:avLst/>
              <a:gdLst>
                <a:gd name="T0" fmla="*/ 63 w 63"/>
                <a:gd name="T1" fmla="*/ 36 h 41"/>
                <a:gd name="T2" fmla="*/ 57 w 63"/>
                <a:gd name="T3" fmla="*/ 41 h 41"/>
                <a:gd name="T4" fmla="*/ 6 w 63"/>
                <a:gd name="T5" fmla="*/ 41 h 41"/>
                <a:gd name="T6" fmla="*/ 0 w 63"/>
                <a:gd name="T7" fmla="*/ 36 h 41"/>
                <a:gd name="T8" fmla="*/ 0 w 63"/>
                <a:gd name="T9" fmla="*/ 6 h 41"/>
                <a:gd name="T10" fmla="*/ 6 w 63"/>
                <a:gd name="T11" fmla="*/ 0 h 41"/>
                <a:gd name="T12" fmla="*/ 57 w 63"/>
                <a:gd name="T13" fmla="*/ 0 h 41"/>
                <a:gd name="T14" fmla="*/ 63 w 63"/>
                <a:gd name="T15" fmla="*/ 6 h 41"/>
                <a:gd name="T16" fmla="*/ 63 w 63"/>
                <a:gd name="T17" fmla="*/ 3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3" h="41">
                  <a:moveTo>
                    <a:pt x="63" y="36"/>
                  </a:moveTo>
                  <a:cubicBezTo>
                    <a:pt x="63" y="39"/>
                    <a:pt x="60" y="41"/>
                    <a:pt x="57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3" y="41"/>
                    <a:pt x="0" y="39"/>
                    <a:pt x="0" y="3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60" y="0"/>
                    <a:pt x="63" y="3"/>
                    <a:pt x="63" y="6"/>
                  </a:cubicBezTo>
                  <a:lnTo>
                    <a:pt x="63" y="36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36"/>
            <p:cNvSpPr>
              <a:spLocks/>
            </p:cNvSpPr>
            <p:nvPr/>
          </p:nvSpPr>
          <p:spPr bwMode="gray">
            <a:xfrm>
              <a:off x="8960150" y="4897758"/>
              <a:ext cx="19050" cy="20637"/>
            </a:xfrm>
            <a:custGeom>
              <a:avLst/>
              <a:gdLst>
                <a:gd name="T0" fmla="*/ 0 w 14"/>
                <a:gd name="T1" fmla="*/ 10 h 15"/>
                <a:gd name="T2" fmla="*/ 0 w 14"/>
                <a:gd name="T3" fmla="*/ 10 h 15"/>
                <a:gd name="T4" fmla="*/ 1 w 14"/>
                <a:gd name="T5" fmla="*/ 12 h 15"/>
                <a:gd name="T6" fmla="*/ 6 w 14"/>
                <a:gd name="T7" fmla="*/ 15 h 15"/>
                <a:gd name="T8" fmla="*/ 8 w 14"/>
                <a:gd name="T9" fmla="*/ 14 h 15"/>
                <a:gd name="T10" fmla="*/ 9 w 14"/>
                <a:gd name="T11" fmla="*/ 13 h 15"/>
                <a:gd name="T12" fmla="*/ 11 w 14"/>
                <a:gd name="T13" fmla="*/ 12 h 15"/>
                <a:gd name="T14" fmla="*/ 11 w 14"/>
                <a:gd name="T15" fmla="*/ 10 h 15"/>
                <a:gd name="T16" fmla="*/ 13 w 14"/>
                <a:gd name="T17" fmla="*/ 9 h 15"/>
                <a:gd name="T18" fmla="*/ 12 w 14"/>
                <a:gd name="T19" fmla="*/ 6 h 15"/>
                <a:gd name="T20" fmla="*/ 11 w 14"/>
                <a:gd name="T21" fmla="*/ 6 h 15"/>
                <a:gd name="T22" fmla="*/ 13 w 14"/>
                <a:gd name="T23" fmla="*/ 5 h 15"/>
                <a:gd name="T24" fmla="*/ 13 w 14"/>
                <a:gd name="T25" fmla="*/ 3 h 15"/>
                <a:gd name="T26" fmla="*/ 8 w 14"/>
                <a:gd name="T27" fmla="*/ 0 h 15"/>
                <a:gd name="T28" fmla="*/ 6 w 14"/>
                <a:gd name="T29" fmla="*/ 0 h 15"/>
                <a:gd name="T30" fmla="*/ 0 w 14"/>
                <a:gd name="T31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" h="15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1" y="12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5"/>
                    <a:pt x="8" y="15"/>
                    <a:pt x="8" y="14"/>
                  </a:cubicBezTo>
                  <a:cubicBezTo>
                    <a:pt x="9" y="14"/>
                    <a:pt x="9" y="13"/>
                    <a:pt x="9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1" y="11"/>
                    <a:pt x="11" y="10"/>
                    <a:pt x="11" y="10"/>
                  </a:cubicBezTo>
                  <a:cubicBezTo>
                    <a:pt x="11" y="10"/>
                    <a:pt x="12" y="10"/>
                    <a:pt x="13" y="9"/>
                  </a:cubicBezTo>
                  <a:cubicBezTo>
                    <a:pt x="13" y="8"/>
                    <a:pt x="13" y="7"/>
                    <a:pt x="1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3" y="6"/>
                    <a:pt x="13" y="5"/>
                  </a:cubicBezTo>
                  <a:cubicBezTo>
                    <a:pt x="14" y="4"/>
                    <a:pt x="14" y="3"/>
                    <a:pt x="13" y="3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2" y="2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37"/>
            <p:cNvSpPr>
              <a:spLocks/>
            </p:cNvSpPr>
            <p:nvPr/>
          </p:nvSpPr>
          <p:spPr bwMode="gray">
            <a:xfrm>
              <a:off x="8960150" y="4892995"/>
              <a:ext cx="15875" cy="6350"/>
            </a:xfrm>
            <a:custGeom>
              <a:avLst/>
              <a:gdLst>
                <a:gd name="T0" fmla="*/ 0 w 11"/>
                <a:gd name="T1" fmla="*/ 2 h 4"/>
                <a:gd name="T2" fmla="*/ 2 w 11"/>
                <a:gd name="T3" fmla="*/ 0 h 4"/>
                <a:gd name="T4" fmla="*/ 10 w 11"/>
                <a:gd name="T5" fmla="*/ 0 h 4"/>
                <a:gd name="T6" fmla="*/ 11 w 11"/>
                <a:gd name="T7" fmla="*/ 2 h 4"/>
                <a:gd name="T8" fmla="*/ 11 w 11"/>
                <a:gd name="T9" fmla="*/ 2 h 4"/>
                <a:gd name="T10" fmla="*/ 10 w 11"/>
                <a:gd name="T11" fmla="*/ 4 h 4"/>
                <a:gd name="T12" fmla="*/ 2 w 11"/>
                <a:gd name="T13" fmla="*/ 4 h 4"/>
                <a:gd name="T14" fmla="*/ 0 w 11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4"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1" y="1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0" y="4"/>
                    <a:pt x="10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38"/>
            <p:cNvSpPr>
              <a:spLocks/>
            </p:cNvSpPr>
            <p:nvPr/>
          </p:nvSpPr>
          <p:spPr bwMode="gray">
            <a:xfrm>
              <a:off x="8893475" y="4797745"/>
              <a:ext cx="77788" cy="115887"/>
            </a:xfrm>
            <a:custGeom>
              <a:avLst/>
              <a:gdLst>
                <a:gd name="T0" fmla="*/ 48 w 57"/>
                <a:gd name="T1" fmla="*/ 84 h 84"/>
                <a:gd name="T2" fmla="*/ 42 w 57"/>
                <a:gd name="T3" fmla="*/ 82 h 84"/>
                <a:gd name="T4" fmla="*/ 18 w 57"/>
                <a:gd name="T5" fmla="*/ 59 h 84"/>
                <a:gd name="T6" fmla="*/ 1 w 57"/>
                <a:gd name="T7" fmla="*/ 11 h 84"/>
                <a:gd name="T8" fmla="*/ 6 w 57"/>
                <a:gd name="T9" fmla="*/ 1 h 84"/>
                <a:gd name="T10" fmla="*/ 16 w 57"/>
                <a:gd name="T11" fmla="*/ 6 h 84"/>
                <a:gd name="T12" fmla="*/ 32 w 57"/>
                <a:gd name="T13" fmla="*/ 50 h 84"/>
                <a:gd name="T14" fmla="*/ 53 w 57"/>
                <a:gd name="T15" fmla="*/ 70 h 84"/>
                <a:gd name="T16" fmla="*/ 54 w 57"/>
                <a:gd name="T17" fmla="*/ 81 h 84"/>
                <a:gd name="T18" fmla="*/ 48 w 57"/>
                <a:gd name="T1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84">
                  <a:moveTo>
                    <a:pt x="48" y="84"/>
                  </a:moveTo>
                  <a:cubicBezTo>
                    <a:pt x="46" y="84"/>
                    <a:pt x="44" y="83"/>
                    <a:pt x="42" y="82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7"/>
                    <a:pt x="2" y="2"/>
                    <a:pt x="6" y="1"/>
                  </a:cubicBezTo>
                  <a:cubicBezTo>
                    <a:pt x="10" y="0"/>
                    <a:pt x="15" y="2"/>
                    <a:pt x="16" y="6"/>
                  </a:cubicBezTo>
                  <a:cubicBezTo>
                    <a:pt x="32" y="50"/>
                    <a:pt x="32" y="50"/>
                    <a:pt x="32" y="50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57" y="73"/>
                    <a:pt x="57" y="78"/>
                    <a:pt x="54" y="81"/>
                  </a:cubicBezTo>
                  <a:cubicBezTo>
                    <a:pt x="52" y="83"/>
                    <a:pt x="50" y="84"/>
                    <a:pt x="48" y="8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39"/>
            <p:cNvSpPr>
              <a:spLocks/>
            </p:cNvSpPr>
            <p:nvPr/>
          </p:nvSpPr>
          <p:spPr bwMode="gray">
            <a:xfrm>
              <a:off x="8893475" y="4799333"/>
              <a:ext cx="69850" cy="114300"/>
            </a:xfrm>
            <a:custGeom>
              <a:avLst/>
              <a:gdLst>
                <a:gd name="T0" fmla="*/ 48 w 51"/>
                <a:gd name="T1" fmla="*/ 76 h 82"/>
                <a:gd name="T2" fmla="*/ 23 w 51"/>
                <a:gd name="T3" fmla="*/ 53 h 82"/>
                <a:gd name="T4" fmla="*/ 5 w 51"/>
                <a:gd name="T5" fmla="*/ 2 h 82"/>
                <a:gd name="T6" fmla="*/ 4 w 51"/>
                <a:gd name="T7" fmla="*/ 0 h 82"/>
                <a:gd name="T8" fmla="*/ 1 w 51"/>
                <a:gd name="T9" fmla="*/ 9 h 82"/>
                <a:gd name="T10" fmla="*/ 18 w 51"/>
                <a:gd name="T11" fmla="*/ 57 h 82"/>
                <a:gd name="T12" fmla="*/ 42 w 51"/>
                <a:gd name="T13" fmla="*/ 80 h 82"/>
                <a:gd name="T14" fmla="*/ 48 w 51"/>
                <a:gd name="T15" fmla="*/ 82 h 82"/>
                <a:gd name="T16" fmla="*/ 51 w 51"/>
                <a:gd name="T17" fmla="*/ 81 h 82"/>
                <a:gd name="T18" fmla="*/ 48 w 51"/>
                <a:gd name="T19" fmla="*/ 76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82">
                  <a:moveTo>
                    <a:pt x="48" y="76"/>
                  </a:moveTo>
                  <a:cubicBezTo>
                    <a:pt x="23" y="53"/>
                    <a:pt x="23" y="53"/>
                    <a:pt x="23" y="53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1"/>
                    <a:pt x="5" y="1"/>
                    <a:pt x="4" y="0"/>
                  </a:cubicBezTo>
                  <a:cubicBezTo>
                    <a:pt x="1" y="2"/>
                    <a:pt x="0" y="6"/>
                    <a:pt x="1" y="9"/>
                  </a:cubicBezTo>
                  <a:cubicBezTo>
                    <a:pt x="18" y="57"/>
                    <a:pt x="18" y="57"/>
                    <a:pt x="18" y="57"/>
                  </a:cubicBezTo>
                  <a:cubicBezTo>
                    <a:pt x="42" y="80"/>
                    <a:pt x="42" y="80"/>
                    <a:pt x="42" y="80"/>
                  </a:cubicBezTo>
                  <a:cubicBezTo>
                    <a:pt x="44" y="81"/>
                    <a:pt x="46" y="82"/>
                    <a:pt x="48" y="82"/>
                  </a:cubicBezTo>
                  <a:cubicBezTo>
                    <a:pt x="49" y="82"/>
                    <a:pt x="50" y="82"/>
                    <a:pt x="51" y="81"/>
                  </a:cubicBezTo>
                  <a:cubicBezTo>
                    <a:pt x="51" y="79"/>
                    <a:pt x="50" y="78"/>
                    <a:pt x="48" y="76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40"/>
            <p:cNvSpPr>
              <a:spLocks/>
            </p:cNvSpPr>
            <p:nvPr/>
          </p:nvSpPr>
          <p:spPr bwMode="gray">
            <a:xfrm>
              <a:off x="8869662" y="4696145"/>
              <a:ext cx="73025" cy="73025"/>
            </a:xfrm>
            <a:custGeom>
              <a:avLst/>
              <a:gdLst>
                <a:gd name="T0" fmla="*/ 49 w 53"/>
                <a:gd name="T1" fmla="*/ 11 h 53"/>
                <a:gd name="T2" fmla="*/ 42 w 53"/>
                <a:gd name="T3" fmla="*/ 6 h 53"/>
                <a:gd name="T4" fmla="*/ 40 w 53"/>
                <a:gd name="T5" fmla="*/ 6 h 53"/>
                <a:gd name="T6" fmla="*/ 33 w 53"/>
                <a:gd name="T7" fmla="*/ 1 h 53"/>
                <a:gd name="T8" fmla="*/ 29 w 53"/>
                <a:gd name="T9" fmla="*/ 3 h 53"/>
                <a:gd name="T10" fmla="*/ 23 w 53"/>
                <a:gd name="T11" fmla="*/ 0 h 53"/>
                <a:gd name="T12" fmla="*/ 15 w 53"/>
                <a:gd name="T13" fmla="*/ 4 h 53"/>
                <a:gd name="T14" fmla="*/ 14 w 53"/>
                <a:gd name="T15" fmla="*/ 4 h 53"/>
                <a:gd name="T16" fmla="*/ 6 w 53"/>
                <a:gd name="T17" fmla="*/ 12 h 53"/>
                <a:gd name="T18" fmla="*/ 6 w 53"/>
                <a:gd name="T19" fmla="*/ 13 h 53"/>
                <a:gd name="T20" fmla="*/ 0 w 53"/>
                <a:gd name="T21" fmla="*/ 21 h 53"/>
                <a:gd name="T22" fmla="*/ 1 w 53"/>
                <a:gd name="T23" fmla="*/ 25 h 53"/>
                <a:gd name="T24" fmla="*/ 0 w 53"/>
                <a:gd name="T25" fmla="*/ 30 h 53"/>
                <a:gd name="T26" fmla="*/ 4 w 53"/>
                <a:gd name="T27" fmla="*/ 37 h 53"/>
                <a:gd name="T28" fmla="*/ 4 w 53"/>
                <a:gd name="T29" fmla="*/ 38 h 53"/>
                <a:gd name="T30" fmla="*/ 3 w 53"/>
                <a:gd name="T31" fmla="*/ 39 h 53"/>
                <a:gd name="T32" fmla="*/ 11 w 53"/>
                <a:gd name="T33" fmla="*/ 48 h 53"/>
                <a:gd name="T34" fmla="*/ 11 w 53"/>
                <a:gd name="T35" fmla="*/ 48 h 53"/>
                <a:gd name="T36" fmla="*/ 16 w 53"/>
                <a:gd name="T37" fmla="*/ 52 h 53"/>
                <a:gd name="T38" fmla="*/ 19 w 53"/>
                <a:gd name="T39" fmla="*/ 52 h 53"/>
                <a:gd name="T40" fmla="*/ 22 w 53"/>
                <a:gd name="T41" fmla="*/ 53 h 53"/>
                <a:gd name="T42" fmla="*/ 22 w 53"/>
                <a:gd name="T43" fmla="*/ 53 h 53"/>
                <a:gd name="T44" fmla="*/ 22 w 53"/>
                <a:gd name="T45" fmla="*/ 53 h 53"/>
                <a:gd name="T46" fmla="*/ 26 w 53"/>
                <a:gd name="T47" fmla="*/ 50 h 53"/>
                <a:gd name="T48" fmla="*/ 31 w 53"/>
                <a:gd name="T49" fmla="*/ 49 h 53"/>
                <a:gd name="T50" fmla="*/ 31 w 53"/>
                <a:gd name="T51" fmla="*/ 40 h 53"/>
                <a:gd name="T52" fmla="*/ 38 w 53"/>
                <a:gd name="T53" fmla="*/ 39 h 53"/>
                <a:gd name="T54" fmla="*/ 38 w 53"/>
                <a:gd name="T55" fmla="*/ 31 h 53"/>
                <a:gd name="T56" fmla="*/ 43 w 53"/>
                <a:gd name="T57" fmla="*/ 30 h 53"/>
                <a:gd name="T58" fmla="*/ 45 w 53"/>
                <a:gd name="T59" fmla="*/ 26 h 53"/>
                <a:gd name="T60" fmla="*/ 49 w 53"/>
                <a:gd name="T61" fmla="*/ 26 h 53"/>
                <a:gd name="T62" fmla="*/ 49 w 53"/>
                <a:gd name="T63" fmla="*/ 26 h 53"/>
                <a:gd name="T64" fmla="*/ 53 w 53"/>
                <a:gd name="T65" fmla="*/ 17 h 53"/>
                <a:gd name="T66" fmla="*/ 49 w 53"/>
                <a:gd name="T67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3" h="53">
                  <a:moveTo>
                    <a:pt x="49" y="11"/>
                  </a:moveTo>
                  <a:cubicBezTo>
                    <a:pt x="48" y="8"/>
                    <a:pt x="45" y="6"/>
                    <a:pt x="42" y="6"/>
                  </a:cubicBezTo>
                  <a:cubicBezTo>
                    <a:pt x="41" y="6"/>
                    <a:pt x="41" y="6"/>
                    <a:pt x="40" y="6"/>
                  </a:cubicBezTo>
                  <a:cubicBezTo>
                    <a:pt x="39" y="3"/>
                    <a:pt x="36" y="1"/>
                    <a:pt x="33" y="1"/>
                  </a:cubicBezTo>
                  <a:cubicBezTo>
                    <a:pt x="32" y="1"/>
                    <a:pt x="30" y="2"/>
                    <a:pt x="29" y="3"/>
                  </a:cubicBezTo>
                  <a:cubicBezTo>
                    <a:pt x="27" y="1"/>
                    <a:pt x="25" y="0"/>
                    <a:pt x="23" y="0"/>
                  </a:cubicBezTo>
                  <a:cubicBezTo>
                    <a:pt x="19" y="0"/>
                    <a:pt x="16" y="2"/>
                    <a:pt x="15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0" y="4"/>
                    <a:pt x="6" y="8"/>
                    <a:pt x="6" y="12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3" y="14"/>
                    <a:pt x="0" y="17"/>
                    <a:pt x="0" y="21"/>
                  </a:cubicBezTo>
                  <a:cubicBezTo>
                    <a:pt x="0" y="22"/>
                    <a:pt x="1" y="24"/>
                    <a:pt x="1" y="25"/>
                  </a:cubicBezTo>
                  <a:cubicBezTo>
                    <a:pt x="0" y="26"/>
                    <a:pt x="0" y="28"/>
                    <a:pt x="0" y="30"/>
                  </a:cubicBezTo>
                  <a:cubicBezTo>
                    <a:pt x="0" y="33"/>
                    <a:pt x="1" y="36"/>
                    <a:pt x="4" y="37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3" y="38"/>
                    <a:pt x="3" y="39"/>
                    <a:pt x="3" y="39"/>
                  </a:cubicBezTo>
                  <a:cubicBezTo>
                    <a:pt x="3" y="44"/>
                    <a:pt x="7" y="47"/>
                    <a:pt x="11" y="48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50"/>
                    <a:pt x="14" y="52"/>
                    <a:pt x="16" y="52"/>
                  </a:cubicBezTo>
                  <a:cubicBezTo>
                    <a:pt x="17" y="52"/>
                    <a:pt x="18" y="52"/>
                    <a:pt x="19" y="52"/>
                  </a:cubicBezTo>
                  <a:cubicBezTo>
                    <a:pt x="20" y="52"/>
                    <a:pt x="21" y="53"/>
                    <a:pt x="22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4" y="52"/>
                    <a:pt x="25" y="51"/>
                    <a:pt x="26" y="50"/>
                  </a:cubicBezTo>
                  <a:cubicBezTo>
                    <a:pt x="27" y="50"/>
                    <a:pt x="29" y="50"/>
                    <a:pt x="31" y="49"/>
                  </a:cubicBezTo>
                  <a:cubicBezTo>
                    <a:pt x="39" y="46"/>
                    <a:pt x="32" y="45"/>
                    <a:pt x="31" y="40"/>
                  </a:cubicBezTo>
                  <a:cubicBezTo>
                    <a:pt x="31" y="35"/>
                    <a:pt x="36" y="40"/>
                    <a:pt x="38" y="39"/>
                  </a:cubicBezTo>
                  <a:cubicBezTo>
                    <a:pt x="40" y="39"/>
                    <a:pt x="38" y="35"/>
                    <a:pt x="38" y="31"/>
                  </a:cubicBezTo>
                  <a:cubicBezTo>
                    <a:pt x="37" y="27"/>
                    <a:pt x="39" y="30"/>
                    <a:pt x="43" y="30"/>
                  </a:cubicBezTo>
                  <a:cubicBezTo>
                    <a:pt x="46" y="29"/>
                    <a:pt x="46" y="28"/>
                    <a:pt x="45" y="26"/>
                  </a:cubicBezTo>
                  <a:cubicBezTo>
                    <a:pt x="47" y="26"/>
                    <a:pt x="48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52" y="24"/>
                    <a:pt x="53" y="20"/>
                    <a:pt x="53" y="17"/>
                  </a:cubicBezTo>
                  <a:cubicBezTo>
                    <a:pt x="52" y="14"/>
                    <a:pt x="51" y="13"/>
                    <a:pt x="49" y="1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41"/>
            <p:cNvSpPr>
              <a:spLocks/>
            </p:cNvSpPr>
            <p:nvPr/>
          </p:nvSpPr>
          <p:spPr bwMode="gray">
            <a:xfrm>
              <a:off x="8861725" y="4683445"/>
              <a:ext cx="82550" cy="65087"/>
            </a:xfrm>
            <a:custGeom>
              <a:avLst/>
              <a:gdLst>
                <a:gd name="T0" fmla="*/ 60 w 60"/>
                <a:gd name="T1" fmla="*/ 26 h 47"/>
                <a:gd name="T2" fmla="*/ 59 w 60"/>
                <a:gd name="T3" fmla="*/ 21 h 47"/>
                <a:gd name="T4" fmla="*/ 22 w 60"/>
                <a:gd name="T5" fmla="*/ 6 h 47"/>
                <a:gd name="T6" fmla="*/ 6 w 60"/>
                <a:gd name="T7" fmla="*/ 43 h 47"/>
                <a:gd name="T8" fmla="*/ 8 w 60"/>
                <a:gd name="T9" fmla="*/ 47 h 47"/>
                <a:gd name="T10" fmla="*/ 60 w 60"/>
                <a:gd name="T11" fmla="*/ 2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47">
                  <a:moveTo>
                    <a:pt x="60" y="26"/>
                  </a:moveTo>
                  <a:cubicBezTo>
                    <a:pt x="60" y="24"/>
                    <a:pt x="59" y="23"/>
                    <a:pt x="59" y="21"/>
                  </a:cubicBezTo>
                  <a:cubicBezTo>
                    <a:pt x="53" y="7"/>
                    <a:pt x="36" y="0"/>
                    <a:pt x="22" y="6"/>
                  </a:cubicBezTo>
                  <a:cubicBezTo>
                    <a:pt x="7" y="12"/>
                    <a:pt x="0" y="29"/>
                    <a:pt x="6" y="43"/>
                  </a:cubicBezTo>
                  <a:cubicBezTo>
                    <a:pt x="7" y="44"/>
                    <a:pt x="7" y="46"/>
                    <a:pt x="8" y="47"/>
                  </a:cubicBezTo>
                  <a:lnTo>
                    <a:pt x="60" y="26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42"/>
            <p:cNvSpPr>
              <a:spLocks/>
            </p:cNvSpPr>
            <p:nvPr/>
          </p:nvSpPr>
          <p:spPr bwMode="gray">
            <a:xfrm>
              <a:off x="8885537" y="4683445"/>
              <a:ext cx="58738" cy="38100"/>
            </a:xfrm>
            <a:custGeom>
              <a:avLst/>
              <a:gdLst>
                <a:gd name="T0" fmla="*/ 34 w 42"/>
                <a:gd name="T1" fmla="*/ 24 h 28"/>
                <a:gd name="T2" fmla="*/ 35 w 42"/>
                <a:gd name="T3" fmla="*/ 28 h 28"/>
                <a:gd name="T4" fmla="*/ 42 w 42"/>
                <a:gd name="T5" fmla="*/ 26 h 28"/>
                <a:gd name="T6" fmla="*/ 41 w 42"/>
                <a:gd name="T7" fmla="*/ 21 h 28"/>
                <a:gd name="T8" fmla="*/ 4 w 42"/>
                <a:gd name="T9" fmla="*/ 6 h 28"/>
                <a:gd name="T10" fmla="*/ 0 w 42"/>
                <a:gd name="T11" fmla="*/ 8 h 28"/>
                <a:gd name="T12" fmla="*/ 34 w 42"/>
                <a:gd name="T13" fmla="*/ 2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28">
                  <a:moveTo>
                    <a:pt x="34" y="24"/>
                  </a:moveTo>
                  <a:cubicBezTo>
                    <a:pt x="34" y="26"/>
                    <a:pt x="34" y="27"/>
                    <a:pt x="35" y="28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2" y="24"/>
                    <a:pt x="41" y="23"/>
                    <a:pt x="41" y="21"/>
                  </a:cubicBezTo>
                  <a:cubicBezTo>
                    <a:pt x="35" y="7"/>
                    <a:pt x="18" y="0"/>
                    <a:pt x="4" y="6"/>
                  </a:cubicBezTo>
                  <a:cubicBezTo>
                    <a:pt x="2" y="7"/>
                    <a:pt x="1" y="7"/>
                    <a:pt x="0" y="8"/>
                  </a:cubicBezTo>
                  <a:cubicBezTo>
                    <a:pt x="14" y="4"/>
                    <a:pt x="28" y="11"/>
                    <a:pt x="34" y="24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43"/>
            <p:cNvSpPr>
              <a:spLocks/>
            </p:cNvSpPr>
            <p:nvPr/>
          </p:nvSpPr>
          <p:spPr bwMode="gray">
            <a:xfrm>
              <a:off x="8864900" y="4692970"/>
              <a:ext cx="26988" cy="55562"/>
            </a:xfrm>
            <a:custGeom>
              <a:avLst/>
              <a:gdLst>
                <a:gd name="T0" fmla="*/ 20 w 20"/>
                <a:gd name="T1" fmla="*/ 0 h 40"/>
                <a:gd name="T2" fmla="*/ 16 w 20"/>
                <a:gd name="T3" fmla="*/ 1 h 40"/>
                <a:gd name="T4" fmla="*/ 3 w 20"/>
                <a:gd name="T5" fmla="*/ 30 h 40"/>
                <a:gd name="T6" fmla="*/ 3 w 20"/>
                <a:gd name="T7" fmla="*/ 30 h 40"/>
                <a:gd name="T8" fmla="*/ 3 w 20"/>
                <a:gd name="T9" fmla="*/ 31 h 40"/>
                <a:gd name="T10" fmla="*/ 4 w 20"/>
                <a:gd name="T11" fmla="*/ 36 h 40"/>
                <a:gd name="T12" fmla="*/ 6 w 20"/>
                <a:gd name="T13" fmla="*/ 40 h 40"/>
                <a:gd name="T14" fmla="*/ 10 w 20"/>
                <a:gd name="T15" fmla="*/ 38 h 40"/>
                <a:gd name="T16" fmla="*/ 13 w 20"/>
                <a:gd name="T17" fmla="*/ 37 h 40"/>
                <a:gd name="T18" fmla="*/ 11 w 20"/>
                <a:gd name="T19" fmla="*/ 33 h 40"/>
                <a:gd name="T20" fmla="*/ 20 w 20"/>
                <a:gd name="T2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0">
                  <a:moveTo>
                    <a:pt x="20" y="0"/>
                  </a:moveTo>
                  <a:cubicBezTo>
                    <a:pt x="18" y="0"/>
                    <a:pt x="17" y="1"/>
                    <a:pt x="16" y="1"/>
                  </a:cubicBezTo>
                  <a:cubicBezTo>
                    <a:pt x="6" y="7"/>
                    <a:pt x="0" y="19"/>
                    <a:pt x="3" y="30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3" y="33"/>
                    <a:pt x="4" y="34"/>
                    <a:pt x="4" y="36"/>
                  </a:cubicBezTo>
                  <a:cubicBezTo>
                    <a:pt x="5" y="37"/>
                    <a:pt x="6" y="39"/>
                    <a:pt x="6" y="40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36"/>
                    <a:pt x="12" y="34"/>
                    <a:pt x="11" y="33"/>
                  </a:cubicBezTo>
                  <a:cubicBezTo>
                    <a:pt x="6" y="21"/>
                    <a:pt x="10" y="8"/>
                    <a:pt x="20" y="0"/>
                  </a:cubicBez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44"/>
            <p:cNvSpPr>
              <a:spLocks/>
            </p:cNvSpPr>
            <p:nvPr/>
          </p:nvSpPr>
          <p:spPr bwMode="gray">
            <a:xfrm>
              <a:off x="8864900" y="4708845"/>
              <a:ext cx="84138" cy="39687"/>
            </a:xfrm>
            <a:custGeom>
              <a:avLst/>
              <a:gdLst>
                <a:gd name="T0" fmla="*/ 58 w 61"/>
                <a:gd name="T1" fmla="*/ 0 h 29"/>
                <a:gd name="T2" fmla="*/ 1 w 61"/>
                <a:gd name="T3" fmla="*/ 23 h 29"/>
                <a:gd name="T4" fmla="*/ 1 w 61"/>
                <a:gd name="T5" fmla="*/ 27 h 29"/>
                <a:gd name="T6" fmla="*/ 3 w 61"/>
                <a:gd name="T7" fmla="*/ 29 h 29"/>
                <a:gd name="T8" fmla="*/ 61 w 61"/>
                <a:gd name="T9" fmla="*/ 5 h 29"/>
                <a:gd name="T10" fmla="*/ 61 w 61"/>
                <a:gd name="T11" fmla="*/ 2 h 29"/>
                <a:gd name="T12" fmla="*/ 58 w 61"/>
                <a:gd name="T13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29">
                  <a:moveTo>
                    <a:pt x="58" y="0"/>
                  </a:move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0" y="25"/>
                    <a:pt x="1" y="27"/>
                  </a:cubicBezTo>
                  <a:cubicBezTo>
                    <a:pt x="2" y="28"/>
                    <a:pt x="3" y="29"/>
                    <a:pt x="3" y="29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5"/>
                    <a:pt x="61" y="4"/>
                    <a:pt x="61" y="2"/>
                  </a:cubicBezTo>
                  <a:cubicBezTo>
                    <a:pt x="60" y="0"/>
                    <a:pt x="58" y="0"/>
                    <a:pt x="58" y="0"/>
                  </a:cubicBez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45"/>
            <p:cNvSpPr>
              <a:spLocks noEditPoints="1"/>
            </p:cNvSpPr>
            <p:nvPr/>
          </p:nvSpPr>
          <p:spPr bwMode="gray">
            <a:xfrm>
              <a:off x="8693450" y="5112070"/>
              <a:ext cx="246063" cy="301625"/>
            </a:xfrm>
            <a:custGeom>
              <a:avLst/>
              <a:gdLst>
                <a:gd name="T0" fmla="*/ 100 w 178"/>
                <a:gd name="T1" fmla="*/ 161 h 219"/>
                <a:gd name="T2" fmla="*/ 175 w 178"/>
                <a:gd name="T3" fmla="*/ 114 h 219"/>
                <a:gd name="T4" fmla="*/ 176 w 178"/>
                <a:gd name="T5" fmla="*/ 113 h 219"/>
                <a:gd name="T6" fmla="*/ 176 w 178"/>
                <a:gd name="T7" fmla="*/ 113 h 219"/>
                <a:gd name="T8" fmla="*/ 177 w 178"/>
                <a:gd name="T9" fmla="*/ 112 h 219"/>
                <a:gd name="T10" fmla="*/ 177 w 178"/>
                <a:gd name="T11" fmla="*/ 110 h 219"/>
                <a:gd name="T12" fmla="*/ 177 w 178"/>
                <a:gd name="T13" fmla="*/ 109 h 219"/>
                <a:gd name="T14" fmla="*/ 177 w 178"/>
                <a:gd name="T15" fmla="*/ 108 h 219"/>
                <a:gd name="T16" fmla="*/ 176 w 178"/>
                <a:gd name="T17" fmla="*/ 107 h 219"/>
                <a:gd name="T18" fmla="*/ 176 w 178"/>
                <a:gd name="T19" fmla="*/ 107 h 219"/>
                <a:gd name="T20" fmla="*/ 175 w 178"/>
                <a:gd name="T21" fmla="*/ 106 h 219"/>
                <a:gd name="T22" fmla="*/ 174 w 178"/>
                <a:gd name="T23" fmla="*/ 105 h 219"/>
                <a:gd name="T24" fmla="*/ 100 w 178"/>
                <a:gd name="T25" fmla="*/ 58 h 219"/>
                <a:gd name="T26" fmla="*/ 176 w 178"/>
                <a:gd name="T27" fmla="*/ 3 h 219"/>
                <a:gd name="T28" fmla="*/ 89 w 178"/>
                <a:gd name="T29" fmla="*/ 51 h 219"/>
                <a:gd name="T30" fmla="*/ 2 w 178"/>
                <a:gd name="T31" fmla="*/ 3 h 219"/>
                <a:gd name="T32" fmla="*/ 78 w 178"/>
                <a:gd name="T33" fmla="*/ 58 h 219"/>
                <a:gd name="T34" fmla="*/ 3 w 178"/>
                <a:gd name="T35" fmla="*/ 105 h 219"/>
                <a:gd name="T36" fmla="*/ 2 w 178"/>
                <a:gd name="T37" fmla="*/ 106 h 219"/>
                <a:gd name="T38" fmla="*/ 2 w 178"/>
                <a:gd name="T39" fmla="*/ 107 h 219"/>
                <a:gd name="T40" fmla="*/ 2 w 178"/>
                <a:gd name="T41" fmla="*/ 107 h 219"/>
                <a:gd name="T42" fmla="*/ 1 w 178"/>
                <a:gd name="T43" fmla="*/ 108 h 219"/>
                <a:gd name="T44" fmla="*/ 1 w 178"/>
                <a:gd name="T45" fmla="*/ 109 h 219"/>
                <a:gd name="T46" fmla="*/ 1 w 178"/>
                <a:gd name="T47" fmla="*/ 110 h 219"/>
                <a:gd name="T48" fmla="*/ 1 w 178"/>
                <a:gd name="T49" fmla="*/ 112 h 219"/>
                <a:gd name="T50" fmla="*/ 1 w 178"/>
                <a:gd name="T51" fmla="*/ 113 h 219"/>
                <a:gd name="T52" fmla="*/ 2 w 178"/>
                <a:gd name="T53" fmla="*/ 113 h 219"/>
                <a:gd name="T54" fmla="*/ 3 w 178"/>
                <a:gd name="T55" fmla="*/ 114 h 219"/>
                <a:gd name="T56" fmla="*/ 78 w 178"/>
                <a:gd name="T57" fmla="*/ 161 h 219"/>
                <a:gd name="T58" fmla="*/ 2 w 178"/>
                <a:gd name="T59" fmla="*/ 216 h 219"/>
                <a:gd name="T60" fmla="*/ 10 w 178"/>
                <a:gd name="T61" fmla="*/ 218 h 219"/>
                <a:gd name="T62" fmla="*/ 168 w 178"/>
                <a:gd name="T63" fmla="*/ 218 h 219"/>
                <a:gd name="T64" fmla="*/ 176 w 178"/>
                <a:gd name="T65" fmla="*/ 216 h 219"/>
                <a:gd name="T66" fmla="*/ 18 w 178"/>
                <a:gd name="T67" fmla="*/ 110 h 219"/>
                <a:gd name="T68" fmla="*/ 160 w 178"/>
                <a:gd name="T69" fmla="*/ 110 h 219"/>
                <a:gd name="T70" fmla="*/ 18 w 178"/>
                <a:gd name="T71" fmla="*/ 11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78" h="219">
                  <a:moveTo>
                    <a:pt x="174" y="208"/>
                  </a:moveTo>
                  <a:cubicBezTo>
                    <a:pt x="100" y="161"/>
                    <a:pt x="100" y="161"/>
                    <a:pt x="100" y="161"/>
                  </a:cubicBezTo>
                  <a:cubicBezTo>
                    <a:pt x="174" y="115"/>
                    <a:pt x="174" y="115"/>
                    <a:pt x="174" y="115"/>
                  </a:cubicBezTo>
                  <a:cubicBezTo>
                    <a:pt x="175" y="114"/>
                    <a:pt x="175" y="114"/>
                    <a:pt x="175" y="114"/>
                  </a:cubicBezTo>
                  <a:cubicBezTo>
                    <a:pt x="175" y="114"/>
                    <a:pt x="175" y="114"/>
                    <a:pt x="175" y="114"/>
                  </a:cubicBezTo>
                  <a:cubicBezTo>
                    <a:pt x="175" y="114"/>
                    <a:pt x="176" y="114"/>
                    <a:pt x="176" y="113"/>
                  </a:cubicBezTo>
                  <a:cubicBezTo>
                    <a:pt x="176" y="113"/>
                    <a:pt x="176" y="113"/>
                    <a:pt x="176" y="113"/>
                  </a:cubicBezTo>
                  <a:cubicBezTo>
                    <a:pt x="176" y="113"/>
                    <a:pt x="176" y="113"/>
                    <a:pt x="176" y="113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77" y="111"/>
                    <a:pt x="177" y="111"/>
                    <a:pt x="177" y="111"/>
                  </a:cubicBezTo>
                  <a:cubicBezTo>
                    <a:pt x="177" y="110"/>
                    <a:pt x="177" y="110"/>
                    <a:pt x="177" y="110"/>
                  </a:cubicBezTo>
                  <a:cubicBezTo>
                    <a:pt x="177" y="110"/>
                    <a:pt x="177" y="110"/>
                    <a:pt x="177" y="110"/>
                  </a:cubicBezTo>
                  <a:cubicBezTo>
                    <a:pt x="177" y="109"/>
                    <a:pt x="177" y="109"/>
                    <a:pt x="177" y="109"/>
                  </a:cubicBezTo>
                  <a:cubicBezTo>
                    <a:pt x="177" y="109"/>
                    <a:pt x="177" y="109"/>
                    <a:pt x="177" y="109"/>
                  </a:cubicBezTo>
                  <a:cubicBezTo>
                    <a:pt x="177" y="108"/>
                    <a:pt x="177" y="108"/>
                    <a:pt x="177" y="108"/>
                  </a:cubicBezTo>
                  <a:cubicBezTo>
                    <a:pt x="177" y="108"/>
                    <a:pt x="177" y="108"/>
                    <a:pt x="177" y="108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6"/>
                    <a:pt x="176" y="106"/>
                    <a:pt x="176" y="106"/>
                  </a:cubicBezTo>
                  <a:cubicBezTo>
                    <a:pt x="175" y="106"/>
                    <a:pt x="175" y="106"/>
                    <a:pt x="175" y="106"/>
                  </a:cubicBezTo>
                  <a:cubicBezTo>
                    <a:pt x="175" y="105"/>
                    <a:pt x="175" y="105"/>
                    <a:pt x="175" y="105"/>
                  </a:cubicBezTo>
                  <a:cubicBezTo>
                    <a:pt x="174" y="105"/>
                    <a:pt x="174" y="105"/>
                    <a:pt x="174" y="105"/>
                  </a:cubicBezTo>
                  <a:cubicBezTo>
                    <a:pt x="174" y="105"/>
                    <a:pt x="174" y="105"/>
                    <a:pt x="174" y="105"/>
                  </a:cubicBezTo>
                  <a:cubicBezTo>
                    <a:pt x="100" y="58"/>
                    <a:pt x="100" y="58"/>
                    <a:pt x="100" y="58"/>
                  </a:cubicBezTo>
                  <a:cubicBezTo>
                    <a:pt x="174" y="12"/>
                    <a:pt x="174" y="12"/>
                    <a:pt x="174" y="12"/>
                  </a:cubicBezTo>
                  <a:cubicBezTo>
                    <a:pt x="177" y="10"/>
                    <a:pt x="178" y="6"/>
                    <a:pt x="176" y="3"/>
                  </a:cubicBezTo>
                  <a:cubicBezTo>
                    <a:pt x="174" y="1"/>
                    <a:pt x="171" y="0"/>
                    <a:pt x="168" y="2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7" y="0"/>
                    <a:pt x="3" y="1"/>
                    <a:pt x="2" y="3"/>
                  </a:cubicBezTo>
                  <a:cubicBezTo>
                    <a:pt x="0" y="6"/>
                    <a:pt x="1" y="10"/>
                    <a:pt x="4" y="12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4" y="105"/>
                    <a:pt x="4" y="105"/>
                    <a:pt x="4" y="105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11"/>
                    <a:pt x="1" y="111"/>
                    <a:pt x="1" y="111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1" y="113"/>
                    <a:pt x="1" y="113"/>
                    <a:pt x="1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4"/>
                    <a:pt x="2" y="114"/>
                    <a:pt x="3" y="114"/>
                  </a:cubicBezTo>
                  <a:cubicBezTo>
                    <a:pt x="3" y="114"/>
                    <a:pt x="3" y="114"/>
                    <a:pt x="3" y="114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78" y="161"/>
                    <a:pt x="78" y="161"/>
                    <a:pt x="78" y="161"/>
                  </a:cubicBezTo>
                  <a:cubicBezTo>
                    <a:pt x="4" y="208"/>
                    <a:pt x="4" y="208"/>
                    <a:pt x="4" y="208"/>
                  </a:cubicBezTo>
                  <a:cubicBezTo>
                    <a:pt x="1" y="210"/>
                    <a:pt x="0" y="213"/>
                    <a:pt x="2" y="216"/>
                  </a:cubicBezTo>
                  <a:cubicBezTo>
                    <a:pt x="3" y="218"/>
                    <a:pt x="5" y="219"/>
                    <a:pt x="7" y="219"/>
                  </a:cubicBezTo>
                  <a:cubicBezTo>
                    <a:pt x="8" y="219"/>
                    <a:pt x="9" y="219"/>
                    <a:pt x="10" y="218"/>
                  </a:cubicBezTo>
                  <a:cubicBezTo>
                    <a:pt x="89" y="169"/>
                    <a:pt x="89" y="169"/>
                    <a:pt x="89" y="169"/>
                  </a:cubicBezTo>
                  <a:cubicBezTo>
                    <a:pt x="168" y="218"/>
                    <a:pt x="168" y="218"/>
                    <a:pt x="168" y="218"/>
                  </a:cubicBezTo>
                  <a:cubicBezTo>
                    <a:pt x="169" y="219"/>
                    <a:pt x="170" y="219"/>
                    <a:pt x="171" y="219"/>
                  </a:cubicBezTo>
                  <a:cubicBezTo>
                    <a:pt x="173" y="219"/>
                    <a:pt x="175" y="218"/>
                    <a:pt x="176" y="216"/>
                  </a:cubicBezTo>
                  <a:cubicBezTo>
                    <a:pt x="178" y="213"/>
                    <a:pt x="177" y="210"/>
                    <a:pt x="174" y="208"/>
                  </a:cubicBezTo>
                  <a:close/>
                  <a:moveTo>
                    <a:pt x="18" y="110"/>
                  </a:moveTo>
                  <a:cubicBezTo>
                    <a:pt x="89" y="65"/>
                    <a:pt x="89" y="65"/>
                    <a:pt x="89" y="65"/>
                  </a:cubicBezTo>
                  <a:cubicBezTo>
                    <a:pt x="160" y="110"/>
                    <a:pt x="160" y="110"/>
                    <a:pt x="160" y="110"/>
                  </a:cubicBezTo>
                  <a:cubicBezTo>
                    <a:pt x="89" y="154"/>
                    <a:pt x="89" y="154"/>
                    <a:pt x="89" y="154"/>
                  </a:cubicBezTo>
                  <a:lnTo>
                    <a:pt x="18" y="11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46"/>
            <p:cNvSpPr>
              <a:spLocks/>
            </p:cNvSpPr>
            <p:nvPr/>
          </p:nvSpPr>
          <p:spPr bwMode="gray">
            <a:xfrm>
              <a:off x="8642650" y="5386708"/>
              <a:ext cx="346075" cy="112712"/>
            </a:xfrm>
            <a:custGeom>
              <a:avLst/>
              <a:gdLst>
                <a:gd name="T0" fmla="*/ 250 w 250"/>
                <a:gd name="T1" fmla="*/ 72 h 81"/>
                <a:gd name="T2" fmla="*/ 241 w 250"/>
                <a:gd name="T3" fmla="*/ 81 h 81"/>
                <a:gd name="T4" fmla="*/ 9 w 250"/>
                <a:gd name="T5" fmla="*/ 81 h 81"/>
                <a:gd name="T6" fmla="*/ 0 w 250"/>
                <a:gd name="T7" fmla="*/ 72 h 81"/>
                <a:gd name="T8" fmla="*/ 0 w 250"/>
                <a:gd name="T9" fmla="*/ 9 h 81"/>
                <a:gd name="T10" fmla="*/ 9 w 250"/>
                <a:gd name="T11" fmla="*/ 0 h 81"/>
                <a:gd name="T12" fmla="*/ 241 w 250"/>
                <a:gd name="T13" fmla="*/ 0 h 81"/>
                <a:gd name="T14" fmla="*/ 250 w 250"/>
                <a:gd name="T15" fmla="*/ 9 h 81"/>
                <a:gd name="T16" fmla="*/ 250 w 250"/>
                <a:gd name="T17" fmla="*/ 7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81">
                  <a:moveTo>
                    <a:pt x="250" y="72"/>
                  </a:moveTo>
                  <a:cubicBezTo>
                    <a:pt x="250" y="77"/>
                    <a:pt x="246" y="81"/>
                    <a:pt x="241" y="81"/>
                  </a:cubicBezTo>
                  <a:cubicBezTo>
                    <a:pt x="9" y="81"/>
                    <a:pt x="9" y="81"/>
                    <a:pt x="9" y="81"/>
                  </a:cubicBezTo>
                  <a:cubicBezTo>
                    <a:pt x="4" y="81"/>
                    <a:pt x="0" y="77"/>
                    <a:pt x="0" y="72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lnTo>
                    <a:pt x="250" y="7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47"/>
            <p:cNvSpPr>
              <a:spLocks/>
            </p:cNvSpPr>
            <p:nvPr/>
          </p:nvSpPr>
          <p:spPr bwMode="gray">
            <a:xfrm>
              <a:off x="8642650" y="5405758"/>
              <a:ext cx="327025" cy="93662"/>
            </a:xfrm>
            <a:custGeom>
              <a:avLst/>
              <a:gdLst>
                <a:gd name="T0" fmla="*/ 22 w 236"/>
                <a:gd name="T1" fmla="*/ 55 h 68"/>
                <a:gd name="T2" fmla="*/ 14 w 236"/>
                <a:gd name="T3" fmla="*/ 46 h 68"/>
                <a:gd name="T4" fmla="*/ 14 w 236"/>
                <a:gd name="T5" fmla="*/ 0 h 68"/>
                <a:gd name="T6" fmla="*/ 0 w 236"/>
                <a:gd name="T7" fmla="*/ 0 h 68"/>
                <a:gd name="T8" fmla="*/ 0 w 236"/>
                <a:gd name="T9" fmla="*/ 59 h 68"/>
                <a:gd name="T10" fmla="*/ 9 w 236"/>
                <a:gd name="T11" fmla="*/ 68 h 68"/>
                <a:gd name="T12" fmla="*/ 236 w 236"/>
                <a:gd name="T13" fmla="*/ 68 h 68"/>
                <a:gd name="T14" fmla="*/ 236 w 236"/>
                <a:gd name="T15" fmla="*/ 55 h 68"/>
                <a:gd name="T16" fmla="*/ 22 w 236"/>
                <a:gd name="T17" fmla="*/ 55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6" h="68">
                  <a:moveTo>
                    <a:pt x="22" y="55"/>
                  </a:moveTo>
                  <a:cubicBezTo>
                    <a:pt x="17" y="55"/>
                    <a:pt x="14" y="51"/>
                    <a:pt x="14" y="46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64"/>
                    <a:pt x="4" y="68"/>
                    <a:pt x="9" y="68"/>
                  </a:cubicBezTo>
                  <a:cubicBezTo>
                    <a:pt x="236" y="68"/>
                    <a:pt x="236" y="68"/>
                    <a:pt x="236" y="68"/>
                  </a:cubicBezTo>
                  <a:cubicBezTo>
                    <a:pt x="236" y="55"/>
                    <a:pt x="236" y="55"/>
                    <a:pt x="236" y="55"/>
                  </a:cubicBezTo>
                  <a:lnTo>
                    <a:pt x="22" y="55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48"/>
            <p:cNvSpPr>
              <a:spLocks/>
            </p:cNvSpPr>
            <p:nvPr/>
          </p:nvSpPr>
          <p:spPr bwMode="gray">
            <a:xfrm>
              <a:off x="8642650" y="5386708"/>
              <a:ext cx="346075" cy="112712"/>
            </a:xfrm>
            <a:custGeom>
              <a:avLst/>
              <a:gdLst>
                <a:gd name="T0" fmla="*/ 241 w 250"/>
                <a:gd name="T1" fmla="*/ 81 h 81"/>
                <a:gd name="T2" fmla="*/ 236 w 250"/>
                <a:gd name="T3" fmla="*/ 81 h 81"/>
                <a:gd name="T4" fmla="*/ 236 w 250"/>
                <a:gd name="T5" fmla="*/ 22 h 81"/>
                <a:gd name="T6" fmla="*/ 228 w 250"/>
                <a:gd name="T7" fmla="*/ 13 h 81"/>
                <a:gd name="T8" fmla="*/ 0 w 250"/>
                <a:gd name="T9" fmla="*/ 13 h 81"/>
                <a:gd name="T10" fmla="*/ 0 w 250"/>
                <a:gd name="T11" fmla="*/ 9 h 81"/>
                <a:gd name="T12" fmla="*/ 9 w 250"/>
                <a:gd name="T13" fmla="*/ 0 h 81"/>
                <a:gd name="T14" fmla="*/ 241 w 250"/>
                <a:gd name="T15" fmla="*/ 0 h 81"/>
                <a:gd name="T16" fmla="*/ 250 w 250"/>
                <a:gd name="T17" fmla="*/ 9 h 81"/>
                <a:gd name="T18" fmla="*/ 250 w 250"/>
                <a:gd name="T19" fmla="*/ 72 h 81"/>
                <a:gd name="T20" fmla="*/ 241 w 250"/>
                <a:gd name="T21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" h="81">
                  <a:moveTo>
                    <a:pt x="241" y="81"/>
                  </a:moveTo>
                  <a:cubicBezTo>
                    <a:pt x="236" y="81"/>
                    <a:pt x="236" y="81"/>
                    <a:pt x="236" y="81"/>
                  </a:cubicBezTo>
                  <a:cubicBezTo>
                    <a:pt x="236" y="22"/>
                    <a:pt x="236" y="22"/>
                    <a:pt x="236" y="22"/>
                  </a:cubicBezTo>
                  <a:cubicBezTo>
                    <a:pt x="236" y="17"/>
                    <a:pt x="232" y="13"/>
                    <a:pt x="228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cubicBezTo>
                    <a:pt x="250" y="72"/>
                    <a:pt x="250" y="72"/>
                    <a:pt x="250" y="72"/>
                  </a:cubicBezTo>
                  <a:cubicBezTo>
                    <a:pt x="250" y="77"/>
                    <a:pt x="246" y="81"/>
                    <a:pt x="241" y="8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Oval 49"/>
            <p:cNvSpPr>
              <a:spLocks noChangeArrowheads="1"/>
            </p:cNvSpPr>
            <p:nvPr/>
          </p:nvSpPr>
          <p:spPr bwMode="gray">
            <a:xfrm>
              <a:off x="8674400" y="5454970"/>
              <a:ext cx="87313" cy="873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Oval 50"/>
            <p:cNvSpPr>
              <a:spLocks noChangeArrowheads="1"/>
            </p:cNvSpPr>
            <p:nvPr/>
          </p:nvSpPr>
          <p:spPr bwMode="gray">
            <a:xfrm>
              <a:off x="8693450" y="5474020"/>
              <a:ext cx="49213" cy="49212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51"/>
            <p:cNvSpPr>
              <a:spLocks/>
            </p:cNvSpPr>
            <p:nvPr/>
          </p:nvSpPr>
          <p:spPr bwMode="gray">
            <a:xfrm>
              <a:off x="8693450" y="5480370"/>
              <a:ext cx="42863" cy="42862"/>
            </a:xfrm>
            <a:custGeom>
              <a:avLst/>
              <a:gdLst>
                <a:gd name="T0" fmla="*/ 18 w 31"/>
                <a:gd name="T1" fmla="*/ 31 h 31"/>
                <a:gd name="T2" fmla="*/ 31 w 31"/>
                <a:gd name="T3" fmla="*/ 26 h 31"/>
                <a:gd name="T4" fmla="*/ 6 w 31"/>
                <a:gd name="T5" fmla="*/ 0 h 31"/>
                <a:gd name="T6" fmla="*/ 0 w 31"/>
                <a:gd name="T7" fmla="*/ 13 h 31"/>
                <a:gd name="T8" fmla="*/ 18 w 31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18" y="31"/>
                  </a:moveTo>
                  <a:cubicBezTo>
                    <a:pt x="23" y="31"/>
                    <a:pt x="28" y="29"/>
                    <a:pt x="31" y="2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4"/>
                    <a:pt x="0" y="8"/>
                    <a:pt x="0" y="13"/>
                  </a:cubicBezTo>
                  <a:cubicBezTo>
                    <a:pt x="0" y="23"/>
                    <a:pt x="8" y="31"/>
                    <a:pt x="18" y="3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Oval 52"/>
            <p:cNvSpPr>
              <a:spLocks noChangeArrowheads="1"/>
            </p:cNvSpPr>
            <p:nvPr/>
          </p:nvSpPr>
          <p:spPr bwMode="gray">
            <a:xfrm>
              <a:off x="8869662" y="5454970"/>
              <a:ext cx="87313" cy="873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Oval 53"/>
            <p:cNvSpPr>
              <a:spLocks noChangeArrowheads="1"/>
            </p:cNvSpPr>
            <p:nvPr/>
          </p:nvSpPr>
          <p:spPr bwMode="gray">
            <a:xfrm>
              <a:off x="8887125" y="5474020"/>
              <a:ext cx="50800" cy="49212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54"/>
            <p:cNvSpPr>
              <a:spLocks/>
            </p:cNvSpPr>
            <p:nvPr/>
          </p:nvSpPr>
          <p:spPr bwMode="gray">
            <a:xfrm>
              <a:off x="8887125" y="5480370"/>
              <a:ext cx="42863" cy="42862"/>
            </a:xfrm>
            <a:custGeom>
              <a:avLst/>
              <a:gdLst>
                <a:gd name="T0" fmla="*/ 18 w 31"/>
                <a:gd name="T1" fmla="*/ 31 h 31"/>
                <a:gd name="T2" fmla="*/ 31 w 31"/>
                <a:gd name="T3" fmla="*/ 26 h 31"/>
                <a:gd name="T4" fmla="*/ 6 w 31"/>
                <a:gd name="T5" fmla="*/ 0 h 31"/>
                <a:gd name="T6" fmla="*/ 0 w 31"/>
                <a:gd name="T7" fmla="*/ 13 h 31"/>
                <a:gd name="T8" fmla="*/ 18 w 31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18" y="31"/>
                  </a:moveTo>
                  <a:cubicBezTo>
                    <a:pt x="23" y="31"/>
                    <a:pt x="28" y="29"/>
                    <a:pt x="31" y="2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4"/>
                    <a:pt x="0" y="8"/>
                    <a:pt x="0" y="13"/>
                  </a:cubicBezTo>
                  <a:cubicBezTo>
                    <a:pt x="0" y="23"/>
                    <a:pt x="8" y="31"/>
                    <a:pt x="18" y="3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55"/>
            <p:cNvSpPr>
              <a:spLocks noEditPoints="1"/>
            </p:cNvSpPr>
            <p:nvPr/>
          </p:nvSpPr>
          <p:spPr bwMode="gray">
            <a:xfrm>
              <a:off x="8631537" y="4907283"/>
              <a:ext cx="368300" cy="223837"/>
            </a:xfrm>
            <a:custGeom>
              <a:avLst/>
              <a:gdLst>
                <a:gd name="T0" fmla="*/ 258 w 266"/>
                <a:gd name="T1" fmla="*/ 0 h 163"/>
                <a:gd name="T2" fmla="*/ 8 w 266"/>
                <a:gd name="T3" fmla="*/ 0 h 163"/>
                <a:gd name="T4" fmla="*/ 0 w 266"/>
                <a:gd name="T5" fmla="*/ 8 h 163"/>
                <a:gd name="T6" fmla="*/ 8 w 266"/>
                <a:gd name="T7" fmla="*/ 16 h 163"/>
                <a:gd name="T8" fmla="*/ 23 w 266"/>
                <a:gd name="T9" fmla="*/ 16 h 163"/>
                <a:gd name="T10" fmla="*/ 23 w 266"/>
                <a:gd name="T11" fmla="*/ 102 h 163"/>
                <a:gd name="T12" fmla="*/ 17 w 266"/>
                <a:gd name="T13" fmla="*/ 102 h 163"/>
                <a:gd name="T14" fmla="*/ 8 w 266"/>
                <a:gd name="T15" fmla="*/ 111 h 163"/>
                <a:gd name="T16" fmla="*/ 8 w 266"/>
                <a:gd name="T17" fmla="*/ 155 h 163"/>
                <a:gd name="T18" fmla="*/ 17 w 266"/>
                <a:gd name="T19" fmla="*/ 163 h 163"/>
                <a:gd name="T20" fmla="*/ 249 w 266"/>
                <a:gd name="T21" fmla="*/ 163 h 163"/>
                <a:gd name="T22" fmla="*/ 258 w 266"/>
                <a:gd name="T23" fmla="*/ 155 h 163"/>
                <a:gd name="T24" fmla="*/ 258 w 266"/>
                <a:gd name="T25" fmla="*/ 111 h 163"/>
                <a:gd name="T26" fmla="*/ 249 w 266"/>
                <a:gd name="T27" fmla="*/ 102 h 163"/>
                <a:gd name="T28" fmla="*/ 243 w 266"/>
                <a:gd name="T29" fmla="*/ 102 h 163"/>
                <a:gd name="T30" fmla="*/ 243 w 266"/>
                <a:gd name="T31" fmla="*/ 16 h 163"/>
                <a:gd name="T32" fmla="*/ 258 w 266"/>
                <a:gd name="T33" fmla="*/ 16 h 163"/>
                <a:gd name="T34" fmla="*/ 266 w 266"/>
                <a:gd name="T35" fmla="*/ 8 h 163"/>
                <a:gd name="T36" fmla="*/ 258 w 266"/>
                <a:gd name="T37" fmla="*/ 0 h 163"/>
                <a:gd name="T38" fmla="*/ 189 w 266"/>
                <a:gd name="T39" fmla="*/ 16 h 163"/>
                <a:gd name="T40" fmla="*/ 189 w 266"/>
                <a:gd name="T41" fmla="*/ 102 h 163"/>
                <a:gd name="T42" fmla="*/ 160 w 266"/>
                <a:gd name="T43" fmla="*/ 102 h 163"/>
                <a:gd name="T44" fmla="*/ 160 w 266"/>
                <a:gd name="T45" fmla="*/ 16 h 163"/>
                <a:gd name="T46" fmla="*/ 189 w 266"/>
                <a:gd name="T47" fmla="*/ 16 h 163"/>
                <a:gd name="T48" fmla="*/ 148 w 266"/>
                <a:gd name="T49" fmla="*/ 16 h 163"/>
                <a:gd name="T50" fmla="*/ 148 w 266"/>
                <a:gd name="T51" fmla="*/ 102 h 163"/>
                <a:gd name="T52" fmla="*/ 118 w 266"/>
                <a:gd name="T53" fmla="*/ 102 h 163"/>
                <a:gd name="T54" fmla="*/ 118 w 266"/>
                <a:gd name="T55" fmla="*/ 16 h 163"/>
                <a:gd name="T56" fmla="*/ 148 w 266"/>
                <a:gd name="T57" fmla="*/ 16 h 163"/>
                <a:gd name="T58" fmla="*/ 106 w 266"/>
                <a:gd name="T59" fmla="*/ 16 h 163"/>
                <a:gd name="T60" fmla="*/ 106 w 266"/>
                <a:gd name="T61" fmla="*/ 102 h 163"/>
                <a:gd name="T62" fmla="*/ 77 w 266"/>
                <a:gd name="T63" fmla="*/ 102 h 163"/>
                <a:gd name="T64" fmla="*/ 77 w 266"/>
                <a:gd name="T65" fmla="*/ 16 h 163"/>
                <a:gd name="T66" fmla="*/ 106 w 266"/>
                <a:gd name="T67" fmla="*/ 16 h 163"/>
                <a:gd name="T68" fmla="*/ 35 w 266"/>
                <a:gd name="T69" fmla="*/ 16 h 163"/>
                <a:gd name="T70" fmla="*/ 65 w 266"/>
                <a:gd name="T71" fmla="*/ 16 h 163"/>
                <a:gd name="T72" fmla="*/ 65 w 266"/>
                <a:gd name="T73" fmla="*/ 102 h 163"/>
                <a:gd name="T74" fmla="*/ 35 w 266"/>
                <a:gd name="T75" fmla="*/ 102 h 163"/>
                <a:gd name="T76" fmla="*/ 35 w 266"/>
                <a:gd name="T77" fmla="*/ 16 h 163"/>
                <a:gd name="T78" fmla="*/ 201 w 266"/>
                <a:gd name="T79" fmla="*/ 102 h 163"/>
                <a:gd name="T80" fmla="*/ 201 w 266"/>
                <a:gd name="T81" fmla="*/ 16 h 163"/>
                <a:gd name="T82" fmla="*/ 231 w 266"/>
                <a:gd name="T83" fmla="*/ 16 h 163"/>
                <a:gd name="T84" fmla="*/ 231 w 266"/>
                <a:gd name="T85" fmla="*/ 102 h 163"/>
                <a:gd name="T86" fmla="*/ 201 w 266"/>
                <a:gd name="T87" fmla="*/ 102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66" h="163">
                  <a:moveTo>
                    <a:pt x="25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3"/>
                    <a:pt x="4" y="16"/>
                    <a:pt x="8" y="16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3" y="102"/>
                    <a:pt x="23" y="102"/>
                    <a:pt x="23" y="102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2" y="102"/>
                    <a:pt x="8" y="106"/>
                    <a:pt x="8" y="111"/>
                  </a:cubicBezTo>
                  <a:cubicBezTo>
                    <a:pt x="8" y="155"/>
                    <a:pt x="8" y="155"/>
                    <a:pt x="8" y="155"/>
                  </a:cubicBezTo>
                  <a:cubicBezTo>
                    <a:pt x="8" y="160"/>
                    <a:pt x="12" y="163"/>
                    <a:pt x="17" y="163"/>
                  </a:cubicBezTo>
                  <a:cubicBezTo>
                    <a:pt x="249" y="163"/>
                    <a:pt x="249" y="163"/>
                    <a:pt x="249" y="163"/>
                  </a:cubicBezTo>
                  <a:cubicBezTo>
                    <a:pt x="254" y="163"/>
                    <a:pt x="258" y="160"/>
                    <a:pt x="258" y="155"/>
                  </a:cubicBezTo>
                  <a:cubicBezTo>
                    <a:pt x="258" y="111"/>
                    <a:pt x="258" y="111"/>
                    <a:pt x="258" y="111"/>
                  </a:cubicBezTo>
                  <a:cubicBezTo>
                    <a:pt x="258" y="106"/>
                    <a:pt x="254" y="102"/>
                    <a:pt x="249" y="102"/>
                  </a:cubicBezTo>
                  <a:cubicBezTo>
                    <a:pt x="243" y="102"/>
                    <a:pt x="243" y="102"/>
                    <a:pt x="243" y="102"/>
                  </a:cubicBezTo>
                  <a:cubicBezTo>
                    <a:pt x="243" y="16"/>
                    <a:pt x="243" y="16"/>
                    <a:pt x="243" y="16"/>
                  </a:cubicBezTo>
                  <a:cubicBezTo>
                    <a:pt x="258" y="16"/>
                    <a:pt x="258" y="16"/>
                    <a:pt x="258" y="16"/>
                  </a:cubicBezTo>
                  <a:cubicBezTo>
                    <a:pt x="262" y="16"/>
                    <a:pt x="266" y="13"/>
                    <a:pt x="266" y="8"/>
                  </a:cubicBezTo>
                  <a:cubicBezTo>
                    <a:pt x="266" y="4"/>
                    <a:pt x="262" y="0"/>
                    <a:pt x="258" y="0"/>
                  </a:cubicBezTo>
                  <a:close/>
                  <a:moveTo>
                    <a:pt x="189" y="16"/>
                  </a:moveTo>
                  <a:cubicBezTo>
                    <a:pt x="189" y="102"/>
                    <a:pt x="189" y="102"/>
                    <a:pt x="189" y="102"/>
                  </a:cubicBezTo>
                  <a:cubicBezTo>
                    <a:pt x="160" y="102"/>
                    <a:pt x="160" y="102"/>
                    <a:pt x="160" y="102"/>
                  </a:cubicBezTo>
                  <a:cubicBezTo>
                    <a:pt x="160" y="16"/>
                    <a:pt x="160" y="16"/>
                    <a:pt x="160" y="16"/>
                  </a:cubicBezTo>
                  <a:lnTo>
                    <a:pt x="189" y="16"/>
                  </a:lnTo>
                  <a:close/>
                  <a:moveTo>
                    <a:pt x="148" y="16"/>
                  </a:moveTo>
                  <a:cubicBezTo>
                    <a:pt x="148" y="102"/>
                    <a:pt x="148" y="102"/>
                    <a:pt x="148" y="102"/>
                  </a:cubicBezTo>
                  <a:cubicBezTo>
                    <a:pt x="118" y="102"/>
                    <a:pt x="118" y="102"/>
                    <a:pt x="118" y="102"/>
                  </a:cubicBezTo>
                  <a:cubicBezTo>
                    <a:pt x="118" y="16"/>
                    <a:pt x="118" y="16"/>
                    <a:pt x="118" y="16"/>
                  </a:cubicBezTo>
                  <a:lnTo>
                    <a:pt x="148" y="16"/>
                  </a:lnTo>
                  <a:close/>
                  <a:moveTo>
                    <a:pt x="106" y="16"/>
                  </a:moveTo>
                  <a:cubicBezTo>
                    <a:pt x="106" y="102"/>
                    <a:pt x="106" y="102"/>
                    <a:pt x="106" y="102"/>
                  </a:cubicBezTo>
                  <a:cubicBezTo>
                    <a:pt x="77" y="102"/>
                    <a:pt x="77" y="102"/>
                    <a:pt x="77" y="102"/>
                  </a:cubicBezTo>
                  <a:cubicBezTo>
                    <a:pt x="77" y="16"/>
                    <a:pt x="77" y="16"/>
                    <a:pt x="77" y="16"/>
                  </a:cubicBezTo>
                  <a:lnTo>
                    <a:pt x="106" y="16"/>
                  </a:lnTo>
                  <a:close/>
                  <a:moveTo>
                    <a:pt x="35" y="16"/>
                  </a:moveTo>
                  <a:cubicBezTo>
                    <a:pt x="65" y="16"/>
                    <a:pt x="65" y="16"/>
                    <a:pt x="65" y="16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35" y="102"/>
                    <a:pt x="35" y="102"/>
                    <a:pt x="35" y="102"/>
                  </a:cubicBezTo>
                  <a:lnTo>
                    <a:pt x="35" y="16"/>
                  </a:lnTo>
                  <a:close/>
                  <a:moveTo>
                    <a:pt x="201" y="102"/>
                  </a:moveTo>
                  <a:cubicBezTo>
                    <a:pt x="201" y="16"/>
                    <a:pt x="201" y="16"/>
                    <a:pt x="201" y="16"/>
                  </a:cubicBezTo>
                  <a:cubicBezTo>
                    <a:pt x="231" y="16"/>
                    <a:pt x="231" y="16"/>
                    <a:pt x="231" y="16"/>
                  </a:cubicBezTo>
                  <a:cubicBezTo>
                    <a:pt x="231" y="102"/>
                    <a:pt x="231" y="102"/>
                    <a:pt x="231" y="102"/>
                  </a:cubicBezTo>
                  <a:lnTo>
                    <a:pt x="201" y="10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56"/>
            <p:cNvSpPr>
              <a:spLocks/>
            </p:cNvSpPr>
            <p:nvPr/>
          </p:nvSpPr>
          <p:spPr bwMode="gray">
            <a:xfrm>
              <a:off x="8642650" y="5067620"/>
              <a:ext cx="327025" cy="63500"/>
            </a:xfrm>
            <a:custGeom>
              <a:avLst/>
              <a:gdLst>
                <a:gd name="T0" fmla="*/ 22 w 236"/>
                <a:gd name="T1" fmla="*/ 34 h 47"/>
                <a:gd name="T2" fmla="*/ 14 w 236"/>
                <a:gd name="T3" fmla="*/ 25 h 47"/>
                <a:gd name="T4" fmla="*/ 14 w 236"/>
                <a:gd name="T5" fmla="*/ 0 h 47"/>
                <a:gd name="T6" fmla="*/ 0 w 236"/>
                <a:gd name="T7" fmla="*/ 0 h 47"/>
                <a:gd name="T8" fmla="*/ 0 w 236"/>
                <a:gd name="T9" fmla="*/ 39 h 47"/>
                <a:gd name="T10" fmla="*/ 9 w 236"/>
                <a:gd name="T11" fmla="*/ 47 h 47"/>
                <a:gd name="T12" fmla="*/ 236 w 236"/>
                <a:gd name="T13" fmla="*/ 47 h 47"/>
                <a:gd name="T14" fmla="*/ 236 w 236"/>
                <a:gd name="T15" fmla="*/ 34 h 47"/>
                <a:gd name="T16" fmla="*/ 22 w 236"/>
                <a:gd name="T17" fmla="*/ 34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6" h="47">
                  <a:moveTo>
                    <a:pt x="22" y="34"/>
                  </a:moveTo>
                  <a:cubicBezTo>
                    <a:pt x="17" y="34"/>
                    <a:pt x="14" y="30"/>
                    <a:pt x="14" y="2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4"/>
                    <a:pt x="4" y="47"/>
                    <a:pt x="9" y="47"/>
                  </a:cubicBezTo>
                  <a:cubicBezTo>
                    <a:pt x="236" y="47"/>
                    <a:pt x="236" y="47"/>
                    <a:pt x="236" y="47"/>
                  </a:cubicBezTo>
                  <a:cubicBezTo>
                    <a:pt x="236" y="34"/>
                    <a:pt x="236" y="34"/>
                    <a:pt x="236" y="34"/>
                  </a:cubicBezTo>
                  <a:lnTo>
                    <a:pt x="22" y="34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57"/>
            <p:cNvSpPr>
              <a:spLocks/>
            </p:cNvSpPr>
            <p:nvPr/>
          </p:nvSpPr>
          <p:spPr bwMode="gray">
            <a:xfrm>
              <a:off x="8642650" y="5046983"/>
              <a:ext cx="346075" cy="84137"/>
            </a:xfrm>
            <a:custGeom>
              <a:avLst/>
              <a:gdLst>
                <a:gd name="T0" fmla="*/ 241 w 250"/>
                <a:gd name="T1" fmla="*/ 61 h 61"/>
                <a:gd name="T2" fmla="*/ 236 w 250"/>
                <a:gd name="T3" fmla="*/ 61 h 61"/>
                <a:gd name="T4" fmla="*/ 236 w 250"/>
                <a:gd name="T5" fmla="*/ 22 h 61"/>
                <a:gd name="T6" fmla="*/ 228 w 250"/>
                <a:gd name="T7" fmla="*/ 14 h 61"/>
                <a:gd name="T8" fmla="*/ 0 w 250"/>
                <a:gd name="T9" fmla="*/ 14 h 61"/>
                <a:gd name="T10" fmla="*/ 0 w 250"/>
                <a:gd name="T11" fmla="*/ 9 h 61"/>
                <a:gd name="T12" fmla="*/ 9 w 250"/>
                <a:gd name="T13" fmla="*/ 0 h 61"/>
                <a:gd name="T14" fmla="*/ 241 w 250"/>
                <a:gd name="T15" fmla="*/ 0 h 61"/>
                <a:gd name="T16" fmla="*/ 250 w 250"/>
                <a:gd name="T17" fmla="*/ 9 h 61"/>
                <a:gd name="T18" fmla="*/ 250 w 250"/>
                <a:gd name="T19" fmla="*/ 53 h 61"/>
                <a:gd name="T20" fmla="*/ 241 w 250"/>
                <a:gd name="T2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" h="61">
                  <a:moveTo>
                    <a:pt x="241" y="61"/>
                  </a:moveTo>
                  <a:cubicBezTo>
                    <a:pt x="236" y="61"/>
                    <a:pt x="236" y="61"/>
                    <a:pt x="236" y="61"/>
                  </a:cubicBezTo>
                  <a:cubicBezTo>
                    <a:pt x="236" y="22"/>
                    <a:pt x="236" y="22"/>
                    <a:pt x="236" y="22"/>
                  </a:cubicBezTo>
                  <a:cubicBezTo>
                    <a:pt x="236" y="18"/>
                    <a:pt x="232" y="14"/>
                    <a:pt x="228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cubicBezTo>
                    <a:pt x="250" y="53"/>
                    <a:pt x="250" y="53"/>
                    <a:pt x="250" y="53"/>
                  </a:cubicBezTo>
                  <a:cubicBezTo>
                    <a:pt x="250" y="58"/>
                    <a:pt x="246" y="61"/>
                    <a:pt x="241" y="6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58"/>
            <p:cNvSpPr>
              <a:spLocks/>
            </p:cNvSpPr>
            <p:nvPr/>
          </p:nvSpPr>
          <p:spPr bwMode="gray">
            <a:xfrm>
              <a:off x="10792125" y="4919983"/>
              <a:ext cx="61913" cy="311150"/>
            </a:xfrm>
            <a:custGeom>
              <a:avLst/>
              <a:gdLst>
                <a:gd name="T0" fmla="*/ 39 w 45"/>
                <a:gd name="T1" fmla="*/ 180 h 226"/>
                <a:gd name="T2" fmla="*/ 33 w 45"/>
                <a:gd name="T3" fmla="*/ 180 h 226"/>
                <a:gd name="T4" fmla="*/ 33 w 45"/>
                <a:gd name="T5" fmla="*/ 0 h 226"/>
                <a:gd name="T6" fmla="*/ 12 w 45"/>
                <a:gd name="T7" fmla="*/ 0 h 226"/>
                <a:gd name="T8" fmla="*/ 12 w 45"/>
                <a:gd name="T9" fmla="*/ 180 h 226"/>
                <a:gd name="T10" fmla="*/ 5 w 45"/>
                <a:gd name="T11" fmla="*/ 180 h 226"/>
                <a:gd name="T12" fmla="*/ 0 w 45"/>
                <a:gd name="T13" fmla="*/ 186 h 226"/>
                <a:gd name="T14" fmla="*/ 0 w 45"/>
                <a:gd name="T15" fmla="*/ 226 h 226"/>
                <a:gd name="T16" fmla="*/ 45 w 45"/>
                <a:gd name="T17" fmla="*/ 226 h 226"/>
                <a:gd name="T18" fmla="*/ 45 w 45"/>
                <a:gd name="T19" fmla="*/ 186 h 226"/>
                <a:gd name="T20" fmla="*/ 39 w 45"/>
                <a:gd name="T21" fmla="*/ 18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" h="226">
                  <a:moveTo>
                    <a:pt x="39" y="180"/>
                  </a:moveTo>
                  <a:cubicBezTo>
                    <a:pt x="33" y="180"/>
                    <a:pt x="33" y="180"/>
                    <a:pt x="33" y="18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80"/>
                    <a:pt x="12" y="180"/>
                    <a:pt x="12" y="180"/>
                  </a:cubicBezTo>
                  <a:cubicBezTo>
                    <a:pt x="5" y="180"/>
                    <a:pt x="5" y="180"/>
                    <a:pt x="5" y="180"/>
                  </a:cubicBezTo>
                  <a:cubicBezTo>
                    <a:pt x="2" y="180"/>
                    <a:pt x="0" y="182"/>
                    <a:pt x="0" y="186"/>
                  </a:cubicBezTo>
                  <a:cubicBezTo>
                    <a:pt x="0" y="226"/>
                    <a:pt x="0" y="226"/>
                    <a:pt x="0" y="226"/>
                  </a:cubicBezTo>
                  <a:cubicBezTo>
                    <a:pt x="45" y="226"/>
                    <a:pt x="45" y="226"/>
                    <a:pt x="45" y="226"/>
                  </a:cubicBezTo>
                  <a:cubicBezTo>
                    <a:pt x="45" y="186"/>
                    <a:pt x="45" y="186"/>
                    <a:pt x="45" y="186"/>
                  </a:cubicBezTo>
                  <a:cubicBezTo>
                    <a:pt x="45" y="182"/>
                    <a:pt x="42" y="180"/>
                    <a:pt x="39" y="180"/>
                  </a:cubicBezTo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59"/>
            <p:cNvSpPr>
              <a:spLocks/>
            </p:cNvSpPr>
            <p:nvPr/>
          </p:nvSpPr>
          <p:spPr bwMode="gray">
            <a:xfrm>
              <a:off x="10827050" y="4919983"/>
              <a:ext cx="26988" cy="311150"/>
            </a:xfrm>
            <a:custGeom>
              <a:avLst/>
              <a:gdLst>
                <a:gd name="T0" fmla="*/ 14 w 20"/>
                <a:gd name="T1" fmla="*/ 180 h 226"/>
                <a:gd name="T2" fmla="*/ 8 w 20"/>
                <a:gd name="T3" fmla="*/ 180 h 226"/>
                <a:gd name="T4" fmla="*/ 8 w 20"/>
                <a:gd name="T5" fmla="*/ 0 h 226"/>
                <a:gd name="T6" fmla="*/ 0 w 20"/>
                <a:gd name="T7" fmla="*/ 0 h 226"/>
                <a:gd name="T8" fmla="*/ 0 w 20"/>
                <a:gd name="T9" fmla="*/ 180 h 226"/>
                <a:gd name="T10" fmla="*/ 6 w 20"/>
                <a:gd name="T11" fmla="*/ 180 h 226"/>
                <a:gd name="T12" fmla="*/ 12 w 20"/>
                <a:gd name="T13" fmla="*/ 186 h 226"/>
                <a:gd name="T14" fmla="*/ 12 w 20"/>
                <a:gd name="T15" fmla="*/ 226 h 226"/>
                <a:gd name="T16" fmla="*/ 20 w 20"/>
                <a:gd name="T17" fmla="*/ 226 h 226"/>
                <a:gd name="T18" fmla="*/ 20 w 20"/>
                <a:gd name="T19" fmla="*/ 186 h 226"/>
                <a:gd name="T20" fmla="*/ 14 w 20"/>
                <a:gd name="T21" fmla="*/ 18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26">
                  <a:moveTo>
                    <a:pt x="14" y="180"/>
                  </a:moveTo>
                  <a:cubicBezTo>
                    <a:pt x="8" y="180"/>
                    <a:pt x="8" y="180"/>
                    <a:pt x="8" y="18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6" y="180"/>
                    <a:pt x="6" y="180"/>
                    <a:pt x="6" y="180"/>
                  </a:cubicBezTo>
                  <a:cubicBezTo>
                    <a:pt x="9" y="180"/>
                    <a:pt x="12" y="182"/>
                    <a:pt x="12" y="186"/>
                  </a:cubicBezTo>
                  <a:cubicBezTo>
                    <a:pt x="12" y="226"/>
                    <a:pt x="12" y="226"/>
                    <a:pt x="12" y="226"/>
                  </a:cubicBezTo>
                  <a:cubicBezTo>
                    <a:pt x="20" y="226"/>
                    <a:pt x="20" y="226"/>
                    <a:pt x="20" y="226"/>
                  </a:cubicBezTo>
                  <a:cubicBezTo>
                    <a:pt x="20" y="186"/>
                    <a:pt x="20" y="186"/>
                    <a:pt x="20" y="186"/>
                  </a:cubicBezTo>
                  <a:cubicBezTo>
                    <a:pt x="20" y="182"/>
                    <a:pt x="17" y="180"/>
                    <a:pt x="14" y="180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60"/>
            <p:cNvSpPr>
              <a:spLocks/>
            </p:cNvSpPr>
            <p:nvPr/>
          </p:nvSpPr>
          <p:spPr bwMode="gray">
            <a:xfrm>
              <a:off x="10792125" y="4919983"/>
              <a:ext cx="25400" cy="311150"/>
            </a:xfrm>
            <a:custGeom>
              <a:avLst/>
              <a:gdLst>
                <a:gd name="T0" fmla="*/ 19 w 19"/>
                <a:gd name="T1" fmla="*/ 0 h 226"/>
                <a:gd name="T2" fmla="*/ 12 w 19"/>
                <a:gd name="T3" fmla="*/ 0 h 226"/>
                <a:gd name="T4" fmla="*/ 12 w 19"/>
                <a:gd name="T5" fmla="*/ 180 h 226"/>
                <a:gd name="T6" fmla="*/ 5 w 19"/>
                <a:gd name="T7" fmla="*/ 180 h 226"/>
                <a:gd name="T8" fmla="*/ 0 w 19"/>
                <a:gd name="T9" fmla="*/ 186 h 226"/>
                <a:gd name="T10" fmla="*/ 0 w 19"/>
                <a:gd name="T11" fmla="*/ 226 h 226"/>
                <a:gd name="T12" fmla="*/ 7 w 19"/>
                <a:gd name="T13" fmla="*/ 226 h 226"/>
                <a:gd name="T14" fmla="*/ 7 w 19"/>
                <a:gd name="T15" fmla="*/ 186 h 226"/>
                <a:gd name="T16" fmla="*/ 13 w 19"/>
                <a:gd name="T17" fmla="*/ 180 h 226"/>
                <a:gd name="T18" fmla="*/ 19 w 19"/>
                <a:gd name="T19" fmla="*/ 180 h 226"/>
                <a:gd name="T20" fmla="*/ 19 w 19"/>
                <a:gd name="T21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226">
                  <a:moveTo>
                    <a:pt x="19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180"/>
                    <a:pt x="12" y="180"/>
                    <a:pt x="12" y="180"/>
                  </a:cubicBezTo>
                  <a:cubicBezTo>
                    <a:pt x="5" y="180"/>
                    <a:pt x="5" y="180"/>
                    <a:pt x="5" y="180"/>
                  </a:cubicBezTo>
                  <a:cubicBezTo>
                    <a:pt x="2" y="180"/>
                    <a:pt x="0" y="182"/>
                    <a:pt x="0" y="186"/>
                  </a:cubicBezTo>
                  <a:cubicBezTo>
                    <a:pt x="0" y="226"/>
                    <a:pt x="0" y="226"/>
                    <a:pt x="0" y="226"/>
                  </a:cubicBezTo>
                  <a:cubicBezTo>
                    <a:pt x="7" y="226"/>
                    <a:pt x="7" y="226"/>
                    <a:pt x="7" y="226"/>
                  </a:cubicBezTo>
                  <a:cubicBezTo>
                    <a:pt x="7" y="186"/>
                    <a:pt x="7" y="186"/>
                    <a:pt x="7" y="186"/>
                  </a:cubicBezTo>
                  <a:cubicBezTo>
                    <a:pt x="7" y="182"/>
                    <a:pt x="10" y="180"/>
                    <a:pt x="13" y="180"/>
                  </a:cubicBezTo>
                  <a:cubicBezTo>
                    <a:pt x="19" y="180"/>
                    <a:pt x="19" y="180"/>
                    <a:pt x="19" y="180"/>
                  </a:cubicBezTo>
                  <a:cubicBezTo>
                    <a:pt x="19" y="0"/>
                    <a:pt x="19" y="0"/>
                    <a:pt x="19" y="0"/>
                  </a:cubicBezTo>
                </a:path>
              </a:pathLst>
            </a:custGeom>
            <a:solidFill>
              <a:srgbClr val="FFC7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61"/>
            <p:cNvSpPr>
              <a:spLocks/>
            </p:cNvSpPr>
            <p:nvPr/>
          </p:nvSpPr>
          <p:spPr bwMode="gray">
            <a:xfrm>
              <a:off x="10068225" y="4172270"/>
              <a:ext cx="242888" cy="239712"/>
            </a:xfrm>
            <a:custGeom>
              <a:avLst/>
              <a:gdLst>
                <a:gd name="T0" fmla="*/ 153 w 153"/>
                <a:gd name="T1" fmla="*/ 98 h 151"/>
                <a:gd name="T2" fmla="*/ 100 w 153"/>
                <a:gd name="T3" fmla="*/ 151 h 151"/>
                <a:gd name="T4" fmla="*/ 0 w 153"/>
                <a:gd name="T5" fmla="*/ 52 h 151"/>
                <a:gd name="T6" fmla="*/ 53 w 153"/>
                <a:gd name="T7" fmla="*/ 0 h 151"/>
                <a:gd name="T8" fmla="*/ 153 w 153"/>
                <a:gd name="T9" fmla="*/ 98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151">
                  <a:moveTo>
                    <a:pt x="153" y="98"/>
                  </a:moveTo>
                  <a:lnTo>
                    <a:pt x="100" y="151"/>
                  </a:lnTo>
                  <a:lnTo>
                    <a:pt x="0" y="52"/>
                  </a:lnTo>
                  <a:lnTo>
                    <a:pt x="53" y="0"/>
                  </a:lnTo>
                  <a:lnTo>
                    <a:pt x="153" y="98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62"/>
            <p:cNvSpPr>
              <a:spLocks/>
            </p:cNvSpPr>
            <p:nvPr/>
          </p:nvSpPr>
          <p:spPr bwMode="gray">
            <a:xfrm>
              <a:off x="9560225" y="3665858"/>
              <a:ext cx="579438" cy="576262"/>
            </a:xfrm>
            <a:custGeom>
              <a:avLst/>
              <a:gdLst>
                <a:gd name="T0" fmla="*/ 415 w 419"/>
                <a:gd name="T1" fmla="*/ 379 h 419"/>
                <a:gd name="T2" fmla="*/ 415 w 419"/>
                <a:gd name="T3" fmla="*/ 392 h 419"/>
                <a:gd name="T4" fmla="*/ 392 w 419"/>
                <a:gd name="T5" fmla="*/ 415 h 419"/>
                <a:gd name="T6" fmla="*/ 380 w 419"/>
                <a:gd name="T7" fmla="*/ 415 h 419"/>
                <a:gd name="T8" fmla="*/ 3 w 419"/>
                <a:gd name="T9" fmla="*/ 39 h 419"/>
                <a:gd name="T10" fmla="*/ 3 w 419"/>
                <a:gd name="T11" fmla="*/ 27 h 419"/>
                <a:gd name="T12" fmla="*/ 27 w 419"/>
                <a:gd name="T13" fmla="*/ 3 h 419"/>
                <a:gd name="T14" fmla="*/ 39 w 419"/>
                <a:gd name="T15" fmla="*/ 3 h 419"/>
                <a:gd name="T16" fmla="*/ 415 w 419"/>
                <a:gd name="T17" fmla="*/ 37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9" h="419">
                  <a:moveTo>
                    <a:pt x="415" y="379"/>
                  </a:moveTo>
                  <a:cubicBezTo>
                    <a:pt x="419" y="383"/>
                    <a:pt x="419" y="388"/>
                    <a:pt x="415" y="392"/>
                  </a:cubicBezTo>
                  <a:cubicBezTo>
                    <a:pt x="392" y="415"/>
                    <a:pt x="392" y="415"/>
                    <a:pt x="392" y="415"/>
                  </a:cubicBezTo>
                  <a:cubicBezTo>
                    <a:pt x="388" y="419"/>
                    <a:pt x="383" y="419"/>
                    <a:pt x="380" y="415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0" y="35"/>
                    <a:pt x="0" y="30"/>
                    <a:pt x="3" y="27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30" y="0"/>
                    <a:pt x="36" y="0"/>
                    <a:pt x="39" y="3"/>
                  </a:cubicBezTo>
                  <a:lnTo>
                    <a:pt x="415" y="37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63"/>
            <p:cNvSpPr>
              <a:spLocks/>
            </p:cNvSpPr>
            <p:nvPr/>
          </p:nvSpPr>
          <p:spPr bwMode="gray">
            <a:xfrm>
              <a:off x="10185700" y="4288158"/>
              <a:ext cx="1066800" cy="1058862"/>
            </a:xfrm>
            <a:custGeom>
              <a:avLst/>
              <a:gdLst>
                <a:gd name="T0" fmla="*/ 672 w 672"/>
                <a:gd name="T1" fmla="*/ 594 h 667"/>
                <a:gd name="T2" fmla="*/ 597 w 672"/>
                <a:gd name="T3" fmla="*/ 667 h 667"/>
                <a:gd name="T4" fmla="*/ 0 w 672"/>
                <a:gd name="T5" fmla="*/ 74 h 667"/>
                <a:gd name="T6" fmla="*/ 74 w 672"/>
                <a:gd name="T7" fmla="*/ 0 h 667"/>
                <a:gd name="T8" fmla="*/ 672 w 672"/>
                <a:gd name="T9" fmla="*/ 594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2" h="667">
                  <a:moveTo>
                    <a:pt x="672" y="594"/>
                  </a:moveTo>
                  <a:lnTo>
                    <a:pt x="597" y="667"/>
                  </a:lnTo>
                  <a:lnTo>
                    <a:pt x="0" y="74"/>
                  </a:lnTo>
                  <a:lnTo>
                    <a:pt x="74" y="0"/>
                  </a:lnTo>
                  <a:lnTo>
                    <a:pt x="672" y="594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64"/>
            <p:cNvSpPr>
              <a:spLocks/>
            </p:cNvSpPr>
            <p:nvPr/>
          </p:nvSpPr>
          <p:spPr bwMode="gray">
            <a:xfrm>
              <a:off x="10055525" y="4159570"/>
              <a:ext cx="109538" cy="106362"/>
            </a:xfrm>
            <a:custGeom>
              <a:avLst/>
              <a:gdLst>
                <a:gd name="T0" fmla="*/ 9 w 79"/>
                <a:gd name="T1" fmla="*/ 77 h 77"/>
                <a:gd name="T2" fmla="*/ 4 w 79"/>
                <a:gd name="T3" fmla="*/ 75 h 77"/>
                <a:gd name="T4" fmla="*/ 4 w 79"/>
                <a:gd name="T5" fmla="*/ 64 h 77"/>
                <a:gd name="T6" fmla="*/ 64 w 79"/>
                <a:gd name="T7" fmla="*/ 3 h 77"/>
                <a:gd name="T8" fmla="*/ 75 w 79"/>
                <a:gd name="T9" fmla="*/ 3 h 77"/>
                <a:gd name="T10" fmla="*/ 75 w 79"/>
                <a:gd name="T11" fmla="*/ 15 h 77"/>
                <a:gd name="T12" fmla="*/ 15 w 79"/>
                <a:gd name="T13" fmla="*/ 75 h 77"/>
                <a:gd name="T14" fmla="*/ 9 w 79"/>
                <a:gd name="T1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9" h="77">
                  <a:moveTo>
                    <a:pt x="9" y="77"/>
                  </a:moveTo>
                  <a:cubicBezTo>
                    <a:pt x="7" y="77"/>
                    <a:pt x="5" y="77"/>
                    <a:pt x="4" y="75"/>
                  </a:cubicBezTo>
                  <a:cubicBezTo>
                    <a:pt x="0" y="72"/>
                    <a:pt x="0" y="67"/>
                    <a:pt x="4" y="64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7" y="0"/>
                    <a:pt x="72" y="0"/>
                    <a:pt x="75" y="3"/>
                  </a:cubicBezTo>
                  <a:cubicBezTo>
                    <a:pt x="79" y="6"/>
                    <a:pt x="79" y="12"/>
                    <a:pt x="75" y="15"/>
                  </a:cubicBezTo>
                  <a:cubicBezTo>
                    <a:pt x="15" y="75"/>
                    <a:pt x="15" y="75"/>
                    <a:pt x="15" y="75"/>
                  </a:cubicBezTo>
                  <a:cubicBezTo>
                    <a:pt x="13" y="77"/>
                    <a:pt x="11" y="77"/>
                    <a:pt x="9" y="77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65"/>
            <p:cNvSpPr>
              <a:spLocks/>
            </p:cNvSpPr>
            <p:nvPr/>
          </p:nvSpPr>
          <p:spPr bwMode="gray">
            <a:xfrm>
              <a:off x="9787237" y="3891283"/>
              <a:ext cx="79375" cy="77787"/>
            </a:xfrm>
            <a:custGeom>
              <a:avLst/>
              <a:gdLst>
                <a:gd name="T0" fmla="*/ 9 w 58"/>
                <a:gd name="T1" fmla="*/ 57 h 57"/>
                <a:gd name="T2" fmla="*/ 3 w 58"/>
                <a:gd name="T3" fmla="*/ 55 h 57"/>
                <a:gd name="T4" fmla="*/ 3 w 58"/>
                <a:gd name="T5" fmla="*/ 44 h 57"/>
                <a:gd name="T6" fmla="*/ 44 w 58"/>
                <a:gd name="T7" fmla="*/ 3 h 57"/>
                <a:gd name="T8" fmla="*/ 55 w 58"/>
                <a:gd name="T9" fmla="*/ 3 h 57"/>
                <a:gd name="T10" fmla="*/ 55 w 58"/>
                <a:gd name="T11" fmla="*/ 14 h 57"/>
                <a:gd name="T12" fmla="*/ 15 w 58"/>
                <a:gd name="T13" fmla="*/ 55 h 57"/>
                <a:gd name="T14" fmla="*/ 9 w 58"/>
                <a:gd name="T15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57">
                  <a:moveTo>
                    <a:pt x="9" y="57"/>
                  </a:moveTo>
                  <a:cubicBezTo>
                    <a:pt x="7" y="57"/>
                    <a:pt x="5" y="56"/>
                    <a:pt x="3" y="55"/>
                  </a:cubicBezTo>
                  <a:cubicBezTo>
                    <a:pt x="0" y="52"/>
                    <a:pt x="0" y="47"/>
                    <a:pt x="3" y="44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7" y="0"/>
                    <a:pt x="52" y="0"/>
                    <a:pt x="55" y="3"/>
                  </a:cubicBezTo>
                  <a:cubicBezTo>
                    <a:pt x="58" y="6"/>
                    <a:pt x="58" y="11"/>
                    <a:pt x="55" y="14"/>
                  </a:cubicBezTo>
                  <a:cubicBezTo>
                    <a:pt x="15" y="55"/>
                    <a:pt x="15" y="55"/>
                    <a:pt x="15" y="55"/>
                  </a:cubicBezTo>
                  <a:cubicBezTo>
                    <a:pt x="13" y="56"/>
                    <a:pt x="11" y="57"/>
                    <a:pt x="9" y="57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66"/>
            <p:cNvSpPr>
              <a:spLocks/>
            </p:cNvSpPr>
            <p:nvPr/>
          </p:nvSpPr>
          <p:spPr bwMode="gray">
            <a:xfrm>
              <a:off x="10168237" y="4270695"/>
              <a:ext cx="153988" cy="150812"/>
            </a:xfrm>
            <a:custGeom>
              <a:avLst/>
              <a:gdLst>
                <a:gd name="T0" fmla="*/ 9 w 111"/>
                <a:gd name="T1" fmla="*/ 110 h 110"/>
                <a:gd name="T2" fmla="*/ 3 w 111"/>
                <a:gd name="T3" fmla="*/ 108 h 110"/>
                <a:gd name="T4" fmla="*/ 3 w 111"/>
                <a:gd name="T5" fmla="*/ 96 h 110"/>
                <a:gd name="T6" fmla="*/ 96 w 111"/>
                <a:gd name="T7" fmla="*/ 3 h 110"/>
                <a:gd name="T8" fmla="*/ 108 w 111"/>
                <a:gd name="T9" fmla="*/ 3 h 110"/>
                <a:gd name="T10" fmla="*/ 108 w 111"/>
                <a:gd name="T11" fmla="*/ 15 h 110"/>
                <a:gd name="T12" fmla="*/ 15 w 111"/>
                <a:gd name="T13" fmla="*/ 108 h 110"/>
                <a:gd name="T14" fmla="*/ 9 w 111"/>
                <a:gd name="T15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1" h="110">
                  <a:moveTo>
                    <a:pt x="9" y="110"/>
                  </a:moveTo>
                  <a:cubicBezTo>
                    <a:pt x="7" y="110"/>
                    <a:pt x="5" y="109"/>
                    <a:pt x="3" y="108"/>
                  </a:cubicBezTo>
                  <a:cubicBezTo>
                    <a:pt x="0" y="104"/>
                    <a:pt x="0" y="99"/>
                    <a:pt x="3" y="96"/>
                  </a:cubicBezTo>
                  <a:cubicBezTo>
                    <a:pt x="96" y="3"/>
                    <a:pt x="96" y="3"/>
                    <a:pt x="96" y="3"/>
                  </a:cubicBezTo>
                  <a:cubicBezTo>
                    <a:pt x="100" y="0"/>
                    <a:pt x="105" y="0"/>
                    <a:pt x="108" y="3"/>
                  </a:cubicBezTo>
                  <a:cubicBezTo>
                    <a:pt x="111" y="6"/>
                    <a:pt x="111" y="11"/>
                    <a:pt x="108" y="15"/>
                  </a:cubicBezTo>
                  <a:cubicBezTo>
                    <a:pt x="15" y="108"/>
                    <a:pt x="15" y="108"/>
                    <a:pt x="15" y="108"/>
                  </a:cubicBezTo>
                  <a:cubicBezTo>
                    <a:pt x="13" y="109"/>
                    <a:pt x="11" y="110"/>
                    <a:pt x="9" y="110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67"/>
            <p:cNvSpPr>
              <a:spLocks/>
            </p:cNvSpPr>
            <p:nvPr/>
          </p:nvSpPr>
          <p:spPr bwMode="gray">
            <a:xfrm>
              <a:off x="10269837" y="4296095"/>
              <a:ext cx="982663" cy="944562"/>
            </a:xfrm>
            <a:custGeom>
              <a:avLst/>
              <a:gdLst>
                <a:gd name="T0" fmla="*/ 619 w 619"/>
                <a:gd name="T1" fmla="*/ 589 h 595"/>
                <a:gd name="T2" fmla="*/ 613 w 619"/>
                <a:gd name="T3" fmla="*/ 595 h 595"/>
                <a:gd name="T4" fmla="*/ 0 w 619"/>
                <a:gd name="T5" fmla="*/ 26 h 595"/>
                <a:gd name="T6" fmla="*/ 27 w 619"/>
                <a:gd name="T7" fmla="*/ 0 h 595"/>
                <a:gd name="T8" fmla="*/ 619 w 619"/>
                <a:gd name="T9" fmla="*/ 589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9" h="595">
                  <a:moveTo>
                    <a:pt x="619" y="589"/>
                  </a:moveTo>
                  <a:lnTo>
                    <a:pt x="613" y="595"/>
                  </a:lnTo>
                  <a:lnTo>
                    <a:pt x="0" y="26"/>
                  </a:lnTo>
                  <a:lnTo>
                    <a:pt x="27" y="0"/>
                  </a:lnTo>
                  <a:lnTo>
                    <a:pt x="619" y="589"/>
                  </a:ln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68"/>
            <p:cNvSpPr>
              <a:spLocks/>
            </p:cNvSpPr>
            <p:nvPr/>
          </p:nvSpPr>
          <p:spPr bwMode="gray">
            <a:xfrm>
              <a:off x="10193637" y="4370708"/>
              <a:ext cx="949325" cy="976312"/>
            </a:xfrm>
            <a:custGeom>
              <a:avLst/>
              <a:gdLst>
                <a:gd name="T0" fmla="*/ 592 w 598"/>
                <a:gd name="T1" fmla="*/ 615 h 615"/>
                <a:gd name="T2" fmla="*/ 598 w 598"/>
                <a:gd name="T3" fmla="*/ 610 h 615"/>
                <a:gd name="T4" fmla="*/ 27 w 598"/>
                <a:gd name="T5" fmla="*/ 0 h 615"/>
                <a:gd name="T6" fmla="*/ 0 w 598"/>
                <a:gd name="T7" fmla="*/ 27 h 615"/>
                <a:gd name="T8" fmla="*/ 592 w 598"/>
                <a:gd name="T9" fmla="*/ 615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8" h="615">
                  <a:moveTo>
                    <a:pt x="592" y="615"/>
                  </a:moveTo>
                  <a:lnTo>
                    <a:pt x="598" y="610"/>
                  </a:lnTo>
                  <a:lnTo>
                    <a:pt x="27" y="0"/>
                  </a:lnTo>
                  <a:lnTo>
                    <a:pt x="0" y="27"/>
                  </a:lnTo>
                  <a:lnTo>
                    <a:pt x="592" y="615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69"/>
            <p:cNvSpPr>
              <a:spLocks/>
            </p:cNvSpPr>
            <p:nvPr/>
          </p:nvSpPr>
          <p:spPr bwMode="gray">
            <a:xfrm>
              <a:off x="10615912" y="5231133"/>
              <a:ext cx="665163" cy="93662"/>
            </a:xfrm>
            <a:custGeom>
              <a:avLst/>
              <a:gdLst>
                <a:gd name="T0" fmla="*/ 481 w 481"/>
                <a:gd name="T1" fmla="*/ 14 h 69"/>
                <a:gd name="T2" fmla="*/ 467 w 481"/>
                <a:gd name="T3" fmla="*/ 0 h 69"/>
                <a:gd name="T4" fmla="*/ 15 w 481"/>
                <a:gd name="T5" fmla="*/ 0 h 69"/>
                <a:gd name="T6" fmla="*/ 0 w 481"/>
                <a:gd name="T7" fmla="*/ 14 h 69"/>
                <a:gd name="T8" fmla="*/ 0 w 481"/>
                <a:gd name="T9" fmla="*/ 55 h 69"/>
                <a:gd name="T10" fmla="*/ 15 w 481"/>
                <a:gd name="T11" fmla="*/ 69 h 69"/>
                <a:gd name="T12" fmla="*/ 467 w 481"/>
                <a:gd name="T13" fmla="*/ 69 h 69"/>
                <a:gd name="T14" fmla="*/ 481 w 481"/>
                <a:gd name="T15" fmla="*/ 55 h 69"/>
                <a:gd name="T16" fmla="*/ 481 w 481"/>
                <a:gd name="T17" fmla="*/ 1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1" h="69">
                  <a:moveTo>
                    <a:pt x="481" y="14"/>
                  </a:moveTo>
                  <a:cubicBezTo>
                    <a:pt x="481" y="6"/>
                    <a:pt x="475" y="0"/>
                    <a:pt x="467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6"/>
                    <a:pt x="0" y="14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63"/>
                    <a:pt x="7" y="69"/>
                    <a:pt x="15" y="69"/>
                  </a:cubicBezTo>
                  <a:cubicBezTo>
                    <a:pt x="467" y="69"/>
                    <a:pt x="467" y="69"/>
                    <a:pt x="467" y="69"/>
                  </a:cubicBezTo>
                  <a:cubicBezTo>
                    <a:pt x="475" y="69"/>
                    <a:pt x="481" y="63"/>
                    <a:pt x="481" y="55"/>
                  </a:cubicBezTo>
                  <a:lnTo>
                    <a:pt x="481" y="1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Oval 70"/>
            <p:cNvSpPr>
              <a:spLocks noChangeArrowheads="1"/>
            </p:cNvSpPr>
            <p:nvPr/>
          </p:nvSpPr>
          <p:spPr bwMode="gray">
            <a:xfrm>
              <a:off x="1031270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Oval 71"/>
            <p:cNvSpPr>
              <a:spLocks noChangeArrowheads="1"/>
            </p:cNvSpPr>
            <p:nvPr/>
          </p:nvSpPr>
          <p:spPr bwMode="gray">
            <a:xfrm>
              <a:off x="10695287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Oval 72"/>
            <p:cNvSpPr>
              <a:spLocks noChangeArrowheads="1"/>
            </p:cNvSpPr>
            <p:nvPr/>
          </p:nvSpPr>
          <p:spPr bwMode="gray">
            <a:xfrm>
              <a:off x="1098580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Freeform 73"/>
            <p:cNvSpPr>
              <a:spLocks/>
            </p:cNvSpPr>
            <p:nvPr/>
          </p:nvSpPr>
          <p:spPr bwMode="gray">
            <a:xfrm>
              <a:off x="10176175" y="5042220"/>
              <a:ext cx="341313" cy="404812"/>
            </a:xfrm>
            <a:custGeom>
              <a:avLst/>
              <a:gdLst>
                <a:gd name="T0" fmla="*/ 247 w 247"/>
                <a:gd name="T1" fmla="*/ 0 h 295"/>
                <a:gd name="T2" fmla="*/ 66 w 247"/>
                <a:gd name="T3" fmla="*/ 0 h 295"/>
                <a:gd name="T4" fmla="*/ 16 w 247"/>
                <a:gd name="T5" fmla="*/ 295 h 295"/>
                <a:gd name="T6" fmla="*/ 197 w 247"/>
                <a:gd name="T7" fmla="*/ 295 h 295"/>
                <a:gd name="T8" fmla="*/ 247 w 247"/>
                <a:gd name="T9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7" h="295">
                  <a:moveTo>
                    <a:pt x="247" y="0"/>
                  </a:moveTo>
                  <a:cubicBezTo>
                    <a:pt x="193" y="0"/>
                    <a:pt x="97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197" y="295"/>
                    <a:pt x="197" y="295"/>
                    <a:pt x="197" y="295"/>
                  </a:cubicBezTo>
                  <a:cubicBezTo>
                    <a:pt x="197" y="295"/>
                    <a:pt x="181" y="76"/>
                    <a:pt x="247" y="0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Freeform 74"/>
            <p:cNvSpPr>
              <a:spLocks/>
            </p:cNvSpPr>
            <p:nvPr/>
          </p:nvSpPr>
          <p:spPr bwMode="gray">
            <a:xfrm>
              <a:off x="10727037" y="5324795"/>
              <a:ext cx="3175" cy="1587"/>
            </a:xfrm>
            <a:custGeom>
              <a:avLst/>
              <a:gdLst>
                <a:gd name="T0" fmla="*/ 0 w 2"/>
                <a:gd name="T1" fmla="*/ 1 h 1"/>
                <a:gd name="T2" fmla="*/ 2 w 2"/>
                <a:gd name="T3" fmla="*/ 0 h 1"/>
                <a:gd name="T4" fmla="*/ 0 w 2"/>
                <a:gd name="T5" fmla="*/ 0 h 1"/>
                <a:gd name="T6" fmla="*/ 0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1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Freeform 75"/>
            <p:cNvSpPr>
              <a:spLocks/>
            </p:cNvSpPr>
            <p:nvPr/>
          </p:nvSpPr>
          <p:spPr bwMode="gray">
            <a:xfrm>
              <a:off x="10512725" y="5324795"/>
              <a:ext cx="3175" cy="1587"/>
            </a:xfrm>
            <a:custGeom>
              <a:avLst/>
              <a:gdLst>
                <a:gd name="T0" fmla="*/ 0 w 3"/>
                <a:gd name="T1" fmla="*/ 1 h 1"/>
                <a:gd name="T2" fmla="*/ 3 w 3"/>
                <a:gd name="T3" fmla="*/ 0 h 1"/>
                <a:gd name="T4" fmla="*/ 0 w 3"/>
                <a:gd name="T5" fmla="*/ 0 h 1"/>
                <a:gd name="T6" fmla="*/ 0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cubicBezTo>
                    <a:pt x="1" y="0"/>
                    <a:pt x="2" y="0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Freeform 76"/>
            <p:cNvSpPr>
              <a:spLocks/>
            </p:cNvSpPr>
            <p:nvPr/>
          </p:nvSpPr>
          <p:spPr bwMode="gray">
            <a:xfrm>
              <a:off x="10176175" y="5042220"/>
              <a:ext cx="127000" cy="404812"/>
            </a:xfrm>
            <a:custGeom>
              <a:avLst/>
              <a:gdLst>
                <a:gd name="T0" fmla="*/ 92 w 92"/>
                <a:gd name="T1" fmla="*/ 0 h 295"/>
                <a:gd name="T2" fmla="*/ 66 w 92"/>
                <a:gd name="T3" fmla="*/ 0 h 295"/>
                <a:gd name="T4" fmla="*/ 16 w 92"/>
                <a:gd name="T5" fmla="*/ 295 h 295"/>
                <a:gd name="T6" fmla="*/ 42 w 92"/>
                <a:gd name="T7" fmla="*/ 295 h 295"/>
                <a:gd name="T8" fmla="*/ 92 w 92"/>
                <a:gd name="T9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295">
                  <a:moveTo>
                    <a:pt x="92" y="0"/>
                  </a:moveTo>
                  <a:cubicBezTo>
                    <a:pt x="82" y="0"/>
                    <a:pt x="73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42" y="295"/>
                    <a:pt x="42" y="295"/>
                    <a:pt x="42" y="295"/>
                  </a:cubicBezTo>
                  <a:cubicBezTo>
                    <a:pt x="42" y="295"/>
                    <a:pt x="26" y="76"/>
                    <a:pt x="92" y="0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Rectangle 77"/>
            <p:cNvSpPr>
              <a:spLocks noChangeArrowheads="1"/>
            </p:cNvSpPr>
            <p:nvPr/>
          </p:nvSpPr>
          <p:spPr bwMode="gray">
            <a:xfrm>
              <a:off x="9574512" y="3729358"/>
              <a:ext cx="22225" cy="693737"/>
            </a:xfrm>
            <a:prstGeom prst="rect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Freeform 78"/>
            <p:cNvSpPr>
              <a:spLocks/>
            </p:cNvSpPr>
            <p:nvPr/>
          </p:nvSpPr>
          <p:spPr bwMode="gray">
            <a:xfrm>
              <a:off x="10393662" y="5042220"/>
              <a:ext cx="906463" cy="404812"/>
            </a:xfrm>
            <a:custGeom>
              <a:avLst/>
              <a:gdLst>
                <a:gd name="T0" fmla="*/ 642 w 656"/>
                <a:gd name="T1" fmla="*/ 206 h 295"/>
                <a:gd name="T2" fmla="*/ 219 w 656"/>
                <a:gd name="T3" fmla="*/ 206 h 295"/>
                <a:gd name="T4" fmla="*/ 217 w 656"/>
                <a:gd name="T5" fmla="*/ 207 h 295"/>
                <a:gd name="T6" fmla="*/ 217 w 656"/>
                <a:gd name="T7" fmla="*/ 0 h 295"/>
                <a:gd name="T8" fmla="*/ 66 w 656"/>
                <a:gd name="T9" fmla="*/ 0 h 295"/>
                <a:gd name="T10" fmla="*/ 16 w 656"/>
                <a:gd name="T11" fmla="*/ 295 h 295"/>
                <a:gd name="T12" fmla="*/ 642 w 656"/>
                <a:gd name="T13" fmla="*/ 295 h 295"/>
                <a:gd name="T14" fmla="*/ 656 w 656"/>
                <a:gd name="T15" fmla="*/ 281 h 295"/>
                <a:gd name="T16" fmla="*/ 656 w 656"/>
                <a:gd name="T17" fmla="*/ 221 h 295"/>
                <a:gd name="T18" fmla="*/ 642 w 656"/>
                <a:gd name="T19" fmla="*/ 206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6" h="295">
                  <a:moveTo>
                    <a:pt x="642" y="206"/>
                  </a:moveTo>
                  <a:cubicBezTo>
                    <a:pt x="219" y="206"/>
                    <a:pt x="219" y="206"/>
                    <a:pt x="219" y="206"/>
                  </a:cubicBezTo>
                  <a:cubicBezTo>
                    <a:pt x="219" y="206"/>
                    <a:pt x="218" y="206"/>
                    <a:pt x="217" y="207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17" y="0"/>
                    <a:pt x="119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642" y="295"/>
                    <a:pt x="642" y="295"/>
                    <a:pt x="642" y="295"/>
                  </a:cubicBezTo>
                  <a:cubicBezTo>
                    <a:pt x="650" y="295"/>
                    <a:pt x="656" y="289"/>
                    <a:pt x="656" y="281"/>
                  </a:cubicBezTo>
                  <a:cubicBezTo>
                    <a:pt x="656" y="221"/>
                    <a:pt x="656" y="221"/>
                    <a:pt x="656" y="221"/>
                  </a:cubicBezTo>
                  <a:cubicBezTo>
                    <a:pt x="656" y="213"/>
                    <a:pt x="650" y="206"/>
                    <a:pt x="642" y="206"/>
                  </a:cubicBez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Freeform 79"/>
            <p:cNvSpPr>
              <a:spLocks/>
            </p:cNvSpPr>
            <p:nvPr/>
          </p:nvSpPr>
          <p:spPr bwMode="gray">
            <a:xfrm>
              <a:off x="10393662" y="5042220"/>
              <a:ext cx="300038" cy="404812"/>
            </a:xfrm>
            <a:custGeom>
              <a:avLst/>
              <a:gdLst>
                <a:gd name="T0" fmla="*/ 81 w 217"/>
                <a:gd name="T1" fmla="*/ 15 h 295"/>
                <a:gd name="T2" fmla="*/ 217 w 217"/>
                <a:gd name="T3" fmla="*/ 15 h 295"/>
                <a:gd name="T4" fmla="*/ 217 w 217"/>
                <a:gd name="T5" fmla="*/ 0 h 295"/>
                <a:gd name="T6" fmla="*/ 66 w 217"/>
                <a:gd name="T7" fmla="*/ 0 h 295"/>
                <a:gd name="T8" fmla="*/ 16 w 217"/>
                <a:gd name="T9" fmla="*/ 295 h 295"/>
                <a:gd name="T10" fmla="*/ 30 w 217"/>
                <a:gd name="T11" fmla="*/ 295 h 295"/>
                <a:gd name="T12" fmla="*/ 81 w 217"/>
                <a:gd name="T13" fmla="*/ 15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7" h="295">
                  <a:moveTo>
                    <a:pt x="81" y="15"/>
                  </a:moveTo>
                  <a:cubicBezTo>
                    <a:pt x="122" y="15"/>
                    <a:pt x="188" y="15"/>
                    <a:pt x="217" y="15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17" y="0"/>
                    <a:pt x="119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30" y="295"/>
                    <a:pt x="30" y="295"/>
                    <a:pt x="30" y="295"/>
                  </a:cubicBezTo>
                  <a:cubicBezTo>
                    <a:pt x="28" y="244"/>
                    <a:pt x="25" y="79"/>
                    <a:pt x="81" y="15"/>
                  </a:cubicBezTo>
                  <a:close/>
                </a:path>
              </a:pathLst>
            </a:custGeom>
            <a:solidFill>
              <a:srgbClr val="FFCB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Freeform 80"/>
            <p:cNvSpPr>
              <a:spLocks/>
            </p:cNvSpPr>
            <p:nvPr/>
          </p:nvSpPr>
          <p:spPr bwMode="gray">
            <a:xfrm>
              <a:off x="10414300" y="542798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Freeform 81"/>
            <p:cNvSpPr>
              <a:spLocks/>
            </p:cNvSpPr>
            <p:nvPr/>
          </p:nvSpPr>
          <p:spPr bwMode="gray">
            <a:xfrm>
              <a:off x="10414300" y="5432745"/>
              <a:ext cx="0" cy="1587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Freeform 82"/>
            <p:cNvSpPr>
              <a:spLocks/>
            </p:cNvSpPr>
            <p:nvPr/>
          </p:nvSpPr>
          <p:spPr bwMode="gray">
            <a:xfrm>
              <a:off x="10414300" y="544068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Freeform 83"/>
            <p:cNvSpPr>
              <a:spLocks/>
            </p:cNvSpPr>
            <p:nvPr/>
          </p:nvSpPr>
          <p:spPr bwMode="gray">
            <a:xfrm>
              <a:off x="10433350" y="5324795"/>
              <a:ext cx="866775" cy="122237"/>
            </a:xfrm>
            <a:custGeom>
              <a:avLst/>
              <a:gdLst>
                <a:gd name="T0" fmla="*/ 613 w 627"/>
                <a:gd name="T1" fmla="*/ 0 h 89"/>
                <a:gd name="T2" fmla="*/ 613 w 627"/>
                <a:gd name="T3" fmla="*/ 56 h 89"/>
                <a:gd name="T4" fmla="*/ 599 w 627"/>
                <a:gd name="T5" fmla="*/ 71 h 89"/>
                <a:gd name="T6" fmla="*/ 0 w 627"/>
                <a:gd name="T7" fmla="*/ 71 h 89"/>
                <a:gd name="T8" fmla="*/ 1 w 627"/>
                <a:gd name="T9" fmla="*/ 89 h 89"/>
                <a:gd name="T10" fmla="*/ 613 w 627"/>
                <a:gd name="T11" fmla="*/ 89 h 89"/>
                <a:gd name="T12" fmla="*/ 627 w 627"/>
                <a:gd name="T13" fmla="*/ 75 h 89"/>
                <a:gd name="T14" fmla="*/ 627 w 627"/>
                <a:gd name="T15" fmla="*/ 15 h 89"/>
                <a:gd name="T16" fmla="*/ 613 w 627"/>
                <a:gd name="T17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7" h="89">
                  <a:moveTo>
                    <a:pt x="613" y="0"/>
                  </a:moveTo>
                  <a:cubicBezTo>
                    <a:pt x="613" y="56"/>
                    <a:pt x="613" y="56"/>
                    <a:pt x="613" y="56"/>
                  </a:cubicBezTo>
                  <a:cubicBezTo>
                    <a:pt x="613" y="64"/>
                    <a:pt x="607" y="71"/>
                    <a:pt x="599" y="71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78"/>
                    <a:pt x="1" y="84"/>
                    <a:pt x="1" y="89"/>
                  </a:cubicBezTo>
                  <a:cubicBezTo>
                    <a:pt x="613" y="89"/>
                    <a:pt x="613" y="89"/>
                    <a:pt x="613" y="89"/>
                  </a:cubicBezTo>
                  <a:cubicBezTo>
                    <a:pt x="621" y="89"/>
                    <a:pt x="627" y="83"/>
                    <a:pt x="627" y="75"/>
                  </a:cubicBezTo>
                  <a:cubicBezTo>
                    <a:pt x="627" y="15"/>
                    <a:pt x="627" y="15"/>
                    <a:pt x="627" y="15"/>
                  </a:cubicBezTo>
                  <a:cubicBezTo>
                    <a:pt x="627" y="7"/>
                    <a:pt x="621" y="1"/>
                    <a:pt x="613" y="0"/>
                  </a:cubicBezTo>
                  <a:close/>
                </a:path>
              </a:pathLst>
            </a:custGeom>
            <a:solidFill>
              <a:srgbClr val="DB9D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Freeform 84"/>
            <p:cNvSpPr>
              <a:spLocks/>
            </p:cNvSpPr>
            <p:nvPr/>
          </p:nvSpPr>
          <p:spPr bwMode="gray">
            <a:xfrm>
              <a:off x="10452400" y="5086670"/>
              <a:ext cx="203200" cy="238125"/>
            </a:xfrm>
            <a:custGeom>
              <a:avLst/>
              <a:gdLst>
                <a:gd name="T0" fmla="*/ 146 w 146"/>
                <a:gd name="T1" fmla="*/ 174 h 174"/>
                <a:gd name="T2" fmla="*/ 146 w 146"/>
                <a:gd name="T3" fmla="*/ 0 h 174"/>
                <a:gd name="T4" fmla="*/ 40 w 146"/>
                <a:gd name="T5" fmla="*/ 0 h 174"/>
                <a:gd name="T6" fmla="*/ 0 w 146"/>
                <a:gd name="T7" fmla="*/ 174 h 174"/>
                <a:gd name="T8" fmla="*/ 146 w 146"/>
                <a:gd name="T9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6" h="174">
                  <a:moveTo>
                    <a:pt x="146" y="174"/>
                  </a:moveTo>
                  <a:cubicBezTo>
                    <a:pt x="146" y="0"/>
                    <a:pt x="146" y="0"/>
                    <a:pt x="146" y="0"/>
                  </a:cubicBezTo>
                  <a:cubicBezTo>
                    <a:pt x="146" y="0"/>
                    <a:pt x="82" y="0"/>
                    <a:pt x="40" y="0"/>
                  </a:cubicBezTo>
                  <a:cubicBezTo>
                    <a:pt x="8" y="38"/>
                    <a:pt x="0" y="119"/>
                    <a:pt x="0" y="174"/>
                  </a:cubicBezTo>
                  <a:lnTo>
                    <a:pt x="146" y="17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Freeform 85"/>
            <p:cNvSpPr>
              <a:spLocks/>
            </p:cNvSpPr>
            <p:nvPr/>
          </p:nvSpPr>
          <p:spPr bwMode="gray">
            <a:xfrm>
              <a:off x="10452400" y="5086670"/>
              <a:ext cx="203200" cy="238125"/>
            </a:xfrm>
            <a:custGeom>
              <a:avLst/>
              <a:gdLst>
                <a:gd name="T0" fmla="*/ 146 w 146"/>
                <a:gd name="T1" fmla="*/ 174 h 174"/>
                <a:gd name="T2" fmla="*/ 40 w 146"/>
                <a:gd name="T3" fmla="*/ 0 h 174"/>
                <a:gd name="T4" fmla="*/ 0 w 146"/>
                <a:gd name="T5" fmla="*/ 174 h 174"/>
                <a:gd name="T6" fmla="*/ 146 w 146"/>
                <a:gd name="T7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6" h="174">
                  <a:moveTo>
                    <a:pt x="146" y="174"/>
                  </a:moveTo>
                  <a:cubicBezTo>
                    <a:pt x="146" y="174"/>
                    <a:pt x="84" y="73"/>
                    <a:pt x="40" y="0"/>
                  </a:cubicBezTo>
                  <a:cubicBezTo>
                    <a:pt x="8" y="38"/>
                    <a:pt x="0" y="119"/>
                    <a:pt x="0" y="174"/>
                  </a:cubicBezTo>
                  <a:lnTo>
                    <a:pt x="146" y="174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Oval 86"/>
            <p:cNvSpPr>
              <a:spLocks noChangeArrowheads="1"/>
            </p:cNvSpPr>
            <p:nvPr/>
          </p:nvSpPr>
          <p:spPr bwMode="gray">
            <a:xfrm>
              <a:off x="10458750" y="5353370"/>
              <a:ext cx="188913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Oval 87"/>
            <p:cNvSpPr>
              <a:spLocks noChangeArrowheads="1"/>
            </p:cNvSpPr>
            <p:nvPr/>
          </p:nvSpPr>
          <p:spPr bwMode="gray">
            <a:xfrm>
              <a:off x="10503200" y="5396233"/>
              <a:ext cx="100013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Oval 88"/>
            <p:cNvSpPr>
              <a:spLocks noChangeArrowheads="1"/>
            </p:cNvSpPr>
            <p:nvPr/>
          </p:nvSpPr>
          <p:spPr bwMode="gray">
            <a:xfrm>
              <a:off x="11041362" y="5353370"/>
              <a:ext cx="192088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Oval 89"/>
            <p:cNvSpPr>
              <a:spLocks noChangeArrowheads="1"/>
            </p:cNvSpPr>
            <p:nvPr/>
          </p:nvSpPr>
          <p:spPr bwMode="gray">
            <a:xfrm>
              <a:off x="1083975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Freeform 90"/>
            <p:cNvSpPr>
              <a:spLocks/>
            </p:cNvSpPr>
            <p:nvPr/>
          </p:nvSpPr>
          <p:spPr bwMode="gray">
            <a:xfrm>
              <a:off x="10503200" y="5412108"/>
              <a:ext cx="85725" cy="87312"/>
            </a:xfrm>
            <a:custGeom>
              <a:avLst/>
              <a:gdLst>
                <a:gd name="T0" fmla="*/ 37 w 62"/>
                <a:gd name="T1" fmla="*/ 63 h 63"/>
                <a:gd name="T2" fmla="*/ 62 w 62"/>
                <a:gd name="T3" fmla="*/ 52 h 63"/>
                <a:gd name="T4" fmla="*/ 10 w 62"/>
                <a:gd name="T5" fmla="*/ 0 h 63"/>
                <a:gd name="T6" fmla="*/ 0 w 62"/>
                <a:gd name="T7" fmla="*/ 26 h 63"/>
                <a:gd name="T8" fmla="*/ 37 w 62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63">
                  <a:moveTo>
                    <a:pt x="37" y="63"/>
                  </a:moveTo>
                  <a:cubicBezTo>
                    <a:pt x="47" y="63"/>
                    <a:pt x="56" y="59"/>
                    <a:pt x="62" y="5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6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Freeform 91"/>
            <p:cNvSpPr>
              <a:spLocks/>
            </p:cNvSpPr>
            <p:nvPr/>
          </p:nvSpPr>
          <p:spPr bwMode="gray">
            <a:xfrm>
              <a:off x="10241262" y="5359720"/>
              <a:ext cx="120650" cy="15875"/>
            </a:xfrm>
            <a:custGeom>
              <a:avLst/>
              <a:gdLst>
                <a:gd name="T0" fmla="*/ 81 w 87"/>
                <a:gd name="T1" fmla="*/ 12 h 12"/>
                <a:gd name="T2" fmla="*/ 6 w 87"/>
                <a:gd name="T3" fmla="*/ 12 h 12"/>
                <a:gd name="T4" fmla="*/ 0 w 87"/>
                <a:gd name="T5" fmla="*/ 6 h 12"/>
                <a:gd name="T6" fmla="*/ 6 w 87"/>
                <a:gd name="T7" fmla="*/ 0 h 12"/>
                <a:gd name="T8" fmla="*/ 81 w 87"/>
                <a:gd name="T9" fmla="*/ 0 h 12"/>
                <a:gd name="T10" fmla="*/ 87 w 87"/>
                <a:gd name="T11" fmla="*/ 6 h 12"/>
                <a:gd name="T12" fmla="*/ 81 w 8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2">
                  <a:moveTo>
                    <a:pt x="8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4" y="0"/>
                    <a:pt x="87" y="3"/>
                    <a:pt x="87" y="6"/>
                  </a:cubicBezTo>
                  <a:cubicBezTo>
                    <a:pt x="87" y="9"/>
                    <a:pt x="84" y="12"/>
                    <a:pt x="81" y="12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Freeform 92"/>
            <p:cNvSpPr>
              <a:spLocks/>
            </p:cNvSpPr>
            <p:nvPr/>
          </p:nvSpPr>
          <p:spPr bwMode="gray">
            <a:xfrm>
              <a:off x="10241262" y="5396233"/>
              <a:ext cx="120650" cy="17462"/>
            </a:xfrm>
            <a:custGeom>
              <a:avLst/>
              <a:gdLst>
                <a:gd name="T0" fmla="*/ 81 w 87"/>
                <a:gd name="T1" fmla="*/ 12 h 12"/>
                <a:gd name="T2" fmla="*/ 6 w 87"/>
                <a:gd name="T3" fmla="*/ 12 h 12"/>
                <a:gd name="T4" fmla="*/ 0 w 87"/>
                <a:gd name="T5" fmla="*/ 6 h 12"/>
                <a:gd name="T6" fmla="*/ 6 w 87"/>
                <a:gd name="T7" fmla="*/ 0 h 12"/>
                <a:gd name="T8" fmla="*/ 81 w 87"/>
                <a:gd name="T9" fmla="*/ 0 h 12"/>
                <a:gd name="T10" fmla="*/ 87 w 87"/>
                <a:gd name="T11" fmla="*/ 6 h 12"/>
                <a:gd name="T12" fmla="*/ 81 w 8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2">
                  <a:moveTo>
                    <a:pt x="8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4" y="0"/>
                    <a:pt x="87" y="3"/>
                    <a:pt x="87" y="6"/>
                  </a:cubicBezTo>
                  <a:cubicBezTo>
                    <a:pt x="87" y="10"/>
                    <a:pt x="84" y="12"/>
                    <a:pt x="81" y="12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Freeform 93"/>
            <p:cNvSpPr>
              <a:spLocks/>
            </p:cNvSpPr>
            <p:nvPr/>
          </p:nvSpPr>
          <p:spPr bwMode="gray">
            <a:xfrm>
              <a:off x="10209512" y="5086670"/>
              <a:ext cx="227013" cy="239712"/>
            </a:xfrm>
            <a:custGeom>
              <a:avLst/>
              <a:gdLst>
                <a:gd name="T0" fmla="*/ 31 w 164"/>
                <a:gd name="T1" fmla="*/ 0 h 175"/>
                <a:gd name="T2" fmla="*/ 0 w 164"/>
                <a:gd name="T3" fmla="*/ 175 h 175"/>
                <a:gd name="T4" fmla="*/ 133 w 164"/>
                <a:gd name="T5" fmla="*/ 175 h 175"/>
                <a:gd name="T6" fmla="*/ 164 w 164"/>
                <a:gd name="T7" fmla="*/ 0 h 175"/>
                <a:gd name="T8" fmla="*/ 31 w 164"/>
                <a:gd name="T9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4" h="175">
                  <a:moveTo>
                    <a:pt x="31" y="0"/>
                  </a:moveTo>
                  <a:cubicBezTo>
                    <a:pt x="9" y="49"/>
                    <a:pt x="1" y="119"/>
                    <a:pt x="0" y="175"/>
                  </a:cubicBezTo>
                  <a:cubicBezTo>
                    <a:pt x="133" y="175"/>
                    <a:pt x="133" y="175"/>
                    <a:pt x="133" y="175"/>
                  </a:cubicBezTo>
                  <a:cubicBezTo>
                    <a:pt x="134" y="119"/>
                    <a:pt x="142" y="49"/>
                    <a:pt x="164" y="0"/>
                  </a:cubicBezTo>
                  <a:lnTo>
                    <a:pt x="31" y="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Freeform 94"/>
            <p:cNvSpPr>
              <a:spLocks/>
            </p:cNvSpPr>
            <p:nvPr/>
          </p:nvSpPr>
          <p:spPr bwMode="gray">
            <a:xfrm>
              <a:off x="10209512" y="5086670"/>
              <a:ext cx="185738" cy="239712"/>
            </a:xfrm>
            <a:custGeom>
              <a:avLst/>
              <a:gdLst>
                <a:gd name="T0" fmla="*/ 31 w 134"/>
                <a:gd name="T1" fmla="*/ 0 h 175"/>
                <a:gd name="T2" fmla="*/ 0 w 134"/>
                <a:gd name="T3" fmla="*/ 175 h 175"/>
                <a:gd name="T4" fmla="*/ 133 w 134"/>
                <a:gd name="T5" fmla="*/ 175 h 175"/>
                <a:gd name="T6" fmla="*/ 31 w 134"/>
                <a:gd name="T7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4" h="175">
                  <a:moveTo>
                    <a:pt x="31" y="0"/>
                  </a:moveTo>
                  <a:cubicBezTo>
                    <a:pt x="9" y="49"/>
                    <a:pt x="1" y="119"/>
                    <a:pt x="0" y="175"/>
                  </a:cubicBezTo>
                  <a:cubicBezTo>
                    <a:pt x="133" y="175"/>
                    <a:pt x="133" y="175"/>
                    <a:pt x="133" y="175"/>
                  </a:cubicBezTo>
                  <a:cubicBezTo>
                    <a:pt x="134" y="119"/>
                    <a:pt x="31" y="0"/>
                    <a:pt x="31" y="0"/>
                  </a:cubicBez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8" name="Freeform 95"/>
            <p:cNvSpPr>
              <a:spLocks noEditPoints="1"/>
            </p:cNvSpPr>
            <p:nvPr/>
          </p:nvSpPr>
          <p:spPr bwMode="gray">
            <a:xfrm>
              <a:off x="9257012" y="4496120"/>
              <a:ext cx="280988" cy="279400"/>
            </a:xfrm>
            <a:custGeom>
              <a:avLst/>
              <a:gdLst>
                <a:gd name="T0" fmla="*/ 203 w 203"/>
                <a:gd name="T1" fmla="*/ 93 h 203"/>
                <a:gd name="T2" fmla="*/ 187 w 203"/>
                <a:gd name="T3" fmla="*/ 77 h 203"/>
                <a:gd name="T4" fmla="*/ 192 w 203"/>
                <a:gd name="T5" fmla="*/ 54 h 203"/>
                <a:gd name="T6" fmla="*/ 170 w 203"/>
                <a:gd name="T7" fmla="*/ 46 h 203"/>
                <a:gd name="T8" fmla="*/ 167 w 203"/>
                <a:gd name="T9" fmla="*/ 23 h 203"/>
                <a:gd name="T10" fmla="*/ 144 w 203"/>
                <a:gd name="T11" fmla="*/ 25 h 203"/>
                <a:gd name="T12" fmla="*/ 132 w 203"/>
                <a:gd name="T13" fmla="*/ 4 h 203"/>
                <a:gd name="T14" fmla="*/ 111 w 203"/>
                <a:gd name="T15" fmla="*/ 15 h 203"/>
                <a:gd name="T16" fmla="*/ 92 w 203"/>
                <a:gd name="T17" fmla="*/ 0 h 203"/>
                <a:gd name="T18" fmla="*/ 77 w 203"/>
                <a:gd name="T19" fmla="*/ 18 h 203"/>
                <a:gd name="T20" fmla="*/ 54 w 203"/>
                <a:gd name="T21" fmla="*/ 11 h 203"/>
                <a:gd name="T22" fmla="*/ 47 w 203"/>
                <a:gd name="T23" fmla="*/ 33 h 203"/>
                <a:gd name="T24" fmla="*/ 23 w 203"/>
                <a:gd name="T25" fmla="*/ 36 h 203"/>
                <a:gd name="T26" fmla="*/ 24 w 203"/>
                <a:gd name="T27" fmla="*/ 59 h 203"/>
                <a:gd name="T28" fmla="*/ 4 w 203"/>
                <a:gd name="T29" fmla="*/ 71 h 203"/>
                <a:gd name="T30" fmla="*/ 14 w 203"/>
                <a:gd name="T31" fmla="*/ 93 h 203"/>
                <a:gd name="T32" fmla="*/ 0 w 203"/>
                <a:gd name="T33" fmla="*/ 112 h 203"/>
                <a:gd name="T34" fmla="*/ 16 w 203"/>
                <a:gd name="T35" fmla="*/ 127 h 203"/>
                <a:gd name="T36" fmla="*/ 11 w 203"/>
                <a:gd name="T37" fmla="*/ 149 h 203"/>
                <a:gd name="T38" fmla="*/ 32 w 203"/>
                <a:gd name="T39" fmla="*/ 158 h 203"/>
                <a:gd name="T40" fmla="*/ 36 w 203"/>
                <a:gd name="T41" fmla="*/ 180 h 203"/>
                <a:gd name="T42" fmla="*/ 59 w 203"/>
                <a:gd name="T43" fmla="*/ 180 h 203"/>
                <a:gd name="T44" fmla="*/ 71 w 203"/>
                <a:gd name="T45" fmla="*/ 199 h 203"/>
                <a:gd name="T46" fmla="*/ 92 w 203"/>
                <a:gd name="T47" fmla="*/ 191 h 203"/>
                <a:gd name="T48" fmla="*/ 111 w 203"/>
                <a:gd name="T49" fmla="*/ 203 h 203"/>
                <a:gd name="T50" fmla="*/ 127 w 203"/>
                <a:gd name="T51" fmla="*/ 188 h 203"/>
                <a:gd name="T52" fmla="*/ 149 w 203"/>
                <a:gd name="T53" fmla="*/ 192 h 203"/>
                <a:gd name="T54" fmla="*/ 158 w 203"/>
                <a:gd name="T55" fmla="*/ 171 h 203"/>
                <a:gd name="T56" fmla="*/ 180 w 203"/>
                <a:gd name="T57" fmla="*/ 167 h 203"/>
                <a:gd name="T58" fmla="*/ 180 w 203"/>
                <a:gd name="T59" fmla="*/ 144 h 203"/>
                <a:gd name="T60" fmla="*/ 199 w 203"/>
                <a:gd name="T61" fmla="*/ 132 h 203"/>
                <a:gd name="T62" fmla="*/ 190 w 203"/>
                <a:gd name="T63" fmla="*/ 112 h 203"/>
                <a:gd name="T64" fmla="*/ 57 w 203"/>
                <a:gd name="T65" fmla="*/ 58 h 203"/>
                <a:gd name="T66" fmla="*/ 93 w 203"/>
                <a:gd name="T67" fmla="*/ 73 h 203"/>
                <a:gd name="T68" fmla="*/ 39 w 203"/>
                <a:gd name="T69" fmla="*/ 95 h 203"/>
                <a:gd name="T70" fmla="*/ 93 w 203"/>
                <a:gd name="T71" fmla="*/ 166 h 203"/>
                <a:gd name="T72" fmla="*/ 39 w 203"/>
                <a:gd name="T73" fmla="*/ 111 h 203"/>
                <a:gd name="T74" fmla="*/ 93 w 203"/>
                <a:gd name="T75" fmla="*/ 133 h 203"/>
                <a:gd name="T76" fmla="*/ 89 w 203"/>
                <a:gd name="T77" fmla="*/ 102 h 203"/>
                <a:gd name="T78" fmla="*/ 114 w 203"/>
                <a:gd name="T79" fmla="*/ 102 h 203"/>
                <a:gd name="T80" fmla="*/ 89 w 203"/>
                <a:gd name="T81" fmla="*/ 102 h 203"/>
                <a:gd name="T82" fmla="*/ 110 w 203"/>
                <a:gd name="T83" fmla="*/ 166 h 203"/>
                <a:gd name="T84" fmla="*/ 124 w 203"/>
                <a:gd name="T85" fmla="*/ 125 h 203"/>
                <a:gd name="T86" fmla="*/ 165 w 203"/>
                <a:gd name="T87" fmla="*/ 111 h 203"/>
                <a:gd name="T88" fmla="*/ 132 w 203"/>
                <a:gd name="T89" fmla="*/ 95 h 203"/>
                <a:gd name="T90" fmla="*/ 110 w 203"/>
                <a:gd name="T91" fmla="*/ 40 h 203"/>
                <a:gd name="T92" fmla="*/ 165 w 203"/>
                <a:gd name="T93" fmla="*/ 9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3" h="203">
                  <a:moveTo>
                    <a:pt x="203" y="112"/>
                  </a:moveTo>
                  <a:cubicBezTo>
                    <a:pt x="203" y="93"/>
                    <a:pt x="203" y="93"/>
                    <a:pt x="203" y="93"/>
                  </a:cubicBezTo>
                  <a:cubicBezTo>
                    <a:pt x="190" y="93"/>
                    <a:pt x="190" y="93"/>
                    <a:pt x="190" y="93"/>
                  </a:cubicBezTo>
                  <a:cubicBezTo>
                    <a:pt x="189" y="88"/>
                    <a:pt x="188" y="82"/>
                    <a:pt x="187" y="77"/>
                  </a:cubicBezTo>
                  <a:cubicBezTo>
                    <a:pt x="199" y="72"/>
                    <a:pt x="199" y="72"/>
                    <a:pt x="199" y="72"/>
                  </a:cubicBezTo>
                  <a:cubicBezTo>
                    <a:pt x="192" y="54"/>
                    <a:pt x="192" y="54"/>
                    <a:pt x="192" y="54"/>
                  </a:cubicBezTo>
                  <a:cubicBezTo>
                    <a:pt x="179" y="60"/>
                    <a:pt x="179" y="60"/>
                    <a:pt x="179" y="60"/>
                  </a:cubicBezTo>
                  <a:cubicBezTo>
                    <a:pt x="177" y="55"/>
                    <a:pt x="174" y="51"/>
                    <a:pt x="170" y="46"/>
                  </a:cubicBezTo>
                  <a:cubicBezTo>
                    <a:pt x="180" y="36"/>
                    <a:pt x="180" y="36"/>
                    <a:pt x="180" y="36"/>
                  </a:cubicBezTo>
                  <a:cubicBezTo>
                    <a:pt x="167" y="23"/>
                    <a:pt x="167" y="23"/>
                    <a:pt x="167" y="23"/>
                  </a:cubicBezTo>
                  <a:cubicBezTo>
                    <a:pt x="157" y="33"/>
                    <a:pt x="157" y="33"/>
                    <a:pt x="157" y="33"/>
                  </a:cubicBezTo>
                  <a:cubicBezTo>
                    <a:pt x="153" y="30"/>
                    <a:pt x="148" y="27"/>
                    <a:pt x="144" y="25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32" y="4"/>
                    <a:pt x="132" y="4"/>
                    <a:pt x="132" y="4"/>
                  </a:cubicBezTo>
                  <a:cubicBezTo>
                    <a:pt x="127" y="18"/>
                    <a:pt x="127" y="18"/>
                    <a:pt x="127" y="18"/>
                  </a:cubicBezTo>
                  <a:cubicBezTo>
                    <a:pt x="122" y="16"/>
                    <a:pt x="116" y="15"/>
                    <a:pt x="111" y="15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5"/>
                    <a:pt x="92" y="15"/>
                    <a:pt x="92" y="15"/>
                  </a:cubicBezTo>
                  <a:cubicBezTo>
                    <a:pt x="87" y="15"/>
                    <a:pt x="82" y="16"/>
                    <a:pt x="77" y="18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55" y="27"/>
                    <a:pt x="51" y="30"/>
                    <a:pt x="47" y="33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0" y="51"/>
                    <a:pt x="27" y="55"/>
                    <a:pt x="24" y="59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4" y="71"/>
                    <a:pt x="4" y="71"/>
                    <a:pt x="4" y="71"/>
                  </a:cubicBezTo>
                  <a:cubicBezTo>
                    <a:pt x="17" y="77"/>
                    <a:pt x="17" y="77"/>
                    <a:pt x="17" y="77"/>
                  </a:cubicBezTo>
                  <a:cubicBezTo>
                    <a:pt x="15" y="82"/>
                    <a:pt x="14" y="88"/>
                    <a:pt x="14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14" y="112"/>
                    <a:pt x="14" y="112"/>
                    <a:pt x="14" y="112"/>
                  </a:cubicBezTo>
                  <a:cubicBezTo>
                    <a:pt x="14" y="117"/>
                    <a:pt x="15" y="122"/>
                    <a:pt x="16" y="127"/>
                  </a:cubicBezTo>
                  <a:cubicBezTo>
                    <a:pt x="4" y="132"/>
                    <a:pt x="4" y="132"/>
                    <a:pt x="4" y="132"/>
                  </a:cubicBezTo>
                  <a:cubicBezTo>
                    <a:pt x="11" y="149"/>
                    <a:pt x="11" y="149"/>
                    <a:pt x="11" y="149"/>
                  </a:cubicBezTo>
                  <a:cubicBezTo>
                    <a:pt x="23" y="144"/>
                    <a:pt x="23" y="144"/>
                    <a:pt x="23" y="144"/>
                  </a:cubicBezTo>
                  <a:cubicBezTo>
                    <a:pt x="26" y="149"/>
                    <a:pt x="29" y="154"/>
                    <a:pt x="32" y="158"/>
                  </a:cubicBezTo>
                  <a:cubicBezTo>
                    <a:pt x="23" y="167"/>
                    <a:pt x="23" y="167"/>
                    <a:pt x="23" y="167"/>
                  </a:cubicBezTo>
                  <a:cubicBezTo>
                    <a:pt x="36" y="180"/>
                    <a:pt x="36" y="180"/>
                    <a:pt x="36" y="180"/>
                  </a:cubicBezTo>
                  <a:cubicBezTo>
                    <a:pt x="45" y="171"/>
                    <a:pt x="45" y="171"/>
                    <a:pt x="45" y="171"/>
                  </a:cubicBezTo>
                  <a:cubicBezTo>
                    <a:pt x="50" y="175"/>
                    <a:pt x="54" y="178"/>
                    <a:pt x="59" y="180"/>
                  </a:cubicBezTo>
                  <a:cubicBezTo>
                    <a:pt x="54" y="192"/>
                    <a:pt x="54" y="192"/>
                    <a:pt x="54" y="192"/>
                  </a:cubicBezTo>
                  <a:cubicBezTo>
                    <a:pt x="71" y="199"/>
                    <a:pt x="71" y="199"/>
                    <a:pt x="71" y="199"/>
                  </a:cubicBezTo>
                  <a:cubicBezTo>
                    <a:pt x="76" y="188"/>
                    <a:pt x="76" y="188"/>
                    <a:pt x="76" y="188"/>
                  </a:cubicBezTo>
                  <a:cubicBezTo>
                    <a:pt x="81" y="189"/>
                    <a:pt x="87" y="190"/>
                    <a:pt x="92" y="191"/>
                  </a:cubicBezTo>
                  <a:cubicBezTo>
                    <a:pt x="92" y="203"/>
                    <a:pt x="92" y="203"/>
                    <a:pt x="92" y="203"/>
                  </a:cubicBezTo>
                  <a:cubicBezTo>
                    <a:pt x="111" y="203"/>
                    <a:pt x="111" y="203"/>
                    <a:pt x="111" y="203"/>
                  </a:cubicBezTo>
                  <a:cubicBezTo>
                    <a:pt x="111" y="191"/>
                    <a:pt x="111" y="191"/>
                    <a:pt x="111" y="191"/>
                  </a:cubicBezTo>
                  <a:cubicBezTo>
                    <a:pt x="117" y="190"/>
                    <a:pt x="122" y="189"/>
                    <a:pt x="127" y="188"/>
                  </a:cubicBezTo>
                  <a:cubicBezTo>
                    <a:pt x="132" y="199"/>
                    <a:pt x="132" y="199"/>
                    <a:pt x="132" y="199"/>
                  </a:cubicBezTo>
                  <a:cubicBezTo>
                    <a:pt x="149" y="192"/>
                    <a:pt x="149" y="192"/>
                    <a:pt x="149" y="192"/>
                  </a:cubicBezTo>
                  <a:cubicBezTo>
                    <a:pt x="144" y="181"/>
                    <a:pt x="144" y="181"/>
                    <a:pt x="144" y="181"/>
                  </a:cubicBezTo>
                  <a:cubicBezTo>
                    <a:pt x="149" y="178"/>
                    <a:pt x="154" y="175"/>
                    <a:pt x="158" y="171"/>
                  </a:cubicBezTo>
                  <a:cubicBezTo>
                    <a:pt x="167" y="180"/>
                    <a:pt x="167" y="180"/>
                    <a:pt x="167" y="180"/>
                  </a:cubicBezTo>
                  <a:cubicBezTo>
                    <a:pt x="180" y="167"/>
                    <a:pt x="180" y="167"/>
                    <a:pt x="180" y="167"/>
                  </a:cubicBezTo>
                  <a:cubicBezTo>
                    <a:pt x="171" y="158"/>
                    <a:pt x="171" y="158"/>
                    <a:pt x="171" y="158"/>
                  </a:cubicBezTo>
                  <a:cubicBezTo>
                    <a:pt x="175" y="154"/>
                    <a:pt x="178" y="149"/>
                    <a:pt x="180" y="144"/>
                  </a:cubicBezTo>
                  <a:cubicBezTo>
                    <a:pt x="192" y="149"/>
                    <a:pt x="192" y="149"/>
                    <a:pt x="192" y="149"/>
                  </a:cubicBezTo>
                  <a:cubicBezTo>
                    <a:pt x="199" y="132"/>
                    <a:pt x="199" y="132"/>
                    <a:pt x="199" y="132"/>
                  </a:cubicBezTo>
                  <a:cubicBezTo>
                    <a:pt x="187" y="127"/>
                    <a:pt x="187" y="127"/>
                    <a:pt x="187" y="127"/>
                  </a:cubicBezTo>
                  <a:cubicBezTo>
                    <a:pt x="188" y="122"/>
                    <a:pt x="189" y="117"/>
                    <a:pt x="190" y="112"/>
                  </a:cubicBezTo>
                  <a:lnTo>
                    <a:pt x="203" y="112"/>
                  </a:lnTo>
                  <a:close/>
                  <a:moveTo>
                    <a:pt x="57" y="58"/>
                  </a:moveTo>
                  <a:cubicBezTo>
                    <a:pt x="67" y="48"/>
                    <a:pt x="80" y="41"/>
                    <a:pt x="93" y="40"/>
                  </a:cubicBezTo>
                  <a:cubicBezTo>
                    <a:pt x="93" y="73"/>
                    <a:pt x="93" y="73"/>
                    <a:pt x="93" y="73"/>
                  </a:cubicBezTo>
                  <a:cubicBezTo>
                    <a:pt x="83" y="76"/>
                    <a:pt x="75" y="84"/>
                    <a:pt x="72" y="95"/>
                  </a:cubicBezTo>
                  <a:cubicBezTo>
                    <a:pt x="39" y="95"/>
                    <a:pt x="39" y="95"/>
                    <a:pt x="39" y="95"/>
                  </a:cubicBezTo>
                  <a:cubicBezTo>
                    <a:pt x="40" y="81"/>
                    <a:pt x="47" y="68"/>
                    <a:pt x="57" y="58"/>
                  </a:cubicBezTo>
                  <a:close/>
                  <a:moveTo>
                    <a:pt x="93" y="166"/>
                  </a:moveTo>
                  <a:cubicBezTo>
                    <a:pt x="80" y="164"/>
                    <a:pt x="67" y="158"/>
                    <a:pt x="57" y="148"/>
                  </a:cubicBezTo>
                  <a:cubicBezTo>
                    <a:pt x="47" y="138"/>
                    <a:pt x="40" y="125"/>
                    <a:pt x="39" y="111"/>
                  </a:cubicBezTo>
                  <a:cubicBezTo>
                    <a:pt x="72" y="111"/>
                    <a:pt x="72" y="111"/>
                    <a:pt x="72" y="111"/>
                  </a:cubicBezTo>
                  <a:cubicBezTo>
                    <a:pt x="75" y="122"/>
                    <a:pt x="83" y="130"/>
                    <a:pt x="93" y="133"/>
                  </a:cubicBezTo>
                  <a:lnTo>
                    <a:pt x="93" y="166"/>
                  </a:lnTo>
                  <a:close/>
                  <a:moveTo>
                    <a:pt x="89" y="102"/>
                  </a:moveTo>
                  <a:cubicBezTo>
                    <a:pt x="89" y="95"/>
                    <a:pt x="95" y="89"/>
                    <a:pt x="102" y="89"/>
                  </a:cubicBezTo>
                  <a:cubicBezTo>
                    <a:pt x="109" y="89"/>
                    <a:pt x="114" y="95"/>
                    <a:pt x="114" y="102"/>
                  </a:cubicBezTo>
                  <a:cubicBezTo>
                    <a:pt x="114" y="109"/>
                    <a:pt x="109" y="114"/>
                    <a:pt x="102" y="114"/>
                  </a:cubicBezTo>
                  <a:cubicBezTo>
                    <a:pt x="95" y="114"/>
                    <a:pt x="89" y="109"/>
                    <a:pt x="89" y="102"/>
                  </a:cubicBezTo>
                  <a:close/>
                  <a:moveTo>
                    <a:pt x="147" y="148"/>
                  </a:moveTo>
                  <a:cubicBezTo>
                    <a:pt x="137" y="158"/>
                    <a:pt x="124" y="164"/>
                    <a:pt x="110" y="166"/>
                  </a:cubicBezTo>
                  <a:cubicBezTo>
                    <a:pt x="110" y="133"/>
                    <a:pt x="110" y="133"/>
                    <a:pt x="110" y="133"/>
                  </a:cubicBezTo>
                  <a:cubicBezTo>
                    <a:pt x="115" y="131"/>
                    <a:pt x="120" y="129"/>
                    <a:pt x="124" y="125"/>
                  </a:cubicBezTo>
                  <a:cubicBezTo>
                    <a:pt x="128" y="121"/>
                    <a:pt x="130" y="116"/>
                    <a:pt x="132" y="111"/>
                  </a:cubicBezTo>
                  <a:cubicBezTo>
                    <a:pt x="165" y="111"/>
                    <a:pt x="165" y="111"/>
                    <a:pt x="165" y="111"/>
                  </a:cubicBezTo>
                  <a:cubicBezTo>
                    <a:pt x="163" y="125"/>
                    <a:pt x="157" y="138"/>
                    <a:pt x="147" y="148"/>
                  </a:cubicBezTo>
                  <a:close/>
                  <a:moveTo>
                    <a:pt x="132" y="95"/>
                  </a:moveTo>
                  <a:cubicBezTo>
                    <a:pt x="129" y="84"/>
                    <a:pt x="121" y="76"/>
                    <a:pt x="110" y="73"/>
                  </a:cubicBezTo>
                  <a:cubicBezTo>
                    <a:pt x="110" y="40"/>
                    <a:pt x="110" y="40"/>
                    <a:pt x="110" y="40"/>
                  </a:cubicBezTo>
                  <a:cubicBezTo>
                    <a:pt x="124" y="41"/>
                    <a:pt x="137" y="48"/>
                    <a:pt x="147" y="58"/>
                  </a:cubicBezTo>
                  <a:cubicBezTo>
                    <a:pt x="157" y="68"/>
                    <a:pt x="163" y="81"/>
                    <a:pt x="165" y="95"/>
                  </a:cubicBezTo>
                  <a:lnTo>
                    <a:pt x="132" y="95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Freeform 96"/>
            <p:cNvSpPr>
              <a:spLocks noEditPoints="1"/>
            </p:cNvSpPr>
            <p:nvPr/>
          </p:nvSpPr>
          <p:spPr bwMode="gray">
            <a:xfrm>
              <a:off x="9109375" y="4723133"/>
              <a:ext cx="254000" cy="254000"/>
            </a:xfrm>
            <a:custGeom>
              <a:avLst/>
              <a:gdLst>
                <a:gd name="T0" fmla="*/ 184 w 184"/>
                <a:gd name="T1" fmla="*/ 112 h 185"/>
                <a:gd name="T2" fmla="*/ 161 w 184"/>
                <a:gd name="T3" fmla="*/ 89 h 185"/>
                <a:gd name="T4" fmla="*/ 181 w 184"/>
                <a:gd name="T5" fmla="*/ 63 h 185"/>
                <a:gd name="T6" fmla="*/ 150 w 184"/>
                <a:gd name="T7" fmla="*/ 55 h 185"/>
                <a:gd name="T8" fmla="*/ 155 w 184"/>
                <a:gd name="T9" fmla="*/ 22 h 185"/>
                <a:gd name="T10" fmla="*/ 123 w 184"/>
                <a:gd name="T11" fmla="*/ 31 h 185"/>
                <a:gd name="T12" fmla="*/ 111 w 184"/>
                <a:gd name="T13" fmla="*/ 0 h 185"/>
                <a:gd name="T14" fmla="*/ 88 w 184"/>
                <a:gd name="T15" fmla="*/ 23 h 185"/>
                <a:gd name="T16" fmla="*/ 63 w 184"/>
                <a:gd name="T17" fmla="*/ 3 h 185"/>
                <a:gd name="T18" fmla="*/ 54 w 184"/>
                <a:gd name="T19" fmla="*/ 34 h 185"/>
                <a:gd name="T20" fmla="*/ 22 w 184"/>
                <a:gd name="T21" fmla="*/ 29 h 185"/>
                <a:gd name="T22" fmla="*/ 30 w 184"/>
                <a:gd name="T23" fmla="*/ 61 h 185"/>
                <a:gd name="T24" fmla="*/ 0 w 184"/>
                <a:gd name="T25" fmla="*/ 73 h 185"/>
                <a:gd name="T26" fmla="*/ 23 w 184"/>
                <a:gd name="T27" fmla="*/ 96 h 185"/>
                <a:gd name="T28" fmla="*/ 2 w 184"/>
                <a:gd name="T29" fmla="*/ 121 h 185"/>
                <a:gd name="T30" fmla="*/ 34 w 184"/>
                <a:gd name="T31" fmla="*/ 130 h 185"/>
                <a:gd name="T32" fmla="*/ 29 w 184"/>
                <a:gd name="T33" fmla="*/ 162 h 185"/>
                <a:gd name="T34" fmla="*/ 60 w 184"/>
                <a:gd name="T35" fmla="*/ 154 h 185"/>
                <a:gd name="T36" fmla="*/ 72 w 184"/>
                <a:gd name="T37" fmla="*/ 185 h 185"/>
                <a:gd name="T38" fmla="*/ 95 w 184"/>
                <a:gd name="T39" fmla="*/ 161 h 185"/>
                <a:gd name="T40" fmla="*/ 121 w 184"/>
                <a:gd name="T41" fmla="*/ 182 h 185"/>
                <a:gd name="T42" fmla="*/ 129 w 184"/>
                <a:gd name="T43" fmla="*/ 150 h 185"/>
                <a:gd name="T44" fmla="*/ 162 w 184"/>
                <a:gd name="T45" fmla="*/ 156 h 185"/>
                <a:gd name="T46" fmla="*/ 153 w 184"/>
                <a:gd name="T47" fmla="*/ 124 h 185"/>
                <a:gd name="T48" fmla="*/ 184 w 184"/>
                <a:gd name="T49" fmla="*/ 112 h 185"/>
                <a:gd name="T50" fmla="*/ 92 w 184"/>
                <a:gd name="T51" fmla="*/ 115 h 185"/>
                <a:gd name="T52" fmla="*/ 69 w 184"/>
                <a:gd name="T53" fmla="*/ 92 h 185"/>
                <a:gd name="T54" fmla="*/ 92 w 184"/>
                <a:gd name="T55" fmla="*/ 70 h 185"/>
                <a:gd name="T56" fmla="*/ 114 w 184"/>
                <a:gd name="T57" fmla="*/ 92 h 185"/>
                <a:gd name="T58" fmla="*/ 92 w 184"/>
                <a:gd name="T59" fmla="*/ 115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84" h="185">
                  <a:moveTo>
                    <a:pt x="184" y="112"/>
                  </a:moveTo>
                  <a:cubicBezTo>
                    <a:pt x="161" y="89"/>
                    <a:pt x="161" y="89"/>
                    <a:pt x="161" y="89"/>
                  </a:cubicBezTo>
                  <a:cubicBezTo>
                    <a:pt x="181" y="63"/>
                    <a:pt x="181" y="63"/>
                    <a:pt x="181" y="63"/>
                  </a:cubicBezTo>
                  <a:cubicBezTo>
                    <a:pt x="150" y="55"/>
                    <a:pt x="150" y="55"/>
                    <a:pt x="150" y="55"/>
                  </a:cubicBezTo>
                  <a:cubicBezTo>
                    <a:pt x="155" y="22"/>
                    <a:pt x="155" y="22"/>
                    <a:pt x="155" y="22"/>
                  </a:cubicBezTo>
                  <a:cubicBezTo>
                    <a:pt x="123" y="31"/>
                    <a:pt x="123" y="31"/>
                    <a:pt x="123" y="31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88" y="23"/>
                    <a:pt x="88" y="23"/>
                    <a:pt x="88" y="23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54" y="34"/>
                    <a:pt x="54" y="34"/>
                    <a:pt x="54" y="34"/>
                  </a:cubicBezTo>
                  <a:cubicBezTo>
                    <a:pt x="22" y="29"/>
                    <a:pt x="22" y="29"/>
                    <a:pt x="22" y="29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23" y="96"/>
                    <a:pt x="23" y="96"/>
                    <a:pt x="23" y="96"/>
                  </a:cubicBezTo>
                  <a:cubicBezTo>
                    <a:pt x="2" y="121"/>
                    <a:pt x="2" y="121"/>
                    <a:pt x="2" y="121"/>
                  </a:cubicBezTo>
                  <a:cubicBezTo>
                    <a:pt x="34" y="130"/>
                    <a:pt x="34" y="130"/>
                    <a:pt x="34" y="130"/>
                  </a:cubicBezTo>
                  <a:cubicBezTo>
                    <a:pt x="29" y="162"/>
                    <a:pt x="29" y="162"/>
                    <a:pt x="29" y="162"/>
                  </a:cubicBezTo>
                  <a:cubicBezTo>
                    <a:pt x="60" y="154"/>
                    <a:pt x="60" y="154"/>
                    <a:pt x="60" y="154"/>
                  </a:cubicBezTo>
                  <a:cubicBezTo>
                    <a:pt x="72" y="185"/>
                    <a:pt x="72" y="185"/>
                    <a:pt x="72" y="185"/>
                  </a:cubicBezTo>
                  <a:cubicBezTo>
                    <a:pt x="95" y="161"/>
                    <a:pt x="95" y="161"/>
                    <a:pt x="95" y="161"/>
                  </a:cubicBezTo>
                  <a:cubicBezTo>
                    <a:pt x="121" y="182"/>
                    <a:pt x="121" y="182"/>
                    <a:pt x="121" y="182"/>
                  </a:cubicBezTo>
                  <a:cubicBezTo>
                    <a:pt x="129" y="150"/>
                    <a:pt x="129" y="150"/>
                    <a:pt x="129" y="150"/>
                  </a:cubicBezTo>
                  <a:cubicBezTo>
                    <a:pt x="162" y="156"/>
                    <a:pt x="162" y="156"/>
                    <a:pt x="162" y="156"/>
                  </a:cubicBezTo>
                  <a:cubicBezTo>
                    <a:pt x="153" y="124"/>
                    <a:pt x="153" y="124"/>
                    <a:pt x="153" y="124"/>
                  </a:cubicBezTo>
                  <a:lnTo>
                    <a:pt x="184" y="112"/>
                  </a:lnTo>
                  <a:close/>
                  <a:moveTo>
                    <a:pt x="92" y="115"/>
                  </a:moveTo>
                  <a:cubicBezTo>
                    <a:pt x="79" y="115"/>
                    <a:pt x="69" y="105"/>
                    <a:pt x="69" y="92"/>
                  </a:cubicBezTo>
                  <a:cubicBezTo>
                    <a:pt x="69" y="80"/>
                    <a:pt x="79" y="70"/>
                    <a:pt x="92" y="70"/>
                  </a:cubicBezTo>
                  <a:cubicBezTo>
                    <a:pt x="104" y="70"/>
                    <a:pt x="114" y="80"/>
                    <a:pt x="114" y="92"/>
                  </a:cubicBezTo>
                  <a:cubicBezTo>
                    <a:pt x="114" y="105"/>
                    <a:pt x="104" y="115"/>
                    <a:pt x="92" y="115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Freeform 97"/>
            <p:cNvSpPr>
              <a:spLocks noEditPoints="1"/>
            </p:cNvSpPr>
            <p:nvPr/>
          </p:nvSpPr>
          <p:spPr bwMode="gray">
            <a:xfrm>
              <a:off x="9464975" y="4650108"/>
              <a:ext cx="358775" cy="355600"/>
            </a:xfrm>
            <a:custGeom>
              <a:avLst/>
              <a:gdLst>
                <a:gd name="T0" fmla="*/ 247 w 259"/>
                <a:gd name="T1" fmla="*/ 139 h 259"/>
                <a:gd name="T2" fmla="*/ 228 w 259"/>
                <a:gd name="T3" fmla="*/ 133 h 259"/>
                <a:gd name="T4" fmla="*/ 224 w 259"/>
                <a:gd name="T5" fmla="*/ 103 h 259"/>
                <a:gd name="T6" fmla="*/ 241 w 259"/>
                <a:gd name="T7" fmla="*/ 94 h 259"/>
                <a:gd name="T8" fmla="*/ 247 w 259"/>
                <a:gd name="T9" fmla="*/ 73 h 259"/>
                <a:gd name="T10" fmla="*/ 239 w 259"/>
                <a:gd name="T11" fmla="*/ 59 h 259"/>
                <a:gd name="T12" fmla="*/ 219 w 259"/>
                <a:gd name="T13" fmla="*/ 53 h 259"/>
                <a:gd name="T14" fmla="*/ 202 w 259"/>
                <a:gd name="T15" fmla="*/ 63 h 259"/>
                <a:gd name="T16" fmla="*/ 178 w 259"/>
                <a:gd name="T17" fmla="*/ 44 h 259"/>
                <a:gd name="T18" fmla="*/ 183 w 259"/>
                <a:gd name="T19" fmla="*/ 25 h 259"/>
                <a:gd name="T20" fmla="*/ 173 w 259"/>
                <a:gd name="T21" fmla="*/ 7 h 259"/>
                <a:gd name="T22" fmla="*/ 157 w 259"/>
                <a:gd name="T23" fmla="*/ 2 h 259"/>
                <a:gd name="T24" fmla="*/ 138 w 259"/>
                <a:gd name="T25" fmla="*/ 12 h 259"/>
                <a:gd name="T26" fmla="*/ 133 w 259"/>
                <a:gd name="T27" fmla="*/ 31 h 259"/>
                <a:gd name="T28" fmla="*/ 103 w 259"/>
                <a:gd name="T29" fmla="*/ 35 h 259"/>
                <a:gd name="T30" fmla="*/ 93 w 259"/>
                <a:gd name="T31" fmla="*/ 18 h 259"/>
                <a:gd name="T32" fmla="*/ 73 w 259"/>
                <a:gd name="T33" fmla="*/ 12 h 259"/>
                <a:gd name="T34" fmla="*/ 59 w 259"/>
                <a:gd name="T35" fmla="*/ 20 h 259"/>
                <a:gd name="T36" fmla="*/ 53 w 259"/>
                <a:gd name="T37" fmla="*/ 40 h 259"/>
                <a:gd name="T38" fmla="*/ 63 w 259"/>
                <a:gd name="T39" fmla="*/ 58 h 259"/>
                <a:gd name="T40" fmla="*/ 44 w 259"/>
                <a:gd name="T41" fmla="*/ 81 h 259"/>
                <a:gd name="T42" fmla="*/ 25 w 259"/>
                <a:gd name="T43" fmla="*/ 76 h 259"/>
                <a:gd name="T44" fmla="*/ 7 w 259"/>
                <a:gd name="T45" fmla="*/ 86 h 259"/>
                <a:gd name="T46" fmla="*/ 2 w 259"/>
                <a:gd name="T47" fmla="*/ 103 h 259"/>
                <a:gd name="T48" fmla="*/ 12 w 259"/>
                <a:gd name="T49" fmla="*/ 121 h 259"/>
                <a:gd name="T50" fmla="*/ 31 w 259"/>
                <a:gd name="T51" fmla="*/ 126 h 259"/>
                <a:gd name="T52" fmla="*/ 35 w 259"/>
                <a:gd name="T53" fmla="*/ 156 h 259"/>
                <a:gd name="T54" fmla="*/ 18 w 259"/>
                <a:gd name="T55" fmla="*/ 166 h 259"/>
                <a:gd name="T56" fmla="*/ 12 w 259"/>
                <a:gd name="T57" fmla="*/ 186 h 259"/>
                <a:gd name="T58" fmla="*/ 20 w 259"/>
                <a:gd name="T59" fmla="*/ 201 h 259"/>
                <a:gd name="T60" fmla="*/ 40 w 259"/>
                <a:gd name="T61" fmla="*/ 206 h 259"/>
                <a:gd name="T62" fmla="*/ 58 w 259"/>
                <a:gd name="T63" fmla="*/ 197 h 259"/>
                <a:gd name="T64" fmla="*/ 81 w 259"/>
                <a:gd name="T65" fmla="*/ 215 h 259"/>
                <a:gd name="T66" fmla="*/ 76 w 259"/>
                <a:gd name="T67" fmla="*/ 234 h 259"/>
                <a:gd name="T68" fmla="*/ 86 w 259"/>
                <a:gd name="T69" fmla="*/ 253 h 259"/>
                <a:gd name="T70" fmla="*/ 102 w 259"/>
                <a:gd name="T71" fmla="*/ 257 h 259"/>
                <a:gd name="T72" fmla="*/ 121 w 259"/>
                <a:gd name="T73" fmla="*/ 247 h 259"/>
                <a:gd name="T74" fmla="*/ 126 w 259"/>
                <a:gd name="T75" fmla="*/ 228 h 259"/>
                <a:gd name="T76" fmla="*/ 156 w 259"/>
                <a:gd name="T77" fmla="*/ 224 h 259"/>
                <a:gd name="T78" fmla="*/ 166 w 259"/>
                <a:gd name="T79" fmla="*/ 242 h 259"/>
                <a:gd name="T80" fmla="*/ 186 w 259"/>
                <a:gd name="T81" fmla="*/ 247 h 259"/>
                <a:gd name="T82" fmla="*/ 200 w 259"/>
                <a:gd name="T83" fmla="*/ 239 h 259"/>
                <a:gd name="T84" fmla="*/ 206 w 259"/>
                <a:gd name="T85" fmla="*/ 219 h 259"/>
                <a:gd name="T86" fmla="*/ 197 w 259"/>
                <a:gd name="T87" fmla="*/ 202 h 259"/>
                <a:gd name="T88" fmla="*/ 215 w 259"/>
                <a:gd name="T89" fmla="*/ 178 h 259"/>
                <a:gd name="T90" fmla="*/ 234 w 259"/>
                <a:gd name="T91" fmla="*/ 183 h 259"/>
                <a:gd name="T92" fmla="*/ 252 w 259"/>
                <a:gd name="T93" fmla="*/ 173 h 259"/>
                <a:gd name="T94" fmla="*/ 257 w 259"/>
                <a:gd name="T95" fmla="*/ 157 h 259"/>
                <a:gd name="T96" fmla="*/ 247 w 259"/>
                <a:gd name="T97" fmla="*/ 139 h 259"/>
                <a:gd name="T98" fmla="*/ 116 w 259"/>
                <a:gd name="T99" fmla="*/ 178 h 259"/>
                <a:gd name="T100" fmla="*/ 82 w 259"/>
                <a:gd name="T101" fmla="*/ 116 h 259"/>
                <a:gd name="T102" fmla="*/ 143 w 259"/>
                <a:gd name="T103" fmla="*/ 82 h 259"/>
                <a:gd name="T104" fmla="*/ 177 w 259"/>
                <a:gd name="T105" fmla="*/ 143 h 259"/>
                <a:gd name="T106" fmla="*/ 116 w 259"/>
                <a:gd name="T107" fmla="*/ 178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59" h="259">
                  <a:moveTo>
                    <a:pt x="247" y="139"/>
                  </a:moveTo>
                  <a:cubicBezTo>
                    <a:pt x="228" y="133"/>
                    <a:pt x="228" y="133"/>
                    <a:pt x="228" y="133"/>
                  </a:cubicBezTo>
                  <a:cubicBezTo>
                    <a:pt x="228" y="123"/>
                    <a:pt x="227" y="113"/>
                    <a:pt x="224" y="103"/>
                  </a:cubicBezTo>
                  <a:cubicBezTo>
                    <a:pt x="241" y="94"/>
                    <a:pt x="241" y="94"/>
                    <a:pt x="241" y="94"/>
                  </a:cubicBezTo>
                  <a:cubicBezTo>
                    <a:pt x="249" y="90"/>
                    <a:pt x="251" y="81"/>
                    <a:pt x="247" y="73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5" y="52"/>
                    <a:pt x="226" y="49"/>
                    <a:pt x="219" y="53"/>
                  </a:cubicBezTo>
                  <a:cubicBezTo>
                    <a:pt x="202" y="63"/>
                    <a:pt x="202" y="63"/>
                    <a:pt x="202" y="63"/>
                  </a:cubicBezTo>
                  <a:cubicBezTo>
                    <a:pt x="195" y="55"/>
                    <a:pt x="187" y="49"/>
                    <a:pt x="178" y="44"/>
                  </a:cubicBezTo>
                  <a:cubicBezTo>
                    <a:pt x="183" y="25"/>
                    <a:pt x="183" y="25"/>
                    <a:pt x="183" y="25"/>
                  </a:cubicBezTo>
                  <a:cubicBezTo>
                    <a:pt x="185" y="17"/>
                    <a:pt x="181" y="9"/>
                    <a:pt x="173" y="7"/>
                  </a:cubicBezTo>
                  <a:cubicBezTo>
                    <a:pt x="157" y="2"/>
                    <a:pt x="157" y="2"/>
                    <a:pt x="157" y="2"/>
                  </a:cubicBezTo>
                  <a:cubicBezTo>
                    <a:pt x="149" y="0"/>
                    <a:pt x="141" y="5"/>
                    <a:pt x="138" y="12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23" y="31"/>
                    <a:pt x="113" y="32"/>
                    <a:pt x="103" y="35"/>
                  </a:cubicBezTo>
                  <a:cubicBezTo>
                    <a:pt x="93" y="18"/>
                    <a:pt x="93" y="18"/>
                    <a:pt x="93" y="18"/>
                  </a:cubicBezTo>
                  <a:cubicBezTo>
                    <a:pt x="90" y="11"/>
                    <a:pt x="80" y="8"/>
                    <a:pt x="73" y="12"/>
                  </a:cubicBezTo>
                  <a:cubicBezTo>
                    <a:pt x="59" y="20"/>
                    <a:pt x="59" y="20"/>
                    <a:pt x="59" y="20"/>
                  </a:cubicBezTo>
                  <a:cubicBezTo>
                    <a:pt x="51" y="24"/>
                    <a:pt x="49" y="33"/>
                    <a:pt x="53" y="40"/>
                  </a:cubicBezTo>
                  <a:cubicBezTo>
                    <a:pt x="63" y="58"/>
                    <a:pt x="63" y="58"/>
                    <a:pt x="63" y="58"/>
                  </a:cubicBezTo>
                  <a:cubicBezTo>
                    <a:pt x="55" y="64"/>
                    <a:pt x="49" y="72"/>
                    <a:pt x="44" y="81"/>
                  </a:cubicBezTo>
                  <a:cubicBezTo>
                    <a:pt x="25" y="76"/>
                    <a:pt x="25" y="76"/>
                    <a:pt x="25" y="76"/>
                  </a:cubicBezTo>
                  <a:cubicBezTo>
                    <a:pt x="17" y="74"/>
                    <a:pt x="9" y="78"/>
                    <a:pt x="7" y="86"/>
                  </a:cubicBezTo>
                  <a:cubicBezTo>
                    <a:pt x="2" y="103"/>
                    <a:pt x="2" y="103"/>
                    <a:pt x="2" y="103"/>
                  </a:cubicBezTo>
                  <a:cubicBezTo>
                    <a:pt x="0" y="110"/>
                    <a:pt x="4" y="119"/>
                    <a:pt x="12" y="121"/>
                  </a:cubicBezTo>
                  <a:cubicBezTo>
                    <a:pt x="31" y="126"/>
                    <a:pt x="31" y="126"/>
                    <a:pt x="31" y="126"/>
                  </a:cubicBezTo>
                  <a:cubicBezTo>
                    <a:pt x="31" y="136"/>
                    <a:pt x="32" y="146"/>
                    <a:pt x="35" y="156"/>
                  </a:cubicBezTo>
                  <a:cubicBezTo>
                    <a:pt x="18" y="166"/>
                    <a:pt x="18" y="166"/>
                    <a:pt x="18" y="166"/>
                  </a:cubicBezTo>
                  <a:cubicBezTo>
                    <a:pt x="11" y="170"/>
                    <a:pt x="8" y="179"/>
                    <a:pt x="12" y="186"/>
                  </a:cubicBezTo>
                  <a:cubicBezTo>
                    <a:pt x="20" y="201"/>
                    <a:pt x="20" y="201"/>
                    <a:pt x="20" y="201"/>
                  </a:cubicBezTo>
                  <a:cubicBezTo>
                    <a:pt x="24" y="208"/>
                    <a:pt x="33" y="210"/>
                    <a:pt x="40" y="206"/>
                  </a:cubicBezTo>
                  <a:cubicBezTo>
                    <a:pt x="58" y="197"/>
                    <a:pt x="58" y="197"/>
                    <a:pt x="58" y="197"/>
                  </a:cubicBezTo>
                  <a:cubicBezTo>
                    <a:pt x="64" y="204"/>
                    <a:pt x="72" y="210"/>
                    <a:pt x="81" y="215"/>
                  </a:cubicBezTo>
                  <a:cubicBezTo>
                    <a:pt x="76" y="234"/>
                    <a:pt x="76" y="234"/>
                    <a:pt x="76" y="234"/>
                  </a:cubicBezTo>
                  <a:cubicBezTo>
                    <a:pt x="74" y="242"/>
                    <a:pt x="78" y="250"/>
                    <a:pt x="86" y="253"/>
                  </a:cubicBezTo>
                  <a:cubicBezTo>
                    <a:pt x="102" y="257"/>
                    <a:pt x="102" y="257"/>
                    <a:pt x="102" y="257"/>
                  </a:cubicBezTo>
                  <a:cubicBezTo>
                    <a:pt x="110" y="259"/>
                    <a:pt x="118" y="255"/>
                    <a:pt x="121" y="247"/>
                  </a:cubicBezTo>
                  <a:cubicBezTo>
                    <a:pt x="126" y="228"/>
                    <a:pt x="126" y="228"/>
                    <a:pt x="126" y="228"/>
                  </a:cubicBezTo>
                  <a:cubicBezTo>
                    <a:pt x="136" y="228"/>
                    <a:pt x="146" y="227"/>
                    <a:pt x="156" y="224"/>
                  </a:cubicBezTo>
                  <a:cubicBezTo>
                    <a:pt x="166" y="242"/>
                    <a:pt x="166" y="242"/>
                    <a:pt x="166" y="242"/>
                  </a:cubicBezTo>
                  <a:cubicBezTo>
                    <a:pt x="170" y="249"/>
                    <a:pt x="179" y="251"/>
                    <a:pt x="186" y="247"/>
                  </a:cubicBezTo>
                  <a:cubicBezTo>
                    <a:pt x="200" y="239"/>
                    <a:pt x="200" y="239"/>
                    <a:pt x="200" y="239"/>
                  </a:cubicBezTo>
                  <a:cubicBezTo>
                    <a:pt x="208" y="235"/>
                    <a:pt x="210" y="226"/>
                    <a:pt x="206" y="219"/>
                  </a:cubicBezTo>
                  <a:cubicBezTo>
                    <a:pt x="197" y="202"/>
                    <a:pt x="197" y="202"/>
                    <a:pt x="197" y="202"/>
                  </a:cubicBezTo>
                  <a:cubicBezTo>
                    <a:pt x="204" y="195"/>
                    <a:pt x="210" y="187"/>
                    <a:pt x="215" y="178"/>
                  </a:cubicBezTo>
                  <a:cubicBezTo>
                    <a:pt x="234" y="183"/>
                    <a:pt x="234" y="183"/>
                    <a:pt x="234" y="183"/>
                  </a:cubicBezTo>
                  <a:cubicBezTo>
                    <a:pt x="242" y="185"/>
                    <a:pt x="250" y="181"/>
                    <a:pt x="252" y="173"/>
                  </a:cubicBezTo>
                  <a:cubicBezTo>
                    <a:pt x="257" y="157"/>
                    <a:pt x="257" y="157"/>
                    <a:pt x="257" y="157"/>
                  </a:cubicBezTo>
                  <a:cubicBezTo>
                    <a:pt x="259" y="149"/>
                    <a:pt x="255" y="141"/>
                    <a:pt x="247" y="139"/>
                  </a:cubicBezTo>
                  <a:close/>
                  <a:moveTo>
                    <a:pt x="116" y="178"/>
                  </a:moveTo>
                  <a:cubicBezTo>
                    <a:pt x="90" y="170"/>
                    <a:pt x="74" y="143"/>
                    <a:pt x="82" y="116"/>
                  </a:cubicBezTo>
                  <a:cubicBezTo>
                    <a:pt x="89" y="90"/>
                    <a:pt x="117" y="74"/>
                    <a:pt x="143" y="82"/>
                  </a:cubicBezTo>
                  <a:cubicBezTo>
                    <a:pt x="169" y="89"/>
                    <a:pt x="185" y="117"/>
                    <a:pt x="177" y="143"/>
                  </a:cubicBezTo>
                  <a:cubicBezTo>
                    <a:pt x="170" y="170"/>
                    <a:pt x="142" y="185"/>
                    <a:pt x="116" y="178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Freeform 98"/>
            <p:cNvSpPr>
              <a:spLocks noEditPoints="1"/>
            </p:cNvSpPr>
            <p:nvPr/>
          </p:nvSpPr>
          <p:spPr bwMode="gray">
            <a:xfrm>
              <a:off x="9818987" y="4658045"/>
              <a:ext cx="227013" cy="228600"/>
            </a:xfrm>
            <a:custGeom>
              <a:avLst/>
              <a:gdLst>
                <a:gd name="T0" fmla="*/ 165 w 165"/>
                <a:gd name="T1" fmla="*/ 75 h 166"/>
                <a:gd name="T2" fmla="*/ 165 w 165"/>
                <a:gd name="T3" fmla="*/ 75 h 166"/>
                <a:gd name="T4" fmla="*/ 151 w 165"/>
                <a:gd name="T5" fmla="*/ 63 h 166"/>
                <a:gd name="T6" fmla="*/ 156 w 165"/>
                <a:gd name="T7" fmla="*/ 44 h 166"/>
                <a:gd name="T8" fmla="*/ 138 w 165"/>
                <a:gd name="T9" fmla="*/ 38 h 166"/>
                <a:gd name="T10" fmla="*/ 136 w 165"/>
                <a:gd name="T11" fmla="*/ 19 h 166"/>
                <a:gd name="T12" fmla="*/ 117 w 165"/>
                <a:gd name="T13" fmla="*/ 20 h 166"/>
                <a:gd name="T14" fmla="*/ 107 w 165"/>
                <a:gd name="T15" fmla="*/ 3 h 166"/>
                <a:gd name="T16" fmla="*/ 90 w 165"/>
                <a:gd name="T17" fmla="*/ 12 h 166"/>
                <a:gd name="T18" fmla="*/ 90 w 165"/>
                <a:gd name="T19" fmla="*/ 0 h 166"/>
                <a:gd name="T20" fmla="*/ 75 w 165"/>
                <a:gd name="T21" fmla="*/ 0 h 166"/>
                <a:gd name="T22" fmla="*/ 62 w 165"/>
                <a:gd name="T23" fmla="*/ 14 h 166"/>
                <a:gd name="T24" fmla="*/ 44 w 165"/>
                <a:gd name="T25" fmla="*/ 9 h 166"/>
                <a:gd name="T26" fmla="*/ 36 w 165"/>
                <a:gd name="T27" fmla="*/ 27 h 166"/>
                <a:gd name="T28" fmla="*/ 18 w 165"/>
                <a:gd name="T29" fmla="*/ 30 h 166"/>
                <a:gd name="T30" fmla="*/ 19 w 165"/>
                <a:gd name="T31" fmla="*/ 48 h 166"/>
                <a:gd name="T32" fmla="*/ 3 w 165"/>
                <a:gd name="T33" fmla="*/ 58 h 166"/>
                <a:gd name="T34" fmla="*/ 10 w 165"/>
                <a:gd name="T35" fmla="*/ 75 h 166"/>
                <a:gd name="T36" fmla="*/ 0 w 165"/>
                <a:gd name="T37" fmla="*/ 75 h 166"/>
                <a:gd name="T38" fmla="*/ 0 w 165"/>
                <a:gd name="T39" fmla="*/ 80 h 166"/>
                <a:gd name="T40" fmla="*/ 0 w 165"/>
                <a:gd name="T41" fmla="*/ 90 h 166"/>
                <a:gd name="T42" fmla="*/ 10 w 165"/>
                <a:gd name="T43" fmla="*/ 90 h 166"/>
                <a:gd name="T44" fmla="*/ 3 w 165"/>
                <a:gd name="T45" fmla="*/ 107 h 166"/>
                <a:gd name="T46" fmla="*/ 18 w 165"/>
                <a:gd name="T47" fmla="*/ 118 h 166"/>
                <a:gd name="T48" fmla="*/ 18 w 165"/>
                <a:gd name="T49" fmla="*/ 136 h 166"/>
                <a:gd name="T50" fmla="*/ 36 w 165"/>
                <a:gd name="T51" fmla="*/ 140 h 166"/>
                <a:gd name="T52" fmla="*/ 44 w 165"/>
                <a:gd name="T53" fmla="*/ 156 h 166"/>
                <a:gd name="T54" fmla="*/ 62 w 165"/>
                <a:gd name="T55" fmla="*/ 153 h 166"/>
                <a:gd name="T56" fmla="*/ 75 w 165"/>
                <a:gd name="T57" fmla="*/ 166 h 166"/>
                <a:gd name="T58" fmla="*/ 90 w 165"/>
                <a:gd name="T59" fmla="*/ 166 h 166"/>
                <a:gd name="T60" fmla="*/ 90 w 165"/>
                <a:gd name="T61" fmla="*/ 155 h 166"/>
                <a:gd name="T62" fmla="*/ 107 w 165"/>
                <a:gd name="T63" fmla="*/ 162 h 166"/>
                <a:gd name="T64" fmla="*/ 117 w 165"/>
                <a:gd name="T65" fmla="*/ 146 h 166"/>
                <a:gd name="T66" fmla="*/ 135 w 165"/>
                <a:gd name="T67" fmla="*/ 147 h 166"/>
                <a:gd name="T68" fmla="*/ 138 w 165"/>
                <a:gd name="T69" fmla="*/ 129 h 166"/>
                <a:gd name="T70" fmla="*/ 156 w 165"/>
                <a:gd name="T71" fmla="*/ 122 h 166"/>
                <a:gd name="T72" fmla="*/ 151 w 165"/>
                <a:gd name="T73" fmla="*/ 103 h 166"/>
                <a:gd name="T74" fmla="*/ 165 w 165"/>
                <a:gd name="T75" fmla="*/ 90 h 166"/>
                <a:gd name="T76" fmla="*/ 133 w 165"/>
                <a:gd name="T77" fmla="*/ 75 h 166"/>
                <a:gd name="T78" fmla="*/ 104 w 165"/>
                <a:gd name="T79" fmla="*/ 71 h 166"/>
                <a:gd name="T80" fmla="*/ 113 w 165"/>
                <a:gd name="T81" fmla="*/ 42 h 166"/>
                <a:gd name="T82" fmla="*/ 90 w 165"/>
                <a:gd name="T83" fmla="*/ 59 h 166"/>
                <a:gd name="T84" fmla="*/ 113 w 165"/>
                <a:gd name="T85" fmla="*/ 42 h 166"/>
                <a:gd name="T86" fmla="*/ 75 w 165"/>
                <a:gd name="T87" fmla="*/ 90 h 166"/>
                <a:gd name="T88" fmla="*/ 90 w 165"/>
                <a:gd name="T89" fmla="*/ 76 h 166"/>
                <a:gd name="T90" fmla="*/ 75 w 165"/>
                <a:gd name="T91" fmla="*/ 32 h 166"/>
                <a:gd name="T92" fmla="*/ 69 w 165"/>
                <a:gd name="T93" fmla="*/ 61 h 166"/>
                <a:gd name="T94" fmla="*/ 75 w 165"/>
                <a:gd name="T95" fmla="*/ 32 h 166"/>
                <a:gd name="T96" fmla="*/ 60 w 165"/>
                <a:gd name="T97" fmla="*/ 71 h 166"/>
                <a:gd name="T98" fmla="*/ 31 w 165"/>
                <a:gd name="T99" fmla="*/ 75 h 166"/>
                <a:gd name="T100" fmla="*/ 41 w 165"/>
                <a:gd name="T101" fmla="*/ 115 h 166"/>
                <a:gd name="T102" fmla="*/ 57 w 165"/>
                <a:gd name="T103" fmla="*/ 90 h 166"/>
                <a:gd name="T104" fmla="*/ 41 w 165"/>
                <a:gd name="T105" fmla="*/ 115 h 166"/>
                <a:gd name="T106" fmla="*/ 69 w 165"/>
                <a:gd name="T107" fmla="*/ 106 h 166"/>
                <a:gd name="T108" fmla="*/ 75 w 165"/>
                <a:gd name="T109" fmla="*/ 135 h 166"/>
                <a:gd name="T110" fmla="*/ 90 w 165"/>
                <a:gd name="T111" fmla="*/ 135 h 166"/>
                <a:gd name="T112" fmla="*/ 94 w 165"/>
                <a:gd name="T113" fmla="*/ 106 h 166"/>
                <a:gd name="T114" fmla="*/ 90 w 165"/>
                <a:gd name="T115" fmla="*/ 135 h 166"/>
                <a:gd name="T116" fmla="*/ 104 w 165"/>
                <a:gd name="T117" fmla="*/ 96 h 166"/>
                <a:gd name="T118" fmla="*/ 133 w 165"/>
                <a:gd name="T119" fmla="*/ 9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5" h="166">
                  <a:moveTo>
                    <a:pt x="165" y="90"/>
                  </a:moveTo>
                  <a:cubicBezTo>
                    <a:pt x="165" y="75"/>
                    <a:pt x="165" y="75"/>
                    <a:pt x="165" y="75"/>
                  </a:cubicBezTo>
                  <a:cubicBezTo>
                    <a:pt x="165" y="75"/>
                    <a:pt x="165" y="75"/>
                    <a:pt x="165" y="75"/>
                  </a:cubicBezTo>
                  <a:cubicBezTo>
                    <a:pt x="165" y="75"/>
                    <a:pt x="165" y="75"/>
                    <a:pt x="165" y="75"/>
                  </a:cubicBezTo>
                  <a:cubicBezTo>
                    <a:pt x="154" y="75"/>
                    <a:pt x="154" y="75"/>
                    <a:pt x="154" y="75"/>
                  </a:cubicBezTo>
                  <a:cubicBezTo>
                    <a:pt x="153" y="71"/>
                    <a:pt x="152" y="67"/>
                    <a:pt x="151" y="63"/>
                  </a:cubicBezTo>
                  <a:cubicBezTo>
                    <a:pt x="162" y="58"/>
                    <a:pt x="162" y="58"/>
                    <a:pt x="162" y="58"/>
                  </a:cubicBezTo>
                  <a:cubicBezTo>
                    <a:pt x="156" y="44"/>
                    <a:pt x="156" y="44"/>
                    <a:pt x="156" y="44"/>
                  </a:cubicBezTo>
                  <a:cubicBezTo>
                    <a:pt x="145" y="49"/>
                    <a:pt x="145" y="49"/>
                    <a:pt x="145" y="49"/>
                  </a:cubicBezTo>
                  <a:cubicBezTo>
                    <a:pt x="143" y="45"/>
                    <a:pt x="141" y="41"/>
                    <a:pt x="138" y="38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36" y="19"/>
                    <a:pt x="136" y="19"/>
                    <a:pt x="136" y="19"/>
                  </a:cubicBezTo>
                  <a:cubicBezTo>
                    <a:pt x="127" y="27"/>
                    <a:pt x="127" y="27"/>
                    <a:pt x="127" y="27"/>
                  </a:cubicBezTo>
                  <a:cubicBezTo>
                    <a:pt x="124" y="25"/>
                    <a:pt x="120" y="22"/>
                    <a:pt x="117" y="20"/>
                  </a:cubicBezTo>
                  <a:cubicBezTo>
                    <a:pt x="121" y="9"/>
                    <a:pt x="121" y="9"/>
                    <a:pt x="121" y="9"/>
                  </a:cubicBezTo>
                  <a:cubicBezTo>
                    <a:pt x="107" y="3"/>
                    <a:pt x="107" y="3"/>
                    <a:pt x="107" y="3"/>
                  </a:cubicBezTo>
                  <a:cubicBezTo>
                    <a:pt x="103" y="14"/>
                    <a:pt x="103" y="14"/>
                    <a:pt x="103" y="14"/>
                  </a:cubicBezTo>
                  <a:cubicBezTo>
                    <a:pt x="99" y="13"/>
                    <a:pt x="94" y="12"/>
                    <a:pt x="90" y="12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5" y="12"/>
                    <a:pt x="75" y="12"/>
                    <a:pt x="75" y="12"/>
                  </a:cubicBezTo>
                  <a:cubicBezTo>
                    <a:pt x="71" y="12"/>
                    <a:pt x="66" y="13"/>
                    <a:pt x="62" y="14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44" y="22"/>
                    <a:pt x="40" y="24"/>
                    <a:pt x="36" y="27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3" y="41"/>
                    <a:pt x="21" y="45"/>
                    <a:pt x="19" y="48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11" y="66"/>
                    <a:pt x="11" y="71"/>
                    <a:pt x="1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0" y="95"/>
                    <a:pt x="11" y="99"/>
                    <a:pt x="12" y="103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9" y="121"/>
                    <a:pt x="9" y="121"/>
                    <a:pt x="9" y="121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20" y="122"/>
                    <a:pt x="23" y="125"/>
                    <a:pt x="26" y="129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29" y="147"/>
                    <a:pt x="29" y="147"/>
                    <a:pt x="29" y="147"/>
                  </a:cubicBezTo>
                  <a:cubicBezTo>
                    <a:pt x="36" y="140"/>
                    <a:pt x="36" y="140"/>
                    <a:pt x="36" y="140"/>
                  </a:cubicBezTo>
                  <a:cubicBezTo>
                    <a:pt x="40" y="142"/>
                    <a:pt x="44" y="145"/>
                    <a:pt x="48" y="147"/>
                  </a:cubicBezTo>
                  <a:cubicBezTo>
                    <a:pt x="44" y="156"/>
                    <a:pt x="44" y="156"/>
                    <a:pt x="44" y="156"/>
                  </a:cubicBezTo>
                  <a:cubicBezTo>
                    <a:pt x="58" y="162"/>
                    <a:pt x="58" y="162"/>
                    <a:pt x="58" y="162"/>
                  </a:cubicBezTo>
                  <a:cubicBezTo>
                    <a:pt x="62" y="153"/>
                    <a:pt x="62" y="153"/>
                    <a:pt x="62" y="153"/>
                  </a:cubicBezTo>
                  <a:cubicBezTo>
                    <a:pt x="66" y="154"/>
                    <a:pt x="70" y="155"/>
                    <a:pt x="75" y="155"/>
                  </a:cubicBezTo>
                  <a:cubicBezTo>
                    <a:pt x="75" y="166"/>
                    <a:pt x="75" y="166"/>
                    <a:pt x="75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55"/>
                    <a:pt x="90" y="155"/>
                    <a:pt x="90" y="155"/>
                  </a:cubicBezTo>
                  <a:cubicBezTo>
                    <a:pt x="94" y="155"/>
                    <a:pt x="99" y="154"/>
                    <a:pt x="103" y="152"/>
                  </a:cubicBezTo>
                  <a:cubicBezTo>
                    <a:pt x="107" y="162"/>
                    <a:pt x="107" y="162"/>
                    <a:pt x="107" y="162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17" y="146"/>
                    <a:pt x="117" y="146"/>
                    <a:pt x="117" y="146"/>
                  </a:cubicBezTo>
                  <a:cubicBezTo>
                    <a:pt x="121" y="144"/>
                    <a:pt x="124" y="142"/>
                    <a:pt x="127" y="140"/>
                  </a:cubicBezTo>
                  <a:cubicBezTo>
                    <a:pt x="135" y="147"/>
                    <a:pt x="135" y="147"/>
                    <a:pt x="135" y="147"/>
                  </a:cubicBezTo>
                  <a:cubicBezTo>
                    <a:pt x="146" y="137"/>
                    <a:pt x="146" y="137"/>
                    <a:pt x="146" y="137"/>
                  </a:cubicBezTo>
                  <a:cubicBezTo>
                    <a:pt x="138" y="129"/>
                    <a:pt x="138" y="129"/>
                    <a:pt x="138" y="129"/>
                  </a:cubicBezTo>
                  <a:cubicBezTo>
                    <a:pt x="141" y="125"/>
                    <a:pt x="143" y="121"/>
                    <a:pt x="146" y="117"/>
                  </a:cubicBezTo>
                  <a:cubicBezTo>
                    <a:pt x="156" y="122"/>
                    <a:pt x="156" y="122"/>
                    <a:pt x="156" y="122"/>
                  </a:cubicBezTo>
                  <a:cubicBezTo>
                    <a:pt x="162" y="108"/>
                    <a:pt x="162" y="108"/>
                    <a:pt x="162" y="108"/>
                  </a:cubicBezTo>
                  <a:cubicBezTo>
                    <a:pt x="151" y="103"/>
                    <a:pt x="151" y="103"/>
                    <a:pt x="151" y="103"/>
                  </a:cubicBezTo>
                  <a:cubicBezTo>
                    <a:pt x="152" y="99"/>
                    <a:pt x="153" y="95"/>
                    <a:pt x="154" y="90"/>
                  </a:cubicBezTo>
                  <a:lnTo>
                    <a:pt x="165" y="90"/>
                  </a:lnTo>
                  <a:close/>
                  <a:moveTo>
                    <a:pt x="123" y="52"/>
                  </a:moveTo>
                  <a:cubicBezTo>
                    <a:pt x="128" y="59"/>
                    <a:pt x="132" y="67"/>
                    <a:pt x="133" y="75"/>
                  </a:cubicBezTo>
                  <a:cubicBezTo>
                    <a:pt x="106" y="75"/>
                    <a:pt x="106" y="75"/>
                    <a:pt x="106" y="75"/>
                  </a:cubicBezTo>
                  <a:cubicBezTo>
                    <a:pt x="105" y="74"/>
                    <a:pt x="105" y="72"/>
                    <a:pt x="104" y="71"/>
                  </a:cubicBezTo>
                  <a:lnTo>
                    <a:pt x="123" y="52"/>
                  </a:lnTo>
                  <a:close/>
                  <a:moveTo>
                    <a:pt x="113" y="42"/>
                  </a:moveTo>
                  <a:cubicBezTo>
                    <a:pt x="94" y="61"/>
                    <a:pt x="94" y="61"/>
                    <a:pt x="94" y="61"/>
                  </a:cubicBezTo>
                  <a:cubicBezTo>
                    <a:pt x="93" y="61"/>
                    <a:pt x="92" y="60"/>
                    <a:pt x="90" y="59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9" y="34"/>
                    <a:pt x="107" y="37"/>
                    <a:pt x="113" y="42"/>
                  </a:cubicBezTo>
                  <a:close/>
                  <a:moveTo>
                    <a:pt x="90" y="90"/>
                  </a:moveTo>
                  <a:cubicBezTo>
                    <a:pt x="86" y="94"/>
                    <a:pt x="79" y="94"/>
                    <a:pt x="75" y="90"/>
                  </a:cubicBezTo>
                  <a:cubicBezTo>
                    <a:pt x="71" y="86"/>
                    <a:pt x="71" y="80"/>
                    <a:pt x="75" y="76"/>
                  </a:cubicBezTo>
                  <a:cubicBezTo>
                    <a:pt x="79" y="72"/>
                    <a:pt x="86" y="72"/>
                    <a:pt x="90" y="76"/>
                  </a:cubicBezTo>
                  <a:cubicBezTo>
                    <a:pt x="94" y="80"/>
                    <a:pt x="94" y="86"/>
                    <a:pt x="90" y="90"/>
                  </a:cubicBezTo>
                  <a:close/>
                  <a:moveTo>
                    <a:pt x="75" y="32"/>
                  </a:moveTo>
                  <a:cubicBezTo>
                    <a:pt x="75" y="59"/>
                    <a:pt x="75" y="59"/>
                    <a:pt x="75" y="59"/>
                  </a:cubicBezTo>
                  <a:cubicBezTo>
                    <a:pt x="73" y="60"/>
                    <a:pt x="71" y="60"/>
                    <a:pt x="69" y="61"/>
                  </a:cubicBezTo>
                  <a:cubicBezTo>
                    <a:pt x="50" y="42"/>
                    <a:pt x="50" y="42"/>
                    <a:pt x="50" y="42"/>
                  </a:cubicBezTo>
                  <a:cubicBezTo>
                    <a:pt x="57" y="37"/>
                    <a:pt x="66" y="33"/>
                    <a:pt x="75" y="32"/>
                  </a:cubicBezTo>
                  <a:close/>
                  <a:moveTo>
                    <a:pt x="41" y="52"/>
                  </a:moveTo>
                  <a:cubicBezTo>
                    <a:pt x="60" y="71"/>
                    <a:pt x="60" y="71"/>
                    <a:pt x="60" y="71"/>
                  </a:cubicBezTo>
                  <a:cubicBezTo>
                    <a:pt x="59" y="72"/>
                    <a:pt x="58" y="74"/>
                    <a:pt x="58" y="75"/>
                  </a:cubicBezTo>
                  <a:cubicBezTo>
                    <a:pt x="31" y="75"/>
                    <a:pt x="31" y="75"/>
                    <a:pt x="31" y="75"/>
                  </a:cubicBezTo>
                  <a:cubicBezTo>
                    <a:pt x="32" y="67"/>
                    <a:pt x="35" y="59"/>
                    <a:pt x="41" y="52"/>
                  </a:cubicBezTo>
                  <a:close/>
                  <a:moveTo>
                    <a:pt x="41" y="115"/>
                  </a:moveTo>
                  <a:cubicBezTo>
                    <a:pt x="35" y="108"/>
                    <a:pt x="32" y="99"/>
                    <a:pt x="30" y="9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8" y="92"/>
                    <a:pt x="59" y="94"/>
                    <a:pt x="60" y="96"/>
                  </a:cubicBezTo>
                  <a:lnTo>
                    <a:pt x="41" y="115"/>
                  </a:lnTo>
                  <a:close/>
                  <a:moveTo>
                    <a:pt x="50" y="125"/>
                  </a:moveTo>
                  <a:cubicBezTo>
                    <a:pt x="69" y="106"/>
                    <a:pt x="69" y="106"/>
                    <a:pt x="69" y="106"/>
                  </a:cubicBezTo>
                  <a:cubicBezTo>
                    <a:pt x="71" y="107"/>
                    <a:pt x="73" y="107"/>
                    <a:pt x="75" y="108"/>
                  </a:cubicBezTo>
                  <a:cubicBezTo>
                    <a:pt x="75" y="135"/>
                    <a:pt x="75" y="135"/>
                    <a:pt x="75" y="135"/>
                  </a:cubicBezTo>
                  <a:cubicBezTo>
                    <a:pt x="66" y="134"/>
                    <a:pt x="57" y="130"/>
                    <a:pt x="50" y="125"/>
                  </a:cubicBezTo>
                  <a:close/>
                  <a:moveTo>
                    <a:pt x="90" y="135"/>
                  </a:moveTo>
                  <a:cubicBezTo>
                    <a:pt x="90" y="107"/>
                    <a:pt x="90" y="107"/>
                    <a:pt x="90" y="107"/>
                  </a:cubicBezTo>
                  <a:cubicBezTo>
                    <a:pt x="92" y="107"/>
                    <a:pt x="93" y="106"/>
                    <a:pt x="94" y="106"/>
                  </a:cubicBezTo>
                  <a:cubicBezTo>
                    <a:pt x="113" y="125"/>
                    <a:pt x="113" y="125"/>
                    <a:pt x="113" y="125"/>
                  </a:cubicBezTo>
                  <a:cubicBezTo>
                    <a:pt x="107" y="130"/>
                    <a:pt x="99" y="133"/>
                    <a:pt x="90" y="135"/>
                  </a:cubicBezTo>
                  <a:close/>
                  <a:moveTo>
                    <a:pt x="123" y="115"/>
                  </a:moveTo>
                  <a:cubicBezTo>
                    <a:pt x="104" y="96"/>
                    <a:pt x="104" y="96"/>
                    <a:pt x="104" y="96"/>
                  </a:cubicBezTo>
                  <a:cubicBezTo>
                    <a:pt x="105" y="94"/>
                    <a:pt x="106" y="92"/>
                    <a:pt x="106" y="90"/>
                  </a:cubicBezTo>
                  <a:cubicBezTo>
                    <a:pt x="133" y="90"/>
                    <a:pt x="133" y="90"/>
                    <a:pt x="133" y="90"/>
                  </a:cubicBezTo>
                  <a:cubicBezTo>
                    <a:pt x="132" y="99"/>
                    <a:pt x="129" y="108"/>
                    <a:pt x="123" y="115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2" name="Freeform 99"/>
            <p:cNvSpPr>
              <a:spLocks/>
            </p:cNvSpPr>
            <p:nvPr/>
          </p:nvSpPr>
          <p:spPr bwMode="gray">
            <a:xfrm>
              <a:off x="9061750" y="4907283"/>
              <a:ext cx="1035050" cy="211137"/>
            </a:xfrm>
            <a:custGeom>
              <a:avLst/>
              <a:gdLst>
                <a:gd name="T0" fmla="*/ 3 w 748"/>
                <a:gd name="T1" fmla="*/ 0 h 153"/>
                <a:gd name="T2" fmla="*/ 0 w 748"/>
                <a:gd name="T3" fmla="*/ 26 h 153"/>
                <a:gd name="T4" fmla="*/ 127 w 748"/>
                <a:gd name="T5" fmla="*/ 153 h 153"/>
                <a:gd name="T6" fmla="*/ 621 w 748"/>
                <a:gd name="T7" fmla="*/ 153 h 153"/>
                <a:gd name="T8" fmla="*/ 748 w 748"/>
                <a:gd name="T9" fmla="*/ 26 h 153"/>
                <a:gd name="T10" fmla="*/ 745 w 748"/>
                <a:gd name="T11" fmla="*/ 0 h 153"/>
                <a:gd name="T12" fmla="*/ 3 w 748"/>
                <a:gd name="T13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8" h="153">
                  <a:moveTo>
                    <a:pt x="3" y="0"/>
                  </a:moveTo>
                  <a:cubicBezTo>
                    <a:pt x="1" y="9"/>
                    <a:pt x="0" y="17"/>
                    <a:pt x="0" y="26"/>
                  </a:cubicBezTo>
                  <a:cubicBezTo>
                    <a:pt x="0" y="96"/>
                    <a:pt x="57" y="153"/>
                    <a:pt x="127" y="153"/>
                  </a:cubicBezTo>
                  <a:cubicBezTo>
                    <a:pt x="621" y="153"/>
                    <a:pt x="621" y="153"/>
                    <a:pt x="621" y="153"/>
                  </a:cubicBezTo>
                  <a:cubicBezTo>
                    <a:pt x="691" y="153"/>
                    <a:pt x="748" y="96"/>
                    <a:pt x="748" y="26"/>
                  </a:cubicBezTo>
                  <a:cubicBezTo>
                    <a:pt x="748" y="17"/>
                    <a:pt x="747" y="9"/>
                    <a:pt x="745" y="0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3" name="Freeform 100"/>
            <p:cNvSpPr>
              <a:spLocks/>
            </p:cNvSpPr>
            <p:nvPr/>
          </p:nvSpPr>
          <p:spPr bwMode="gray">
            <a:xfrm>
              <a:off x="9101437" y="4907283"/>
              <a:ext cx="995363" cy="211137"/>
            </a:xfrm>
            <a:custGeom>
              <a:avLst/>
              <a:gdLst>
                <a:gd name="T0" fmla="*/ 716 w 719"/>
                <a:gd name="T1" fmla="*/ 0 h 153"/>
                <a:gd name="T2" fmla="*/ 700 w 719"/>
                <a:gd name="T3" fmla="*/ 0 h 153"/>
                <a:gd name="T4" fmla="*/ 701 w 719"/>
                <a:gd name="T5" fmla="*/ 8 h 153"/>
                <a:gd name="T6" fmla="*/ 573 w 719"/>
                <a:gd name="T7" fmla="*/ 135 h 153"/>
                <a:gd name="T8" fmla="*/ 80 w 719"/>
                <a:gd name="T9" fmla="*/ 135 h 153"/>
                <a:gd name="T10" fmla="*/ 0 w 719"/>
                <a:gd name="T11" fmla="*/ 106 h 153"/>
                <a:gd name="T12" fmla="*/ 98 w 719"/>
                <a:gd name="T13" fmla="*/ 153 h 153"/>
                <a:gd name="T14" fmla="*/ 592 w 719"/>
                <a:gd name="T15" fmla="*/ 153 h 153"/>
                <a:gd name="T16" fmla="*/ 719 w 719"/>
                <a:gd name="T17" fmla="*/ 26 h 153"/>
                <a:gd name="T18" fmla="*/ 716 w 719"/>
                <a:gd name="T19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19" h="153">
                  <a:moveTo>
                    <a:pt x="716" y="0"/>
                  </a:moveTo>
                  <a:cubicBezTo>
                    <a:pt x="700" y="0"/>
                    <a:pt x="700" y="0"/>
                    <a:pt x="700" y="0"/>
                  </a:cubicBezTo>
                  <a:cubicBezTo>
                    <a:pt x="701" y="3"/>
                    <a:pt x="701" y="5"/>
                    <a:pt x="701" y="8"/>
                  </a:cubicBezTo>
                  <a:cubicBezTo>
                    <a:pt x="701" y="78"/>
                    <a:pt x="644" y="135"/>
                    <a:pt x="573" y="135"/>
                  </a:cubicBezTo>
                  <a:cubicBezTo>
                    <a:pt x="80" y="135"/>
                    <a:pt x="80" y="135"/>
                    <a:pt x="80" y="135"/>
                  </a:cubicBezTo>
                  <a:cubicBezTo>
                    <a:pt x="50" y="135"/>
                    <a:pt x="22" y="124"/>
                    <a:pt x="0" y="106"/>
                  </a:cubicBezTo>
                  <a:cubicBezTo>
                    <a:pt x="23" y="135"/>
                    <a:pt x="59" y="153"/>
                    <a:pt x="98" y="153"/>
                  </a:cubicBezTo>
                  <a:cubicBezTo>
                    <a:pt x="592" y="153"/>
                    <a:pt x="592" y="153"/>
                    <a:pt x="592" y="153"/>
                  </a:cubicBezTo>
                  <a:cubicBezTo>
                    <a:pt x="662" y="153"/>
                    <a:pt x="719" y="96"/>
                    <a:pt x="719" y="26"/>
                  </a:cubicBezTo>
                  <a:cubicBezTo>
                    <a:pt x="719" y="17"/>
                    <a:pt x="718" y="9"/>
                    <a:pt x="716" y="0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4" name="Freeform 101"/>
            <p:cNvSpPr>
              <a:spLocks/>
            </p:cNvSpPr>
            <p:nvPr/>
          </p:nvSpPr>
          <p:spPr bwMode="gray">
            <a:xfrm>
              <a:off x="9064925" y="4192908"/>
              <a:ext cx="1028700" cy="377825"/>
            </a:xfrm>
            <a:custGeom>
              <a:avLst/>
              <a:gdLst>
                <a:gd name="T0" fmla="*/ 744 w 744"/>
                <a:gd name="T1" fmla="*/ 274 h 274"/>
                <a:gd name="T2" fmla="*/ 621 w 744"/>
                <a:gd name="T3" fmla="*/ 173 h 274"/>
                <a:gd name="T4" fmla="*/ 581 w 744"/>
                <a:gd name="T5" fmla="*/ 179 h 274"/>
                <a:gd name="T6" fmla="*/ 457 w 744"/>
                <a:gd name="T7" fmla="*/ 68 h 274"/>
                <a:gd name="T8" fmla="*/ 372 w 744"/>
                <a:gd name="T9" fmla="*/ 101 h 274"/>
                <a:gd name="T10" fmla="*/ 249 w 744"/>
                <a:gd name="T11" fmla="*/ 0 h 274"/>
                <a:gd name="T12" fmla="*/ 123 w 744"/>
                <a:gd name="T13" fmla="*/ 125 h 274"/>
                <a:gd name="T14" fmla="*/ 133 w 744"/>
                <a:gd name="T15" fmla="*/ 173 h 274"/>
                <a:gd name="T16" fmla="*/ 123 w 744"/>
                <a:gd name="T17" fmla="*/ 173 h 274"/>
                <a:gd name="T18" fmla="*/ 0 w 744"/>
                <a:gd name="T19" fmla="*/ 274 h 274"/>
                <a:gd name="T20" fmla="*/ 744 w 744"/>
                <a:gd name="T21" fmla="*/ 27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44" h="274">
                  <a:moveTo>
                    <a:pt x="744" y="274"/>
                  </a:moveTo>
                  <a:cubicBezTo>
                    <a:pt x="733" y="217"/>
                    <a:pt x="682" y="173"/>
                    <a:pt x="621" y="173"/>
                  </a:cubicBezTo>
                  <a:cubicBezTo>
                    <a:pt x="607" y="173"/>
                    <a:pt x="594" y="175"/>
                    <a:pt x="581" y="179"/>
                  </a:cubicBezTo>
                  <a:cubicBezTo>
                    <a:pt x="574" y="117"/>
                    <a:pt x="521" y="68"/>
                    <a:pt x="457" y="68"/>
                  </a:cubicBezTo>
                  <a:cubicBezTo>
                    <a:pt x="424" y="68"/>
                    <a:pt x="394" y="81"/>
                    <a:pt x="372" y="101"/>
                  </a:cubicBezTo>
                  <a:cubicBezTo>
                    <a:pt x="361" y="44"/>
                    <a:pt x="310" y="0"/>
                    <a:pt x="249" y="0"/>
                  </a:cubicBezTo>
                  <a:cubicBezTo>
                    <a:pt x="179" y="0"/>
                    <a:pt x="123" y="56"/>
                    <a:pt x="123" y="125"/>
                  </a:cubicBezTo>
                  <a:cubicBezTo>
                    <a:pt x="123" y="142"/>
                    <a:pt x="127" y="159"/>
                    <a:pt x="133" y="173"/>
                  </a:cubicBezTo>
                  <a:cubicBezTo>
                    <a:pt x="130" y="173"/>
                    <a:pt x="127" y="173"/>
                    <a:pt x="123" y="173"/>
                  </a:cubicBezTo>
                  <a:cubicBezTo>
                    <a:pt x="62" y="173"/>
                    <a:pt x="12" y="217"/>
                    <a:pt x="0" y="274"/>
                  </a:cubicBezTo>
                  <a:lnTo>
                    <a:pt x="744" y="2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5" name="Freeform 102"/>
            <p:cNvSpPr>
              <a:spLocks/>
            </p:cNvSpPr>
            <p:nvPr/>
          </p:nvSpPr>
          <p:spPr bwMode="gray">
            <a:xfrm>
              <a:off x="9268125" y="4192908"/>
              <a:ext cx="825500" cy="377825"/>
            </a:xfrm>
            <a:custGeom>
              <a:avLst/>
              <a:gdLst>
                <a:gd name="T0" fmla="*/ 80 w 597"/>
                <a:gd name="T1" fmla="*/ 23 h 274"/>
                <a:gd name="T2" fmla="*/ 203 w 597"/>
                <a:gd name="T3" fmla="*/ 125 h 274"/>
                <a:gd name="T4" fmla="*/ 288 w 597"/>
                <a:gd name="T5" fmla="*/ 91 h 274"/>
                <a:gd name="T6" fmla="*/ 413 w 597"/>
                <a:gd name="T7" fmla="*/ 203 h 274"/>
                <a:gd name="T8" fmla="*/ 452 w 597"/>
                <a:gd name="T9" fmla="*/ 196 h 274"/>
                <a:gd name="T10" fmla="*/ 568 w 597"/>
                <a:gd name="T11" fmla="*/ 274 h 274"/>
                <a:gd name="T12" fmla="*/ 597 w 597"/>
                <a:gd name="T13" fmla="*/ 274 h 274"/>
                <a:gd name="T14" fmla="*/ 474 w 597"/>
                <a:gd name="T15" fmla="*/ 173 h 274"/>
                <a:gd name="T16" fmla="*/ 434 w 597"/>
                <a:gd name="T17" fmla="*/ 179 h 274"/>
                <a:gd name="T18" fmla="*/ 310 w 597"/>
                <a:gd name="T19" fmla="*/ 68 h 274"/>
                <a:gd name="T20" fmla="*/ 225 w 597"/>
                <a:gd name="T21" fmla="*/ 101 h 274"/>
                <a:gd name="T22" fmla="*/ 102 w 597"/>
                <a:gd name="T23" fmla="*/ 0 h 274"/>
                <a:gd name="T24" fmla="*/ 0 w 597"/>
                <a:gd name="T25" fmla="*/ 52 h 274"/>
                <a:gd name="T26" fmla="*/ 80 w 597"/>
                <a:gd name="T27" fmla="*/ 23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97" h="274">
                  <a:moveTo>
                    <a:pt x="80" y="23"/>
                  </a:moveTo>
                  <a:cubicBezTo>
                    <a:pt x="141" y="23"/>
                    <a:pt x="192" y="67"/>
                    <a:pt x="203" y="125"/>
                  </a:cubicBezTo>
                  <a:cubicBezTo>
                    <a:pt x="225" y="104"/>
                    <a:pt x="255" y="91"/>
                    <a:pt x="288" y="91"/>
                  </a:cubicBezTo>
                  <a:cubicBezTo>
                    <a:pt x="353" y="91"/>
                    <a:pt x="406" y="140"/>
                    <a:pt x="413" y="203"/>
                  </a:cubicBezTo>
                  <a:cubicBezTo>
                    <a:pt x="425" y="199"/>
                    <a:pt x="438" y="196"/>
                    <a:pt x="452" y="196"/>
                  </a:cubicBezTo>
                  <a:cubicBezTo>
                    <a:pt x="505" y="196"/>
                    <a:pt x="549" y="229"/>
                    <a:pt x="568" y="274"/>
                  </a:cubicBezTo>
                  <a:cubicBezTo>
                    <a:pt x="597" y="274"/>
                    <a:pt x="597" y="274"/>
                    <a:pt x="597" y="274"/>
                  </a:cubicBezTo>
                  <a:cubicBezTo>
                    <a:pt x="586" y="217"/>
                    <a:pt x="535" y="173"/>
                    <a:pt x="474" y="173"/>
                  </a:cubicBezTo>
                  <a:cubicBezTo>
                    <a:pt x="460" y="173"/>
                    <a:pt x="447" y="175"/>
                    <a:pt x="434" y="179"/>
                  </a:cubicBezTo>
                  <a:cubicBezTo>
                    <a:pt x="427" y="117"/>
                    <a:pt x="374" y="68"/>
                    <a:pt x="310" y="68"/>
                  </a:cubicBezTo>
                  <a:cubicBezTo>
                    <a:pt x="277" y="68"/>
                    <a:pt x="247" y="81"/>
                    <a:pt x="225" y="101"/>
                  </a:cubicBezTo>
                  <a:cubicBezTo>
                    <a:pt x="214" y="44"/>
                    <a:pt x="163" y="0"/>
                    <a:pt x="102" y="0"/>
                  </a:cubicBezTo>
                  <a:cubicBezTo>
                    <a:pt x="60" y="0"/>
                    <a:pt x="23" y="20"/>
                    <a:pt x="0" y="52"/>
                  </a:cubicBezTo>
                  <a:cubicBezTo>
                    <a:pt x="22" y="34"/>
                    <a:pt x="49" y="23"/>
                    <a:pt x="80" y="23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6" name="Oval 103"/>
            <p:cNvSpPr>
              <a:spLocks noChangeArrowheads="1"/>
            </p:cNvSpPr>
            <p:nvPr/>
          </p:nvSpPr>
          <p:spPr bwMode="gray">
            <a:xfrm>
              <a:off x="11085812" y="5396233"/>
              <a:ext cx="103188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Oval 104"/>
            <p:cNvSpPr>
              <a:spLocks noChangeArrowheads="1"/>
            </p:cNvSpPr>
            <p:nvPr/>
          </p:nvSpPr>
          <p:spPr bwMode="gray">
            <a:xfrm>
              <a:off x="10884200" y="5396233"/>
              <a:ext cx="101600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8" name="Freeform 105"/>
            <p:cNvSpPr>
              <a:spLocks/>
            </p:cNvSpPr>
            <p:nvPr/>
          </p:nvSpPr>
          <p:spPr bwMode="gray">
            <a:xfrm>
              <a:off x="10884200" y="5412108"/>
              <a:ext cx="85725" cy="87312"/>
            </a:xfrm>
            <a:custGeom>
              <a:avLst/>
              <a:gdLst>
                <a:gd name="T0" fmla="*/ 37 w 62"/>
                <a:gd name="T1" fmla="*/ 63 h 63"/>
                <a:gd name="T2" fmla="*/ 62 w 62"/>
                <a:gd name="T3" fmla="*/ 52 h 63"/>
                <a:gd name="T4" fmla="*/ 11 w 62"/>
                <a:gd name="T5" fmla="*/ 0 h 63"/>
                <a:gd name="T6" fmla="*/ 0 w 62"/>
                <a:gd name="T7" fmla="*/ 26 h 63"/>
                <a:gd name="T8" fmla="*/ 37 w 62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63">
                  <a:moveTo>
                    <a:pt x="37" y="63"/>
                  </a:moveTo>
                  <a:cubicBezTo>
                    <a:pt x="47" y="63"/>
                    <a:pt x="56" y="59"/>
                    <a:pt x="62" y="5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6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9" name="Freeform 106"/>
            <p:cNvSpPr>
              <a:spLocks/>
            </p:cNvSpPr>
            <p:nvPr/>
          </p:nvSpPr>
          <p:spPr bwMode="gray">
            <a:xfrm>
              <a:off x="11085812" y="5412108"/>
              <a:ext cx="87313" cy="87312"/>
            </a:xfrm>
            <a:custGeom>
              <a:avLst/>
              <a:gdLst>
                <a:gd name="T0" fmla="*/ 37 w 63"/>
                <a:gd name="T1" fmla="*/ 63 h 63"/>
                <a:gd name="T2" fmla="*/ 63 w 63"/>
                <a:gd name="T3" fmla="*/ 52 h 63"/>
                <a:gd name="T4" fmla="*/ 11 w 63"/>
                <a:gd name="T5" fmla="*/ 0 h 63"/>
                <a:gd name="T6" fmla="*/ 0 w 63"/>
                <a:gd name="T7" fmla="*/ 26 h 63"/>
                <a:gd name="T8" fmla="*/ 37 w 63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63">
                  <a:moveTo>
                    <a:pt x="37" y="63"/>
                  </a:moveTo>
                  <a:cubicBezTo>
                    <a:pt x="47" y="63"/>
                    <a:pt x="56" y="59"/>
                    <a:pt x="63" y="5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7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8678132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Rectangle 140"/>
          <p:cNvSpPr/>
          <p:nvPr userDrawn="1"/>
        </p:nvSpPr>
        <p:spPr bwMode="gray">
          <a:xfrm>
            <a:off x="5441950" y="0"/>
            <a:ext cx="6994525" cy="699452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5" name="Freeform: Shape 104"/>
          <p:cNvSpPr>
            <a:spLocks/>
          </p:cNvSpPr>
          <p:nvPr userDrawn="1"/>
        </p:nvSpPr>
        <p:spPr bwMode="gray">
          <a:xfrm>
            <a:off x="5441950" y="4251325"/>
            <a:ext cx="6994525" cy="2743200"/>
          </a:xfrm>
          <a:custGeom>
            <a:avLst/>
            <a:gdLst>
              <a:gd name="connsiteX0" fmla="*/ 237491 w 7007806"/>
              <a:gd name="connsiteY0" fmla="*/ 0 h 2048448"/>
              <a:gd name="connsiteX1" fmla="*/ 966532 w 7007806"/>
              <a:gd name="connsiteY1" fmla="*/ 0 h 2048448"/>
              <a:gd name="connsiteX2" fmla="*/ 966532 w 7007806"/>
              <a:gd name="connsiteY2" fmla="*/ 578198 h 2048448"/>
              <a:gd name="connsiteX3" fmla="*/ 1425492 w 7007806"/>
              <a:gd name="connsiteY3" fmla="*/ 606386 h 2048448"/>
              <a:gd name="connsiteX4" fmla="*/ 1677037 w 7007806"/>
              <a:gd name="connsiteY4" fmla="*/ 606386 h 2048448"/>
              <a:gd name="connsiteX5" fmla="*/ 1677037 w 7007806"/>
              <a:gd name="connsiteY5" fmla="*/ 483901 h 2048448"/>
              <a:gd name="connsiteX6" fmla="*/ 1686642 w 7007806"/>
              <a:gd name="connsiteY6" fmla="*/ 483901 h 2048448"/>
              <a:gd name="connsiteX7" fmla="*/ 1686642 w 7007806"/>
              <a:gd name="connsiteY7" fmla="*/ 225552 h 2048448"/>
              <a:gd name="connsiteX8" fmla="*/ 2059578 w 7007806"/>
              <a:gd name="connsiteY8" fmla="*/ 225552 h 2048448"/>
              <a:gd name="connsiteX9" fmla="*/ 2059578 w 7007806"/>
              <a:gd name="connsiteY9" fmla="*/ 339268 h 2048448"/>
              <a:gd name="connsiteX10" fmla="*/ 2098045 w 7007806"/>
              <a:gd name="connsiteY10" fmla="*/ 339268 h 2048448"/>
              <a:gd name="connsiteX11" fmla="*/ 2098045 w 7007806"/>
              <a:gd name="connsiteY11" fmla="*/ 483901 h 2048448"/>
              <a:gd name="connsiteX12" fmla="*/ 2204842 w 7007806"/>
              <a:gd name="connsiteY12" fmla="*/ 483901 h 2048448"/>
              <a:gd name="connsiteX13" fmla="*/ 2204842 w 7007806"/>
              <a:gd name="connsiteY13" fmla="*/ 643969 h 2048448"/>
              <a:gd name="connsiteX14" fmla="*/ 2602307 w 7007806"/>
              <a:gd name="connsiteY14" fmla="*/ 643969 h 2048448"/>
              <a:gd name="connsiteX15" fmla="*/ 2602307 w 7007806"/>
              <a:gd name="connsiteY15" fmla="*/ 744644 h 2048448"/>
              <a:gd name="connsiteX16" fmla="*/ 3055683 w 7007806"/>
              <a:gd name="connsiteY16" fmla="*/ 744644 h 2048448"/>
              <a:gd name="connsiteX17" fmla="*/ 3055683 w 7007806"/>
              <a:gd name="connsiteY17" fmla="*/ 777377 h 2048448"/>
              <a:gd name="connsiteX18" fmla="*/ 3075299 w 7007806"/>
              <a:gd name="connsiteY18" fmla="*/ 777377 h 2048448"/>
              <a:gd name="connsiteX19" fmla="*/ 3075299 w 7007806"/>
              <a:gd name="connsiteY19" fmla="*/ 965361 h 2048448"/>
              <a:gd name="connsiteX20" fmla="*/ 3423979 w 7007806"/>
              <a:gd name="connsiteY20" fmla="*/ 965361 h 2048448"/>
              <a:gd name="connsiteX21" fmla="*/ 3423979 w 7007806"/>
              <a:gd name="connsiteY21" fmla="*/ 525721 h 2048448"/>
              <a:gd name="connsiteX22" fmla="*/ 3527067 w 7007806"/>
              <a:gd name="connsiteY22" fmla="*/ 525721 h 2048448"/>
              <a:gd name="connsiteX23" fmla="*/ 3527067 w 7007806"/>
              <a:gd name="connsiteY23" fmla="*/ 386248 h 2048448"/>
              <a:gd name="connsiteX24" fmla="*/ 3830268 w 7007806"/>
              <a:gd name="connsiteY24" fmla="*/ 386248 h 2048448"/>
              <a:gd name="connsiteX25" fmla="*/ 3830268 w 7007806"/>
              <a:gd name="connsiteY25" fmla="*/ 525721 h 2048448"/>
              <a:gd name="connsiteX26" fmla="*/ 3927292 w 7007806"/>
              <a:gd name="connsiteY26" fmla="*/ 525721 h 2048448"/>
              <a:gd name="connsiteX27" fmla="*/ 3927292 w 7007806"/>
              <a:gd name="connsiteY27" fmla="*/ 58792 h 2048448"/>
              <a:gd name="connsiteX28" fmla="*/ 4630716 w 7007806"/>
              <a:gd name="connsiteY28" fmla="*/ 58792 h 2048448"/>
              <a:gd name="connsiteX29" fmla="*/ 4630716 w 7007806"/>
              <a:gd name="connsiteY29" fmla="*/ 616681 h 2048448"/>
              <a:gd name="connsiteX30" fmla="*/ 5073388 w 7007806"/>
              <a:gd name="connsiteY30" fmla="*/ 255872 h 2048448"/>
              <a:gd name="connsiteX31" fmla="*/ 5073388 w 7007806"/>
              <a:gd name="connsiteY31" fmla="*/ 643969 h 2048448"/>
              <a:gd name="connsiteX32" fmla="*/ 5315948 w 7007806"/>
              <a:gd name="connsiteY32" fmla="*/ 643969 h 2048448"/>
              <a:gd name="connsiteX33" fmla="*/ 5315948 w 7007806"/>
              <a:gd name="connsiteY33" fmla="*/ 525721 h 2048448"/>
              <a:gd name="connsiteX34" fmla="*/ 5419036 w 7007806"/>
              <a:gd name="connsiteY34" fmla="*/ 525721 h 2048448"/>
              <a:gd name="connsiteX35" fmla="*/ 5419036 w 7007806"/>
              <a:gd name="connsiteY35" fmla="*/ 386248 h 2048448"/>
              <a:gd name="connsiteX36" fmla="*/ 5722237 w 7007806"/>
              <a:gd name="connsiteY36" fmla="*/ 386248 h 2048448"/>
              <a:gd name="connsiteX37" fmla="*/ 5722237 w 7007806"/>
              <a:gd name="connsiteY37" fmla="*/ 525721 h 2048448"/>
              <a:gd name="connsiteX38" fmla="*/ 5825325 w 7007806"/>
              <a:gd name="connsiteY38" fmla="*/ 525721 h 2048448"/>
              <a:gd name="connsiteX39" fmla="*/ 5825325 w 7007806"/>
              <a:gd name="connsiteY39" fmla="*/ 965361 h 2048448"/>
              <a:gd name="connsiteX40" fmla="*/ 6170974 w 7007806"/>
              <a:gd name="connsiteY40" fmla="*/ 965361 h 2048448"/>
              <a:gd name="connsiteX41" fmla="*/ 6170974 w 7007806"/>
              <a:gd name="connsiteY41" fmla="*/ 777377 h 2048448"/>
              <a:gd name="connsiteX42" fmla="*/ 6646998 w 7007806"/>
              <a:gd name="connsiteY42" fmla="*/ 777377 h 2048448"/>
              <a:gd name="connsiteX43" fmla="*/ 6646998 w 7007806"/>
              <a:gd name="connsiteY43" fmla="*/ 1374681 h 2048448"/>
              <a:gd name="connsiteX44" fmla="*/ 7007806 w 7007806"/>
              <a:gd name="connsiteY44" fmla="*/ 1374681 h 2048448"/>
              <a:gd name="connsiteX45" fmla="*/ 7007806 w 7007806"/>
              <a:gd name="connsiteY45" fmla="*/ 1677881 h 2048448"/>
              <a:gd name="connsiteX46" fmla="*/ 6995117 w 7007806"/>
              <a:gd name="connsiteY46" fmla="*/ 1677881 h 2048448"/>
              <a:gd name="connsiteX47" fmla="*/ 6995117 w 7007806"/>
              <a:gd name="connsiteY47" fmla="*/ 2048448 h 2048448"/>
              <a:gd name="connsiteX48" fmla="*/ 0 w 7007806"/>
              <a:gd name="connsiteY48" fmla="*/ 2048448 h 2048448"/>
              <a:gd name="connsiteX49" fmla="*/ 0 w 7007806"/>
              <a:gd name="connsiteY49" fmla="*/ 339268 h 2048448"/>
              <a:gd name="connsiteX50" fmla="*/ 136873 w 7007806"/>
              <a:gd name="connsiteY50" fmla="*/ 339268 h 2048448"/>
              <a:gd name="connsiteX51" fmla="*/ 136873 w 7007806"/>
              <a:gd name="connsiteY51" fmla="*/ 483901 h 2048448"/>
              <a:gd name="connsiteX52" fmla="*/ 237491 w 7007806"/>
              <a:gd name="connsiteY52" fmla="*/ 483901 h 2048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7007806" h="2048448">
                <a:moveTo>
                  <a:pt x="237491" y="0"/>
                </a:moveTo>
                <a:lnTo>
                  <a:pt x="966532" y="0"/>
                </a:lnTo>
                <a:lnTo>
                  <a:pt x="966532" y="578198"/>
                </a:lnTo>
                <a:lnTo>
                  <a:pt x="1425492" y="606386"/>
                </a:lnTo>
                <a:lnTo>
                  <a:pt x="1677037" y="606386"/>
                </a:lnTo>
                <a:lnTo>
                  <a:pt x="1677037" y="483901"/>
                </a:lnTo>
                <a:lnTo>
                  <a:pt x="1686642" y="483901"/>
                </a:lnTo>
                <a:lnTo>
                  <a:pt x="1686642" y="225552"/>
                </a:lnTo>
                <a:lnTo>
                  <a:pt x="2059578" y="225552"/>
                </a:lnTo>
                <a:lnTo>
                  <a:pt x="2059578" y="339268"/>
                </a:lnTo>
                <a:lnTo>
                  <a:pt x="2098045" y="339268"/>
                </a:lnTo>
                <a:lnTo>
                  <a:pt x="2098045" y="483901"/>
                </a:lnTo>
                <a:lnTo>
                  <a:pt x="2204842" y="483901"/>
                </a:lnTo>
                <a:lnTo>
                  <a:pt x="2204842" y="643969"/>
                </a:lnTo>
                <a:lnTo>
                  <a:pt x="2602307" y="643969"/>
                </a:lnTo>
                <a:lnTo>
                  <a:pt x="2602307" y="744644"/>
                </a:lnTo>
                <a:lnTo>
                  <a:pt x="3055683" y="744644"/>
                </a:lnTo>
                <a:lnTo>
                  <a:pt x="3055683" y="777377"/>
                </a:lnTo>
                <a:lnTo>
                  <a:pt x="3075299" y="777377"/>
                </a:lnTo>
                <a:lnTo>
                  <a:pt x="3075299" y="965361"/>
                </a:lnTo>
                <a:lnTo>
                  <a:pt x="3423979" y="965361"/>
                </a:lnTo>
                <a:lnTo>
                  <a:pt x="3423979" y="525721"/>
                </a:lnTo>
                <a:lnTo>
                  <a:pt x="3527067" y="525721"/>
                </a:lnTo>
                <a:lnTo>
                  <a:pt x="3527067" y="386248"/>
                </a:lnTo>
                <a:lnTo>
                  <a:pt x="3830268" y="386248"/>
                </a:lnTo>
                <a:lnTo>
                  <a:pt x="3830268" y="525721"/>
                </a:lnTo>
                <a:lnTo>
                  <a:pt x="3927292" y="525721"/>
                </a:lnTo>
                <a:lnTo>
                  <a:pt x="3927292" y="58792"/>
                </a:lnTo>
                <a:lnTo>
                  <a:pt x="4630716" y="58792"/>
                </a:lnTo>
                <a:lnTo>
                  <a:pt x="4630716" y="616681"/>
                </a:lnTo>
                <a:lnTo>
                  <a:pt x="5073388" y="255872"/>
                </a:lnTo>
                <a:lnTo>
                  <a:pt x="5073388" y="643969"/>
                </a:lnTo>
                <a:lnTo>
                  <a:pt x="5315948" y="643969"/>
                </a:lnTo>
                <a:lnTo>
                  <a:pt x="5315948" y="525721"/>
                </a:lnTo>
                <a:lnTo>
                  <a:pt x="5419036" y="525721"/>
                </a:lnTo>
                <a:lnTo>
                  <a:pt x="5419036" y="386248"/>
                </a:lnTo>
                <a:lnTo>
                  <a:pt x="5722237" y="386248"/>
                </a:lnTo>
                <a:lnTo>
                  <a:pt x="5722237" y="525721"/>
                </a:lnTo>
                <a:lnTo>
                  <a:pt x="5825325" y="525721"/>
                </a:lnTo>
                <a:lnTo>
                  <a:pt x="5825325" y="965361"/>
                </a:lnTo>
                <a:lnTo>
                  <a:pt x="6170974" y="965361"/>
                </a:lnTo>
                <a:lnTo>
                  <a:pt x="6170974" y="777377"/>
                </a:lnTo>
                <a:lnTo>
                  <a:pt x="6646998" y="777377"/>
                </a:lnTo>
                <a:lnTo>
                  <a:pt x="6646998" y="1374681"/>
                </a:lnTo>
                <a:lnTo>
                  <a:pt x="7007806" y="1374681"/>
                </a:lnTo>
                <a:lnTo>
                  <a:pt x="7007806" y="1677881"/>
                </a:lnTo>
                <a:lnTo>
                  <a:pt x="6995117" y="1677881"/>
                </a:lnTo>
                <a:lnTo>
                  <a:pt x="6995117" y="2048448"/>
                </a:lnTo>
                <a:lnTo>
                  <a:pt x="0" y="2048448"/>
                </a:lnTo>
                <a:lnTo>
                  <a:pt x="0" y="339268"/>
                </a:lnTo>
                <a:lnTo>
                  <a:pt x="136873" y="339268"/>
                </a:lnTo>
                <a:lnTo>
                  <a:pt x="136873" y="483901"/>
                </a:lnTo>
                <a:lnTo>
                  <a:pt x="237491" y="483901"/>
                </a:lnTo>
                <a:close/>
              </a:path>
            </a:pathLst>
          </a:custGeom>
          <a:solidFill>
            <a:srgbClr val="409AE1">
              <a:alpha val="4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4702" y="2119178"/>
            <a:ext cx="4937760" cy="1835285"/>
          </a:xfrm>
          <a:noFill/>
        </p:spPr>
        <p:txBody>
          <a:bodyPr lIns="146304" tIns="91440" rIns="146304" bIns="91440" anchor="t" anchorCtr="0"/>
          <a:lstStyle>
            <a:lvl1pPr>
              <a:defRPr sz="4800" spc="-100" baseline="0">
                <a:gradFill>
                  <a:gsLst>
                    <a:gs pos="74359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3050" y="3954463"/>
            <a:ext cx="4937760" cy="731528"/>
          </a:xfrm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lang="en-US" sz="3200" kern="1200" spc="0" baseline="0" dirty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Speaker name</a:t>
            </a:r>
          </a:p>
        </p:txBody>
      </p:sp>
      <p:pic>
        <p:nvPicPr>
          <p:cNvPr id="142" name="MS logo gray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63116" y="479425"/>
            <a:ext cx="1451843" cy="310896"/>
          </a:xfrm>
          <a:prstGeom prst="rect">
            <a:avLst/>
          </a:prstGeom>
        </p:spPr>
      </p:pic>
      <p:grpSp>
        <p:nvGrpSpPr>
          <p:cNvPr id="143" name="Group 142"/>
          <p:cNvGrpSpPr>
            <a:grpSpLocks noChangeAspect="1"/>
          </p:cNvGrpSpPr>
          <p:nvPr userDrawn="1"/>
        </p:nvGrpSpPr>
        <p:grpSpPr bwMode="gray">
          <a:xfrm>
            <a:off x="7462446" y="3200401"/>
            <a:ext cx="4577461" cy="3539940"/>
            <a:chOff x="8496600" y="3495586"/>
            <a:chExt cx="3009906" cy="2327684"/>
          </a:xfrm>
        </p:grpSpPr>
        <p:sp>
          <p:nvSpPr>
            <p:cNvPr id="144" name="Freeform 9"/>
            <p:cNvSpPr>
              <a:spLocks/>
            </p:cNvSpPr>
            <p:nvPr/>
          </p:nvSpPr>
          <p:spPr bwMode="gray">
            <a:xfrm>
              <a:off x="8496600" y="5501008"/>
              <a:ext cx="646113" cy="82550"/>
            </a:xfrm>
            <a:custGeom>
              <a:avLst/>
              <a:gdLst>
                <a:gd name="T0" fmla="*/ 437 w 467"/>
                <a:gd name="T1" fmla="*/ 60 h 60"/>
                <a:gd name="T2" fmla="*/ 30 w 467"/>
                <a:gd name="T3" fmla="*/ 60 h 60"/>
                <a:gd name="T4" fmla="*/ 0 w 467"/>
                <a:gd name="T5" fmla="*/ 30 h 60"/>
                <a:gd name="T6" fmla="*/ 30 w 467"/>
                <a:gd name="T7" fmla="*/ 0 h 60"/>
                <a:gd name="T8" fmla="*/ 437 w 467"/>
                <a:gd name="T9" fmla="*/ 0 h 60"/>
                <a:gd name="T10" fmla="*/ 467 w 467"/>
                <a:gd name="T11" fmla="*/ 30 h 60"/>
                <a:gd name="T12" fmla="*/ 437 w 467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7" h="60">
                  <a:moveTo>
                    <a:pt x="437" y="60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13" y="60"/>
                    <a:pt x="0" y="46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37" y="0"/>
                    <a:pt x="437" y="0"/>
                    <a:pt x="437" y="0"/>
                  </a:cubicBezTo>
                  <a:cubicBezTo>
                    <a:pt x="453" y="0"/>
                    <a:pt x="467" y="13"/>
                    <a:pt x="467" y="30"/>
                  </a:cubicBezTo>
                  <a:cubicBezTo>
                    <a:pt x="467" y="46"/>
                    <a:pt x="453" y="60"/>
                    <a:pt x="437" y="6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10"/>
            <p:cNvSpPr>
              <a:spLocks/>
            </p:cNvSpPr>
            <p:nvPr/>
          </p:nvSpPr>
          <p:spPr bwMode="gray">
            <a:xfrm>
              <a:off x="10804831" y="3495586"/>
              <a:ext cx="701675" cy="371475"/>
            </a:xfrm>
            <a:custGeom>
              <a:avLst/>
              <a:gdLst>
                <a:gd name="T0" fmla="*/ 440 w 507"/>
                <a:gd name="T1" fmla="*/ 127 h 271"/>
                <a:gd name="T2" fmla="*/ 306 w 507"/>
                <a:gd name="T3" fmla="*/ 0 h 271"/>
                <a:gd name="T4" fmla="*/ 174 w 507"/>
                <a:gd name="T5" fmla="*/ 106 h 271"/>
                <a:gd name="T6" fmla="*/ 99 w 507"/>
                <a:gd name="T7" fmla="*/ 72 h 271"/>
                <a:gd name="T8" fmla="*/ 0 w 507"/>
                <a:gd name="T9" fmla="*/ 171 h 271"/>
                <a:gd name="T10" fmla="*/ 99 w 507"/>
                <a:gd name="T11" fmla="*/ 271 h 271"/>
                <a:gd name="T12" fmla="*/ 435 w 507"/>
                <a:gd name="T13" fmla="*/ 271 h 271"/>
                <a:gd name="T14" fmla="*/ 507 w 507"/>
                <a:gd name="T15" fmla="*/ 199 h 271"/>
                <a:gd name="T16" fmla="*/ 440 w 507"/>
                <a:gd name="T17" fmla="*/ 127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7" h="271">
                  <a:moveTo>
                    <a:pt x="440" y="127"/>
                  </a:moveTo>
                  <a:cubicBezTo>
                    <a:pt x="436" y="56"/>
                    <a:pt x="378" y="0"/>
                    <a:pt x="306" y="0"/>
                  </a:cubicBezTo>
                  <a:cubicBezTo>
                    <a:pt x="241" y="0"/>
                    <a:pt x="187" y="46"/>
                    <a:pt x="174" y="106"/>
                  </a:cubicBezTo>
                  <a:cubicBezTo>
                    <a:pt x="156" y="85"/>
                    <a:pt x="129" y="72"/>
                    <a:pt x="99" y="72"/>
                  </a:cubicBezTo>
                  <a:cubicBezTo>
                    <a:pt x="44" y="72"/>
                    <a:pt x="0" y="116"/>
                    <a:pt x="0" y="171"/>
                  </a:cubicBezTo>
                  <a:cubicBezTo>
                    <a:pt x="0" y="226"/>
                    <a:pt x="44" y="271"/>
                    <a:pt x="99" y="271"/>
                  </a:cubicBezTo>
                  <a:cubicBezTo>
                    <a:pt x="99" y="271"/>
                    <a:pt x="434" y="271"/>
                    <a:pt x="435" y="271"/>
                  </a:cubicBezTo>
                  <a:cubicBezTo>
                    <a:pt x="475" y="271"/>
                    <a:pt x="507" y="238"/>
                    <a:pt x="507" y="199"/>
                  </a:cubicBezTo>
                  <a:cubicBezTo>
                    <a:pt x="507" y="161"/>
                    <a:pt x="478" y="130"/>
                    <a:pt x="440" y="1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11"/>
            <p:cNvSpPr>
              <a:spLocks/>
            </p:cNvSpPr>
            <p:nvPr/>
          </p:nvSpPr>
          <p:spPr bwMode="gray">
            <a:xfrm>
              <a:off x="10001550" y="5497833"/>
              <a:ext cx="1504950" cy="82550"/>
            </a:xfrm>
            <a:custGeom>
              <a:avLst/>
              <a:gdLst>
                <a:gd name="T0" fmla="*/ 1059 w 1089"/>
                <a:gd name="T1" fmla="*/ 60 h 60"/>
                <a:gd name="T2" fmla="*/ 30 w 1089"/>
                <a:gd name="T3" fmla="*/ 60 h 60"/>
                <a:gd name="T4" fmla="*/ 0 w 1089"/>
                <a:gd name="T5" fmla="*/ 30 h 60"/>
                <a:gd name="T6" fmla="*/ 30 w 1089"/>
                <a:gd name="T7" fmla="*/ 0 h 60"/>
                <a:gd name="T8" fmla="*/ 1059 w 1089"/>
                <a:gd name="T9" fmla="*/ 0 h 60"/>
                <a:gd name="T10" fmla="*/ 1089 w 1089"/>
                <a:gd name="T11" fmla="*/ 30 h 60"/>
                <a:gd name="T12" fmla="*/ 1059 w 1089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9" h="60">
                  <a:moveTo>
                    <a:pt x="1059" y="60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14" y="60"/>
                    <a:pt x="0" y="46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1059" y="0"/>
                    <a:pt x="1059" y="0"/>
                    <a:pt x="1059" y="0"/>
                  </a:cubicBezTo>
                  <a:cubicBezTo>
                    <a:pt x="1076" y="0"/>
                    <a:pt x="1089" y="13"/>
                    <a:pt x="1089" y="30"/>
                  </a:cubicBezTo>
                  <a:cubicBezTo>
                    <a:pt x="1089" y="46"/>
                    <a:pt x="1076" y="60"/>
                    <a:pt x="1059" y="6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12"/>
            <p:cNvSpPr>
              <a:spLocks/>
            </p:cNvSpPr>
            <p:nvPr/>
          </p:nvSpPr>
          <p:spPr bwMode="gray">
            <a:xfrm>
              <a:off x="9110962" y="5713733"/>
              <a:ext cx="1012825" cy="109537"/>
            </a:xfrm>
            <a:custGeom>
              <a:avLst/>
              <a:gdLst>
                <a:gd name="T0" fmla="*/ 692 w 732"/>
                <a:gd name="T1" fmla="*/ 80 h 80"/>
                <a:gd name="T2" fmla="*/ 40 w 732"/>
                <a:gd name="T3" fmla="*/ 80 h 80"/>
                <a:gd name="T4" fmla="*/ 0 w 732"/>
                <a:gd name="T5" fmla="*/ 40 h 80"/>
                <a:gd name="T6" fmla="*/ 40 w 732"/>
                <a:gd name="T7" fmla="*/ 0 h 80"/>
                <a:gd name="T8" fmla="*/ 692 w 732"/>
                <a:gd name="T9" fmla="*/ 0 h 80"/>
                <a:gd name="T10" fmla="*/ 732 w 732"/>
                <a:gd name="T11" fmla="*/ 40 h 80"/>
                <a:gd name="T12" fmla="*/ 692 w 732"/>
                <a:gd name="T13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2" h="80">
                  <a:moveTo>
                    <a:pt x="692" y="80"/>
                  </a:moveTo>
                  <a:cubicBezTo>
                    <a:pt x="40" y="80"/>
                    <a:pt x="40" y="80"/>
                    <a:pt x="40" y="80"/>
                  </a:cubicBezTo>
                  <a:cubicBezTo>
                    <a:pt x="18" y="80"/>
                    <a:pt x="0" y="62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692" y="0"/>
                    <a:pt x="692" y="0"/>
                    <a:pt x="692" y="0"/>
                  </a:cubicBezTo>
                  <a:cubicBezTo>
                    <a:pt x="714" y="0"/>
                    <a:pt x="732" y="18"/>
                    <a:pt x="732" y="40"/>
                  </a:cubicBezTo>
                  <a:cubicBezTo>
                    <a:pt x="732" y="62"/>
                    <a:pt x="714" y="80"/>
                    <a:pt x="692" y="8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13"/>
            <p:cNvSpPr>
              <a:spLocks/>
            </p:cNvSpPr>
            <p:nvPr/>
          </p:nvSpPr>
          <p:spPr bwMode="gray">
            <a:xfrm>
              <a:off x="8910937" y="4935858"/>
              <a:ext cx="33338" cy="77787"/>
            </a:xfrm>
            <a:custGeom>
              <a:avLst/>
              <a:gdLst>
                <a:gd name="T0" fmla="*/ 0 w 21"/>
                <a:gd name="T1" fmla="*/ 0 h 49"/>
                <a:gd name="T2" fmla="*/ 1 w 21"/>
                <a:gd name="T3" fmla="*/ 10 h 49"/>
                <a:gd name="T4" fmla="*/ 0 w 21"/>
                <a:gd name="T5" fmla="*/ 49 h 49"/>
                <a:gd name="T6" fmla="*/ 12 w 21"/>
                <a:gd name="T7" fmla="*/ 49 h 49"/>
                <a:gd name="T8" fmla="*/ 21 w 21"/>
                <a:gd name="T9" fmla="*/ 11 h 49"/>
                <a:gd name="T10" fmla="*/ 21 w 21"/>
                <a:gd name="T11" fmla="*/ 0 h 49"/>
                <a:gd name="T12" fmla="*/ 0 w 21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49">
                  <a:moveTo>
                    <a:pt x="0" y="0"/>
                  </a:moveTo>
                  <a:lnTo>
                    <a:pt x="1" y="10"/>
                  </a:lnTo>
                  <a:lnTo>
                    <a:pt x="0" y="49"/>
                  </a:lnTo>
                  <a:lnTo>
                    <a:pt x="12" y="49"/>
                  </a:lnTo>
                  <a:lnTo>
                    <a:pt x="21" y="11"/>
                  </a:lnTo>
                  <a:lnTo>
                    <a:pt x="2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14"/>
            <p:cNvSpPr>
              <a:spLocks/>
            </p:cNvSpPr>
            <p:nvPr/>
          </p:nvSpPr>
          <p:spPr bwMode="gray">
            <a:xfrm>
              <a:off x="8929987" y="4935858"/>
              <a:ext cx="14288" cy="77787"/>
            </a:xfrm>
            <a:custGeom>
              <a:avLst/>
              <a:gdLst>
                <a:gd name="T0" fmla="*/ 5 w 9"/>
                <a:gd name="T1" fmla="*/ 0 h 49"/>
                <a:gd name="T2" fmla="*/ 5 w 9"/>
                <a:gd name="T3" fmla="*/ 11 h 49"/>
                <a:gd name="T4" fmla="*/ 0 w 9"/>
                <a:gd name="T5" fmla="*/ 49 h 49"/>
                <a:gd name="T6" fmla="*/ 9 w 9"/>
                <a:gd name="T7" fmla="*/ 11 h 49"/>
                <a:gd name="T8" fmla="*/ 9 w 9"/>
                <a:gd name="T9" fmla="*/ 0 h 49"/>
                <a:gd name="T10" fmla="*/ 5 w 9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49">
                  <a:moveTo>
                    <a:pt x="5" y="0"/>
                  </a:moveTo>
                  <a:lnTo>
                    <a:pt x="5" y="11"/>
                  </a:lnTo>
                  <a:lnTo>
                    <a:pt x="0" y="49"/>
                  </a:lnTo>
                  <a:lnTo>
                    <a:pt x="9" y="11"/>
                  </a:lnTo>
                  <a:lnTo>
                    <a:pt x="9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99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15"/>
            <p:cNvSpPr>
              <a:spLocks/>
            </p:cNvSpPr>
            <p:nvPr/>
          </p:nvSpPr>
          <p:spPr bwMode="gray">
            <a:xfrm>
              <a:off x="8910937" y="4935858"/>
              <a:ext cx="6350" cy="77787"/>
            </a:xfrm>
            <a:custGeom>
              <a:avLst/>
              <a:gdLst>
                <a:gd name="T0" fmla="*/ 0 w 4"/>
                <a:gd name="T1" fmla="*/ 0 h 49"/>
                <a:gd name="T2" fmla="*/ 1 w 4"/>
                <a:gd name="T3" fmla="*/ 10 h 49"/>
                <a:gd name="T4" fmla="*/ 0 w 4"/>
                <a:gd name="T5" fmla="*/ 49 h 49"/>
                <a:gd name="T6" fmla="*/ 4 w 4"/>
                <a:gd name="T7" fmla="*/ 10 h 49"/>
                <a:gd name="T8" fmla="*/ 4 w 4"/>
                <a:gd name="T9" fmla="*/ 0 h 49"/>
                <a:gd name="T10" fmla="*/ 0 w 4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9">
                  <a:moveTo>
                    <a:pt x="0" y="0"/>
                  </a:moveTo>
                  <a:lnTo>
                    <a:pt x="1" y="10"/>
                  </a:lnTo>
                  <a:lnTo>
                    <a:pt x="0" y="49"/>
                  </a:lnTo>
                  <a:lnTo>
                    <a:pt x="4" y="1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16"/>
            <p:cNvSpPr>
              <a:spLocks/>
            </p:cNvSpPr>
            <p:nvPr/>
          </p:nvSpPr>
          <p:spPr bwMode="gray">
            <a:xfrm>
              <a:off x="8912525" y="4997770"/>
              <a:ext cx="33338" cy="47625"/>
            </a:xfrm>
            <a:custGeom>
              <a:avLst/>
              <a:gdLst>
                <a:gd name="T0" fmla="*/ 0 w 24"/>
                <a:gd name="T1" fmla="*/ 0 h 34"/>
                <a:gd name="T2" fmla="*/ 0 w 24"/>
                <a:gd name="T3" fmla="*/ 34 h 34"/>
                <a:gd name="T4" fmla="*/ 22 w 24"/>
                <a:gd name="T5" fmla="*/ 34 h 34"/>
                <a:gd name="T6" fmla="*/ 24 w 24"/>
                <a:gd name="T7" fmla="*/ 32 h 34"/>
                <a:gd name="T8" fmla="*/ 24 w 24"/>
                <a:gd name="T9" fmla="*/ 27 h 34"/>
                <a:gd name="T10" fmla="*/ 22 w 24"/>
                <a:gd name="T11" fmla="*/ 24 h 34"/>
                <a:gd name="T12" fmla="*/ 15 w 24"/>
                <a:gd name="T13" fmla="*/ 16 h 34"/>
                <a:gd name="T14" fmla="*/ 15 w 24"/>
                <a:gd name="T15" fmla="*/ 0 h 34"/>
                <a:gd name="T16" fmla="*/ 0 w 24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34">
                  <a:moveTo>
                    <a:pt x="0" y="0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4" y="34"/>
                    <a:pt x="24" y="32"/>
                  </a:cubicBezTo>
                  <a:cubicBezTo>
                    <a:pt x="24" y="30"/>
                    <a:pt x="24" y="27"/>
                    <a:pt x="24" y="27"/>
                  </a:cubicBezTo>
                  <a:cubicBezTo>
                    <a:pt x="24" y="27"/>
                    <a:pt x="24" y="26"/>
                    <a:pt x="22" y="24"/>
                  </a:cubicBezTo>
                  <a:cubicBezTo>
                    <a:pt x="20" y="23"/>
                    <a:pt x="16" y="18"/>
                    <a:pt x="15" y="16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17"/>
            <p:cNvSpPr>
              <a:spLocks/>
            </p:cNvSpPr>
            <p:nvPr/>
          </p:nvSpPr>
          <p:spPr bwMode="gray">
            <a:xfrm>
              <a:off x="8912525" y="5042220"/>
              <a:ext cx="33338" cy="4762"/>
            </a:xfrm>
            <a:custGeom>
              <a:avLst/>
              <a:gdLst>
                <a:gd name="T0" fmla="*/ 24 w 24"/>
                <a:gd name="T1" fmla="*/ 0 h 4"/>
                <a:gd name="T2" fmla="*/ 24 w 24"/>
                <a:gd name="T3" fmla="*/ 2 h 4"/>
                <a:gd name="T4" fmla="*/ 22 w 24"/>
                <a:gd name="T5" fmla="*/ 4 h 4"/>
                <a:gd name="T6" fmla="*/ 0 w 24"/>
                <a:gd name="T7" fmla="*/ 4 h 4"/>
                <a:gd name="T8" fmla="*/ 0 w 24"/>
                <a:gd name="T9" fmla="*/ 2 h 4"/>
                <a:gd name="T10" fmla="*/ 22 w 24"/>
                <a:gd name="T11" fmla="*/ 2 h 4"/>
                <a:gd name="T12" fmla="*/ 24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4" y="0"/>
                  </a:moveTo>
                  <a:cubicBezTo>
                    <a:pt x="24" y="0"/>
                    <a:pt x="24" y="1"/>
                    <a:pt x="24" y="2"/>
                  </a:cubicBezTo>
                  <a:cubicBezTo>
                    <a:pt x="24" y="4"/>
                    <a:pt x="22" y="4"/>
                    <a:pt x="22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2"/>
                    <a:pt x="24" y="2"/>
                    <a:pt x="24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18"/>
            <p:cNvSpPr>
              <a:spLocks/>
            </p:cNvSpPr>
            <p:nvPr/>
          </p:nvSpPr>
          <p:spPr bwMode="gray">
            <a:xfrm>
              <a:off x="8933162" y="5019995"/>
              <a:ext cx="12700" cy="25400"/>
            </a:xfrm>
            <a:custGeom>
              <a:avLst/>
              <a:gdLst>
                <a:gd name="T0" fmla="*/ 7 w 9"/>
                <a:gd name="T1" fmla="*/ 18 h 18"/>
                <a:gd name="T2" fmla="*/ 9 w 9"/>
                <a:gd name="T3" fmla="*/ 16 h 18"/>
                <a:gd name="T4" fmla="*/ 9 w 9"/>
                <a:gd name="T5" fmla="*/ 11 h 18"/>
                <a:gd name="T6" fmla="*/ 7 w 9"/>
                <a:gd name="T7" fmla="*/ 8 h 18"/>
                <a:gd name="T8" fmla="*/ 0 w 9"/>
                <a:gd name="T9" fmla="*/ 0 h 18"/>
                <a:gd name="T10" fmla="*/ 0 w 9"/>
                <a:gd name="T11" fmla="*/ 18 h 18"/>
                <a:gd name="T12" fmla="*/ 7 w 9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8">
                  <a:moveTo>
                    <a:pt x="7" y="18"/>
                  </a:moveTo>
                  <a:cubicBezTo>
                    <a:pt x="7" y="18"/>
                    <a:pt x="9" y="18"/>
                    <a:pt x="9" y="16"/>
                  </a:cubicBezTo>
                  <a:cubicBezTo>
                    <a:pt x="9" y="14"/>
                    <a:pt x="9" y="11"/>
                    <a:pt x="9" y="11"/>
                  </a:cubicBezTo>
                  <a:cubicBezTo>
                    <a:pt x="9" y="11"/>
                    <a:pt x="9" y="10"/>
                    <a:pt x="7" y="8"/>
                  </a:cubicBezTo>
                  <a:cubicBezTo>
                    <a:pt x="5" y="7"/>
                    <a:pt x="1" y="2"/>
                    <a:pt x="0" y="0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7" y="18"/>
                  </a:lnTo>
                  <a:close/>
                </a:path>
              </a:pathLst>
            </a:custGeom>
            <a:solidFill>
              <a:srgbClr val="3131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9"/>
            <p:cNvSpPr>
              <a:spLocks/>
            </p:cNvSpPr>
            <p:nvPr/>
          </p:nvSpPr>
          <p:spPr bwMode="gray">
            <a:xfrm>
              <a:off x="8874425" y="4935858"/>
              <a:ext cx="33338" cy="77787"/>
            </a:xfrm>
            <a:custGeom>
              <a:avLst/>
              <a:gdLst>
                <a:gd name="T0" fmla="*/ 0 w 21"/>
                <a:gd name="T1" fmla="*/ 0 h 49"/>
                <a:gd name="T2" fmla="*/ 0 w 21"/>
                <a:gd name="T3" fmla="*/ 10 h 49"/>
                <a:gd name="T4" fmla="*/ 0 w 21"/>
                <a:gd name="T5" fmla="*/ 49 h 49"/>
                <a:gd name="T6" fmla="*/ 13 w 21"/>
                <a:gd name="T7" fmla="*/ 49 h 49"/>
                <a:gd name="T8" fmla="*/ 21 w 21"/>
                <a:gd name="T9" fmla="*/ 11 h 49"/>
                <a:gd name="T10" fmla="*/ 21 w 21"/>
                <a:gd name="T11" fmla="*/ 0 h 49"/>
                <a:gd name="T12" fmla="*/ 0 w 21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49">
                  <a:moveTo>
                    <a:pt x="0" y="0"/>
                  </a:moveTo>
                  <a:lnTo>
                    <a:pt x="0" y="10"/>
                  </a:lnTo>
                  <a:lnTo>
                    <a:pt x="0" y="49"/>
                  </a:lnTo>
                  <a:lnTo>
                    <a:pt x="13" y="49"/>
                  </a:lnTo>
                  <a:lnTo>
                    <a:pt x="21" y="11"/>
                  </a:lnTo>
                  <a:lnTo>
                    <a:pt x="2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20"/>
            <p:cNvSpPr>
              <a:spLocks/>
            </p:cNvSpPr>
            <p:nvPr/>
          </p:nvSpPr>
          <p:spPr bwMode="gray">
            <a:xfrm>
              <a:off x="8895062" y="4935858"/>
              <a:ext cx="12700" cy="77787"/>
            </a:xfrm>
            <a:custGeom>
              <a:avLst/>
              <a:gdLst>
                <a:gd name="T0" fmla="*/ 4 w 8"/>
                <a:gd name="T1" fmla="*/ 0 h 49"/>
                <a:gd name="T2" fmla="*/ 4 w 8"/>
                <a:gd name="T3" fmla="*/ 11 h 49"/>
                <a:gd name="T4" fmla="*/ 0 w 8"/>
                <a:gd name="T5" fmla="*/ 49 h 49"/>
                <a:gd name="T6" fmla="*/ 8 w 8"/>
                <a:gd name="T7" fmla="*/ 11 h 49"/>
                <a:gd name="T8" fmla="*/ 8 w 8"/>
                <a:gd name="T9" fmla="*/ 0 h 49"/>
                <a:gd name="T10" fmla="*/ 4 w 8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49">
                  <a:moveTo>
                    <a:pt x="4" y="0"/>
                  </a:moveTo>
                  <a:lnTo>
                    <a:pt x="4" y="11"/>
                  </a:lnTo>
                  <a:lnTo>
                    <a:pt x="0" y="49"/>
                  </a:lnTo>
                  <a:lnTo>
                    <a:pt x="8" y="11"/>
                  </a:lnTo>
                  <a:lnTo>
                    <a:pt x="8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99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21"/>
            <p:cNvSpPr>
              <a:spLocks/>
            </p:cNvSpPr>
            <p:nvPr/>
          </p:nvSpPr>
          <p:spPr bwMode="gray">
            <a:xfrm>
              <a:off x="8874425" y="4935858"/>
              <a:ext cx="6350" cy="77787"/>
            </a:xfrm>
            <a:custGeom>
              <a:avLst/>
              <a:gdLst>
                <a:gd name="T0" fmla="*/ 0 w 4"/>
                <a:gd name="T1" fmla="*/ 0 h 49"/>
                <a:gd name="T2" fmla="*/ 0 w 4"/>
                <a:gd name="T3" fmla="*/ 10 h 49"/>
                <a:gd name="T4" fmla="*/ 0 w 4"/>
                <a:gd name="T5" fmla="*/ 49 h 49"/>
                <a:gd name="T6" fmla="*/ 4 w 4"/>
                <a:gd name="T7" fmla="*/ 10 h 49"/>
                <a:gd name="T8" fmla="*/ 4 w 4"/>
                <a:gd name="T9" fmla="*/ 0 h 49"/>
                <a:gd name="T10" fmla="*/ 0 w 4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9">
                  <a:moveTo>
                    <a:pt x="0" y="0"/>
                  </a:moveTo>
                  <a:lnTo>
                    <a:pt x="0" y="10"/>
                  </a:lnTo>
                  <a:lnTo>
                    <a:pt x="0" y="49"/>
                  </a:lnTo>
                  <a:lnTo>
                    <a:pt x="4" y="1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22"/>
            <p:cNvSpPr>
              <a:spLocks/>
            </p:cNvSpPr>
            <p:nvPr/>
          </p:nvSpPr>
          <p:spPr bwMode="gray">
            <a:xfrm>
              <a:off x="8874425" y="4997770"/>
              <a:ext cx="34925" cy="47625"/>
            </a:xfrm>
            <a:custGeom>
              <a:avLst/>
              <a:gdLst>
                <a:gd name="T0" fmla="*/ 0 w 25"/>
                <a:gd name="T1" fmla="*/ 0 h 34"/>
                <a:gd name="T2" fmla="*/ 0 w 25"/>
                <a:gd name="T3" fmla="*/ 34 h 34"/>
                <a:gd name="T4" fmla="*/ 23 w 25"/>
                <a:gd name="T5" fmla="*/ 34 h 34"/>
                <a:gd name="T6" fmla="*/ 24 w 25"/>
                <a:gd name="T7" fmla="*/ 32 h 34"/>
                <a:gd name="T8" fmla="*/ 24 w 25"/>
                <a:gd name="T9" fmla="*/ 27 h 34"/>
                <a:gd name="T10" fmla="*/ 22 w 25"/>
                <a:gd name="T11" fmla="*/ 24 h 34"/>
                <a:gd name="T12" fmla="*/ 16 w 25"/>
                <a:gd name="T13" fmla="*/ 16 h 34"/>
                <a:gd name="T14" fmla="*/ 16 w 25"/>
                <a:gd name="T15" fmla="*/ 0 h 34"/>
                <a:gd name="T16" fmla="*/ 0 w 25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34">
                  <a:moveTo>
                    <a:pt x="0" y="0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23" y="34"/>
                    <a:pt x="24" y="34"/>
                    <a:pt x="24" y="32"/>
                  </a:cubicBezTo>
                  <a:cubicBezTo>
                    <a:pt x="24" y="30"/>
                    <a:pt x="24" y="27"/>
                    <a:pt x="24" y="27"/>
                  </a:cubicBezTo>
                  <a:cubicBezTo>
                    <a:pt x="24" y="27"/>
                    <a:pt x="25" y="26"/>
                    <a:pt x="22" y="24"/>
                  </a:cubicBezTo>
                  <a:cubicBezTo>
                    <a:pt x="20" y="23"/>
                    <a:pt x="16" y="18"/>
                    <a:pt x="16" y="16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23"/>
            <p:cNvSpPr>
              <a:spLocks/>
            </p:cNvSpPr>
            <p:nvPr/>
          </p:nvSpPr>
          <p:spPr bwMode="gray">
            <a:xfrm>
              <a:off x="8874425" y="5042220"/>
              <a:ext cx="33338" cy="4762"/>
            </a:xfrm>
            <a:custGeom>
              <a:avLst/>
              <a:gdLst>
                <a:gd name="T0" fmla="*/ 24 w 24"/>
                <a:gd name="T1" fmla="*/ 0 h 4"/>
                <a:gd name="T2" fmla="*/ 24 w 24"/>
                <a:gd name="T3" fmla="*/ 2 h 4"/>
                <a:gd name="T4" fmla="*/ 23 w 24"/>
                <a:gd name="T5" fmla="*/ 4 h 4"/>
                <a:gd name="T6" fmla="*/ 0 w 24"/>
                <a:gd name="T7" fmla="*/ 4 h 4"/>
                <a:gd name="T8" fmla="*/ 0 w 24"/>
                <a:gd name="T9" fmla="*/ 2 h 4"/>
                <a:gd name="T10" fmla="*/ 23 w 24"/>
                <a:gd name="T11" fmla="*/ 2 h 4"/>
                <a:gd name="T12" fmla="*/ 24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4" y="0"/>
                  </a:moveTo>
                  <a:cubicBezTo>
                    <a:pt x="24" y="0"/>
                    <a:pt x="24" y="1"/>
                    <a:pt x="24" y="2"/>
                  </a:cubicBezTo>
                  <a:cubicBezTo>
                    <a:pt x="24" y="4"/>
                    <a:pt x="23" y="4"/>
                    <a:pt x="23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3" y="2"/>
                    <a:pt x="24" y="2"/>
                    <a:pt x="24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24"/>
            <p:cNvSpPr>
              <a:spLocks/>
            </p:cNvSpPr>
            <p:nvPr/>
          </p:nvSpPr>
          <p:spPr bwMode="gray">
            <a:xfrm>
              <a:off x="8896650" y="5019995"/>
              <a:ext cx="11113" cy="25400"/>
            </a:xfrm>
            <a:custGeom>
              <a:avLst/>
              <a:gdLst>
                <a:gd name="T0" fmla="*/ 0 w 8"/>
                <a:gd name="T1" fmla="*/ 0 h 18"/>
                <a:gd name="T2" fmla="*/ 0 w 8"/>
                <a:gd name="T3" fmla="*/ 18 h 18"/>
                <a:gd name="T4" fmla="*/ 7 w 8"/>
                <a:gd name="T5" fmla="*/ 18 h 18"/>
                <a:gd name="T6" fmla="*/ 8 w 8"/>
                <a:gd name="T7" fmla="*/ 16 h 18"/>
                <a:gd name="T8" fmla="*/ 8 w 8"/>
                <a:gd name="T9" fmla="*/ 11 h 18"/>
                <a:gd name="T10" fmla="*/ 8 w 8"/>
                <a:gd name="T11" fmla="*/ 11 h 18"/>
                <a:gd name="T12" fmla="*/ 8 w 8"/>
                <a:gd name="T13" fmla="*/ 11 h 18"/>
                <a:gd name="T14" fmla="*/ 8 w 8"/>
                <a:gd name="T15" fmla="*/ 11 h 18"/>
                <a:gd name="T16" fmla="*/ 6 w 8"/>
                <a:gd name="T17" fmla="*/ 8 h 18"/>
                <a:gd name="T18" fmla="*/ 0 w 8"/>
                <a:gd name="T1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18">
                  <a:moveTo>
                    <a:pt x="0" y="0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7" y="18"/>
                    <a:pt x="8" y="18"/>
                    <a:pt x="8" y="16"/>
                  </a:cubicBezTo>
                  <a:cubicBezTo>
                    <a:pt x="8" y="14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0"/>
                    <a:pt x="8" y="9"/>
                    <a:pt x="6" y="8"/>
                  </a:cubicBezTo>
                  <a:cubicBezTo>
                    <a:pt x="4" y="7"/>
                    <a:pt x="0" y="2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25"/>
            <p:cNvSpPr>
              <a:spLocks/>
            </p:cNvSpPr>
            <p:nvPr/>
          </p:nvSpPr>
          <p:spPr bwMode="gray">
            <a:xfrm>
              <a:off x="8929987" y="4756470"/>
              <a:ext cx="9525" cy="1587"/>
            </a:xfrm>
            <a:custGeom>
              <a:avLst/>
              <a:gdLst>
                <a:gd name="T0" fmla="*/ 0 w 6"/>
                <a:gd name="T1" fmla="*/ 0 h 1"/>
                <a:gd name="T2" fmla="*/ 6 w 6"/>
                <a:gd name="T3" fmla="*/ 1 h 1"/>
                <a:gd name="T4" fmla="*/ 6 w 6"/>
                <a:gd name="T5" fmla="*/ 1 h 1"/>
                <a:gd name="T6" fmla="*/ 0 w 6"/>
                <a:gd name="T7" fmla="*/ 0 h 1"/>
                <a:gd name="T8" fmla="*/ 0 w 6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">
                  <a:moveTo>
                    <a:pt x="0" y="0"/>
                  </a:moveTo>
                  <a:lnTo>
                    <a:pt x="6" y="1"/>
                  </a:lnTo>
                  <a:lnTo>
                    <a:pt x="6" y="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BD9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26"/>
            <p:cNvSpPr>
              <a:spLocks/>
            </p:cNvSpPr>
            <p:nvPr/>
          </p:nvSpPr>
          <p:spPr bwMode="gray">
            <a:xfrm>
              <a:off x="8917287" y="4731070"/>
              <a:ext cx="0" cy="1587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F6CA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27"/>
            <p:cNvSpPr>
              <a:spLocks/>
            </p:cNvSpPr>
            <p:nvPr/>
          </p:nvSpPr>
          <p:spPr bwMode="gray">
            <a:xfrm>
              <a:off x="8899825" y="4724720"/>
              <a:ext cx="50800" cy="57150"/>
            </a:xfrm>
            <a:custGeom>
              <a:avLst/>
              <a:gdLst>
                <a:gd name="T0" fmla="*/ 33 w 36"/>
                <a:gd name="T1" fmla="*/ 16 h 42"/>
                <a:gd name="T2" fmla="*/ 28 w 36"/>
                <a:gd name="T3" fmla="*/ 7 h 42"/>
                <a:gd name="T4" fmla="*/ 27 w 36"/>
                <a:gd name="T5" fmla="*/ 5 h 42"/>
                <a:gd name="T6" fmla="*/ 27 w 36"/>
                <a:gd name="T7" fmla="*/ 5 h 42"/>
                <a:gd name="T8" fmla="*/ 17 w 36"/>
                <a:gd name="T9" fmla="*/ 4 h 42"/>
                <a:gd name="T10" fmla="*/ 13 w 36"/>
                <a:gd name="T11" fmla="*/ 0 h 42"/>
                <a:gd name="T12" fmla="*/ 13 w 36"/>
                <a:gd name="T13" fmla="*/ 0 h 42"/>
                <a:gd name="T14" fmla="*/ 13 w 36"/>
                <a:gd name="T15" fmla="*/ 5 h 42"/>
                <a:gd name="T16" fmla="*/ 13 w 36"/>
                <a:gd name="T17" fmla="*/ 6 h 42"/>
                <a:gd name="T18" fmla="*/ 13 w 36"/>
                <a:gd name="T19" fmla="*/ 11 h 42"/>
                <a:gd name="T20" fmla="*/ 14 w 36"/>
                <a:gd name="T21" fmla="*/ 14 h 42"/>
                <a:gd name="T22" fmla="*/ 11 w 36"/>
                <a:gd name="T23" fmla="*/ 14 h 42"/>
                <a:gd name="T24" fmla="*/ 6 w 36"/>
                <a:gd name="T25" fmla="*/ 11 h 42"/>
                <a:gd name="T26" fmla="*/ 3 w 36"/>
                <a:gd name="T27" fmla="*/ 12 h 42"/>
                <a:gd name="T28" fmla="*/ 4 w 36"/>
                <a:gd name="T29" fmla="*/ 17 h 42"/>
                <a:gd name="T30" fmla="*/ 5 w 36"/>
                <a:gd name="T31" fmla="*/ 20 h 42"/>
                <a:gd name="T32" fmla="*/ 6 w 36"/>
                <a:gd name="T33" fmla="*/ 22 h 42"/>
                <a:gd name="T34" fmla="*/ 6 w 36"/>
                <a:gd name="T35" fmla="*/ 22 h 42"/>
                <a:gd name="T36" fmla="*/ 6 w 36"/>
                <a:gd name="T37" fmla="*/ 22 h 42"/>
                <a:gd name="T38" fmla="*/ 2 w 36"/>
                <a:gd name="T39" fmla="*/ 31 h 42"/>
                <a:gd name="T40" fmla="*/ 0 w 36"/>
                <a:gd name="T41" fmla="*/ 30 h 42"/>
                <a:gd name="T42" fmla="*/ 2 w 36"/>
                <a:gd name="T43" fmla="*/ 41 h 42"/>
                <a:gd name="T44" fmla="*/ 19 w 36"/>
                <a:gd name="T45" fmla="*/ 42 h 42"/>
                <a:gd name="T46" fmla="*/ 18 w 36"/>
                <a:gd name="T47" fmla="*/ 36 h 42"/>
                <a:gd name="T48" fmla="*/ 23 w 36"/>
                <a:gd name="T49" fmla="*/ 37 h 42"/>
                <a:gd name="T50" fmla="*/ 28 w 36"/>
                <a:gd name="T51" fmla="*/ 34 h 42"/>
                <a:gd name="T52" fmla="*/ 29 w 36"/>
                <a:gd name="T53" fmla="*/ 29 h 42"/>
                <a:gd name="T54" fmla="*/ 29 w 36"/>
                <a:gd name="T55" fmla="*/ 24 h 42"/>
                <a:gd name="T56" fmla="*/ 30 w 36"/>
                <a:gd name="T57" fmla="*/ 20 h 42"/>
                <a:gd name="T58" fmla="*/ 33 w 36"/>
                <a:gd name="T59" fmla="*/ 1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6" h="42">
                  <a:moveTo>
                    <a:pt x="33" y="16"/>
                  </a:moveTo>
                  <a:cubicBezTo>
                    <a:pt x="33" y="16"/>
                    <a:pt x="28" y="8"/>
                    <a:pt x="28" y="7"/>
                  </a:cubicBezTo>
                  <a:cubicBezTo>
                    <a:pt x="27" y="6"/>
                    <a:pt x="27" y="5"/>
                    <a:pt x="27" y="5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3" y="6"/>
                    <a:pt x="20" y="5"/>
                    <a:pt x="17" y="4"/>
                  </a:cubicBezTo>
                  <a:cubicBezTo>
                    <a:pt x="15" y="2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13" y="9"/>
                    <a:pt x="13" y="11"/>
                  </a:cubicBezTo>
                  <a:cubicBezTo>
                    <a:pt x="14" y="12"/>
                    <a:pt x="14" y="14"/>
                    <a:pt x="14" y="14"/>
                  </a:cubicBezTo>
                  <a:cubicBezTo>
                    <a:pt x="14" y="16"/>
                    <a:pt x="11" y="14"/>
                    <a:pt x="11" y="14"/>
                  </a:cubicBezTo>
                  <a:cubicBezTo>
                    <a:pt x="11" y="14"/>
                    <a:pt x="9" y="12"/>
                    <a:pt x="6" y="11"/>
                  </a:cubicBezTo>
                  <a:cubicBezTo>
                    <a:pt x="5" y="11"/>
                    <a:pt x="4" y="11"/>
                    <a:pt x="3" y="12"/>
                  </a:cubicBezTo>
                  <a:cubicBezTo>
                    <a:pt x="3" y="13"/>
                    <a:pt x="3" y="15"/>
                    <a:pt x="4" y="17"/>
                  </a:cubicBezTo>
                  <a:cubicBezTo>
                    <a:pt x="4" y="18"/>
                    <a:pt x="4" y="20"/>
                    <a:pt x="5" y="20"/>
                  </a:cubicBezTo>
                  <a:cubicBezTo>
                    <a:pt x="5" y="21"/>
                    <a:pt x="6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6" y="28"/>
                    <a:pt x="2" y="31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20" y="37"/>
                    <a:pt x="21" y="37"/>
                    <a:pt x="23" y="37"/>
                  </a:cubicBezTo>
                  <a:cubicBezTo>
                    <a:pt x="28" y="37"/>
                    <a:pt x="28" y="34"/>
                    <a:pt x="28" y="34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6" y="19"/>
                    <a:pt x="34" y="17"/>
                    <a:pt x="33" y="16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8"/>
            <p:cNvSpPr>
              <a:spLocks/>
            </p:cNvSpPr>
            <p:nvPr/>
          </p:nvSpPr>
          <p:spPr bwMode="gray">
            <a:xfrm>
              <a:off x="8907762" y="4772345"/>
              <a:ext cx="17463" cy="4762"/>
            </a:xfrm>
            <a:custGeom>
              <a:avLst/>
              <a:gdLst>
                <a:gd name="T0" fmla="*/ 0 w 12"/>
                <a:gd name="T1" fmla="*/ 0 h 3"/>
                <a:gd name="T2" fmla="*/ 12 w 12"/>
                <a:gd name="T3" fmla="*/ 3 h 3"/>
                <a:gd name="T4" fmla="*/ 12 w 12"/>
                <a:gd name="T5" fmla="*/ 1 h 3"/>
                <a:gd name="T6" fmla="*/ 0 w 1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3">
                  <a:moveTo>
                    <a:pt x="0" y="0"/>
                  </a:moveTo>
                  <a:cubicBezTo>
                    <a:pt x="1" y="1"/>
                    <a:pt x="4" y="3"/>
                    <a:pt x="12" y="3"/>
                  </a:cubicBezTo>
                  <a:cubicBezTo>
                    <a:pt x="12" y="2"/>
                    <a:pt x="12" y="2"/>
                    <a:pt x="12" y="1"/>
                  </a:cubicBezTo>
                  <a:cubicBezTo>
                    <a:pt x="8" y="1"/>
                    <a:pt x="4" y="1"/>
                    <a:pt x="0" y="0"/>
                  </a:cubicBezTo>
                  <a:close/>
                </a:path>
              </a:pathLst>
            </a:custGeom>
            <a:solidFill>
              <a:srgbClr val="8054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9"/>
            <p:cNvSpPr>
              <a:spLocks/>
            </p:cNvSpPr>
            <p:nvPr/>
          </p:nvSpPr>
          <p:spPr bwMode="gray">
            <a:xfrm>
              <a:off x="8934750" y="4758058"/>
              <a:ext cx="4763" cy="4762"/>
            </a:xfrm>
            <a:custGeom>
              <a:avLst/>
              <a:gdLst>
                <a:gd name="T0" fmla="*/ 4 w 4"/>
                <a:gd name="T1" fmla="*/ 3 h 4"/>
                <a:gd name="T2" fmla="*/ 2 w 4"/>
                <a:gd name="T3" fmla="*/ 0 h 4"/>
                <a:gd name="T4" fmla="*/ 0 w 4"/>
                <a:gd name="T5" fmla="*/ 0 h 4"/>
                <a:gd name="T6" fmla="*/ 4 w 4"/>
                <a:gd name="T7" fmla="*/ 4 h 4"/>
                <a:gd name="T8" fmla="*/ 4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4" y="3"/>
                  </a:moveTo>
                  <a:cubicBezTo>
                    <a:pt x="3" y="2"/>
                    <a:pt x="2" y="1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2" y="2"/>
                    <a:pt x="4" y="4"/>
                  </a:cubicBezTo>
                  <a:lnTo>
                    <a:pt x="4" y="3"/>
                  </a:lnTo>
                  <a:close/>
                </a:path>
              </a:pathLst>
            </a:custGeom>
            <a:solidFill>
              <a:srgbClr val="8054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30"/>
            <p:cNvSpPr>
              <a:spLocks/>
            </p:cNvSpPr>
            <p:nvPr/>
          </p:nvSpPr>
          <p:spPr bwMode="gray">
            <a:xfrm>
              <a:off x="8937925" y="4758058"/>
              <a:ext cx="1588" cy="3175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0 h 3"/>
                <a:gd name="T4" fmla="*/ 2 w 2"/>
                <a:gd name="T5" fmla="*/ 3 h 3"/>
                <a:gd name="T6" fmla="*/ 2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2"/>
                    <a:pt x="2" y="3"/>
                  </a:cubicBezTo>
                  <a:lnTo>
                    <a:pt x="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31"/>
            <p:cNvSpPr>
              <a:spLocks/>
            </p:cNvSpPr>
            <p:nvPr/>
          </p:nvSpPr>
          <p:spPr bwMode="gray">
            <a:xfrm>
              <a:off x="8934750" y="4739008"/>
              <a:ext cx="4763" cy="3175"/>
            </a:xfrm>
            <a:custGeom>
              <a:avLst/>
              <a:gdLst>
                <a:gd name="T0" fmla="*/ 3 w 3"/>
                <a:gd name="T1" fmla="*/ 1 h 3"/>
                <a:gd name="T2" fmla="*/ 1 w 3"/>
                <a:gd name="T3" fmla="*/ 3 h 3"/>
                <a:gd name="T4" fmla="*/ 0 w 3"/>
                <a:gd name="T5" fmla="*/ 2 h 3"/>
                <a:gd name="T6" fmla="*/ 1 w 3"/>
                <a:gd name="T7" fmla="*/ 0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3" y="2"/>
                    <a:pt x="2" y="3"/>
                    <a:pt x="1" y="3"/>
                  </a:cubicBezTo>
                  <a:cubicBezTo>
                    <a:pt x="1" y="3"/>
                    <a:pt x="0" y="3"/>
                    <a:pt x="0" y="2"/>
                  </a:cubicBezTo>
                  <a:cubicBezTo>
                    <a:pt x="0" y="1"/>
                    <a:pt x="0" y="1"/>
                    <a:pt x="1" y="0"/>
                  </a:cubicBezTo>
                  <a:cubicBezTo>
                    <a:pt x="2" y="0"/>
                    <a:pt x="2" y="1"/>
                    <a:pt x="3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32"/>
            <p:cNvSpPr>
              <a:spLocks/>
            </p:cNvSpPr>
            <p:nvPr/>
          </p:nvSpPr>
          <p:spPr bwMode="gray">
            <a:xfrm>
              <a:off x="8893475" y="4772345"/>
              <a:ext cx="34925" cy="22225"/>
            </a:xfrm>
            <a:custGeom>
              <a:avLst/>
              <a:gdLst>
                <a:gd name="T0" fmla="*/ 0 w 22"/>
                <a:gd name="T1" fmla="*/ 8 h 14"/>
                <a:gd name="T2" fmla="*/ 2 w 22"/>
                <a:gd name="T3" fmla="*/ 0 h 14"/>
                <a:gd name="T4" fmla="*/ 22 w 22"/>
                <a:gd name="T5" fmla="*/ 4 h 14"/>
                <a:gd name="T6" fmla="*/ 22 w 22"/>
                <a:gd name="T7" fmla="*/ 14 h 14"/>
                <a:gd name="T8" fmla="*/ 0 w 22"/>
                <a:gd name="T9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4">
                  <a:moveTo>
                    <a:pt x="0" y="8"/>
                  </a:moveTo>
                  <a:lnTo>
                    <a:pt x="2" y="0"/>
                  </a:lnTo>
                  <a:lnTo>
                    <a:pt x="22" y="4"/>
                  </a:lnTo>
                  <a:lnTo>
                    <a:pt x="22" y="14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33"/>
            <p:cNvSpPr>
              <a:spLocks/>
            </p:cNvSpPr>
            <p:nvPr/>
          </p:nvSpPr>
          <p:spPr bwMode="gray">
            <a:xfrm>
              <a:off x="8855375" y="4777108"/>
              <a:ext cx="103188" cy="166687"/>
            </a:xfrm>
            <a:custGeom>
              <a:avLst/>
              <a:gdLst>
                <a:gd name="T0" fmla="*/ 31 w 74"/>
                <a:gd name="T1" fmla="*/ 4 h 121"/>
                <a:gd name="T2" fmla="*/ 14 w 74"/>
                <a:gd name="T3" fmla="*/ 24 h 121"/>
                <a:gd name="T4" fmla="*/ 0 w 74"/>
                <a:gd name="T5" fmla="*/ 119 h 121"/>
                <a:gd name="T6" fmla="*/ 68 w 74"/>
                <a:gd name="T7" fmla="*/ 115 h 121"/>
                <a:gd name="T8" fmla="*/ 62 w 74"/>
                <a:gd name="T9" fmla="*/ 16 h 121"/>
                <a:gd name="T10" fmla="*/ 31 w 74"/>
                <a:gd name="T11" fmla="*/ 4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121">
                  <a:moveTo>
                    <a:pt x="31" y="4"/>
                  </a:moveTo>
                  <a:cubicBezTo>
                    <a:pt x="17" y="5"/>
                    <a:pt x="14" y="22"/>
                    <a:pt x="14" y="24"/>
                  </a:cubicBezTo>
                  <a:cubicBezTo>
                    <a:pt x="13" y="49"/>
                    <a:pt x="11" y="118"/>
                    <a:pt x="0" y="119"/>
                  </a:cubicBezTo>
                  <a:cubicBezTo>
                    <a:pt x="60" y="119"/>
                    <a:pt x="62" y="121"/>
                    <a:pt x="68" y="115"/>
                  </a:cubicBezTo>
                  <a:cubicBezTo>
                    <a:pt x="74" y="109"/>
                    <a:pt x="62" y="16"/>
                    <a:pt x="62" y="16"/>
                  </a:cubicBezTo>
                  <a:cubicBezTo>
                    <a:pt x="61" y="0"/>
                    <a:pt x="48" y="3"/>
                    <a:pt x="31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34"/>
            <p:cNvSpPr>
              <a:spLocks/>
            </p:cNvSpPr>
            <p:nvPr/>
          </p:nvSpPr>
          <p:spPr bwMode="gray">
            <a:xfrm>
              <a:off x="8855375" y="4780283"/>
              <a:ext cx="69850" cy="160337"/>
            </a:xfrm>
            <a:custGeom>
              <a:avLst/>
              <a:gdLst>
                <a:gd name="T0" fmla="*/ 31 w 50"/>
                <a:gd name="T1" fmla="*/ 1 h 116"/>
                <a:gd name="T2" fmla="*/ 14 w 50"/>
                <a:gd name="T3" fmla="*/ 21 h 116"/>
                <a:gd name="T4" fmla="*/ 0 w 50"/>
                <a:gd name="T5" fmla="*/ 116 h 116"/>
                <a:gd name="T6" fmla="*/ 9 w 50"/>
                <a:gd name="T7" fmla="*/ 116 h 116"/>
                <a:gd name="T8" fmla="*/ 8 w 50"/>
                <a:gd name="T9" fmla="*/ 116 h 116"/>
                <a:gd name="T10" fmla="*/ 22 w 50"/>
                <a:gd name="T11" fmla="*/ 31 h 116"/>
                <a:gd name="T12" fmla="*/ 40 w 50"/>
                <a:gd name="T13" fmla="*/ 2 h 116"/>
                <a:gd name="T14" fmla="*/ 49 w 50"/>
                <a:gd name="T15" fmla="*/ 0 h 116"/>
                <a:gd name="T16" fmla="*/ 31 w 50"/>
                <a:gd name="T17" fmla="*/ 1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" h="116">
                  <a:moveTo>
                    <a:pt x="31" y="1"/>
                  </a:moveTo>
                  <a:cubicBezTo>
                    <a:pt x="17" y="2"/>
                    <a:pt x="14" y="19"/>
                    <a:pt x="14" y="21"/>
                  </a:cubicBezTo>
                  <a:cubicBezTo>
                    <a:pt x="13" y="46"/>
                    <a:pt x="11" y="115"/>
                    <a:pt x="0" y="116"/>
                  </a:cubicBezTo>
                  <a:cubicBezTo>
                    <a:pt x="3" y="116"/>
                    <a:pt x="6" y="116"/>
                    <a:pt x="9" y="116"/>
                  </a:cubicBezTo>
                  <a:cubicBezTo>
                    <a:pt x="8" y="116"/>
                    <a:pt x="8" y="116"/>
                    <a:pt x="8" y="116"/>
                  </a:cubicBezTo>
                  <a:cubicBezTo>
                    <a:pt x="20" y="115"/>
                    <a:pt x="21" y="55"/>
                    <a:pt x="22" y="31"/>
                  </a:cubicBezTo>
                  <a:cubicBezTo>
                    <a:pt x="22" y="29"/>
                    <a:pt x="26" y="3"/>
                    <a:pt x="40" y="2"/>
                  </a:cubicBezTo>
                  <a:cubicBezTo>
                    <a:pt x="43" y="2"/>
                    <a:pt x="50" y="1"/>
                    <a:pt x="49" y="0"/>
                  </a:cubicBezTo>
                  <a:cubicBezTo>
                    <a:pt x="44" y="0"/>
                    <a:pt x="38" y="0"/>
                    <a:pt x="31" y="1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35"/>
            <p:cNvSpPr>
              <a:spLocks/>
            </p:cNvSpPr>
            <p:nvPr/>
          </p:nvSpPr>
          <p:spPr bwMode="gray">
            <a:xfrm>
              <a:off x="8890300" y="4850133"/>
              <a:ext cx="87313" cy="55562"/>
            </a:xfrm>
            <a:custGeom>
              <a:avLst/>
              <a:gdLst>
                <a:gd name="T0" fmla="*/ 63 w 63"/>
                <a:gd name="T1" fmla="*/ 36 h 41"/>
                <a:gd name="T2" fmla="*/ 57 w 63"/>
                <a:gd name="T3" fmla="*/ 41 h 41"/>
                <a:gd name="T4" fmla="*/ 6 w 63"/>
                <a:gd name="T5" fmla="*/ 41 h 41"/>
                <a:gd name="T6" fmla="*/ 0 w 63"/>
                <a:gd name="T7" fmla="*/ 36 h 41"/>
                <a:gd name="T8" fmla="*/ 0 w 63"/>
                <a:gd name="T9" fmla="*/ 6 h 41"/>
                <a:gd name="T10" fmla="*/ 6 w 63"/>
                <a:gd name="T11" fmla="*/ 0 h 41"/>
                <a:gd name="T12" fmla="*/ 57 w 63"/>
                <a:gd name="T13" fmla="*/ 0 h 41"/>
                <a:gd name="T14" fmla="*/ 63 w 63"/>
                <a:gd name="T15" fmla="*/ 6 h 41"/>
                <a:gd name="T16" fmla="*/ 63 w 63"/>
                <a:gd name="T17" fmla="*/ 3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3" h="41">
                  <a:moveTo>
                    <a:pt x="63" y="36"/>
                  </a:moveTo>
                  <a:cubicBezTo>
                    <a:pt x="63" y="39"/>
                    <a:pt x="60" y="41"/>
                    <a:pt x="57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3" y="41"/>
                    <a:pt x="0" y="39"/>
                    <a:pt x="0" y="3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60" y="0"/>
                    <a:pt x="63" y="3"/>
                    <a:pt x="63" y="6"/>
                  </a:cubicBezTo>
                  <a:lnTo>
                    <a:pt x="63" y="36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36"/>
            <p:cNvSpPr>
              <a:spLocks/>
            </p:cNvSpPr>
            <p:nvPr/>
          </p:nvSpPr>
          <p:spPr bwMode="gray">
            <a:xfrm>
              <a:off x="8960150" y="4897758"/>
              <a:ext cx="19050" cy="20637"/>
            </a:xfrm>
            <a:custGeom>
              <a:avLst/>
              <a:gdLst>
                <a:gd name="T0" fmla="*/ 0 w 14"/>
                <a:gd name="T1" fmla="*/ 10 h 15"/>
                <a:gd name="T2" fmla="*/ 0 w 14"/>
                <a:gd name="T3" fmla="*/ 10 h 15"/>
                <a:gd name="T4" fmla="*/ 1 w 14"/>
                <a:gd name="T5" fmla="*/ 12 h 15"/>
                <a:gd name="T6" fmla="*/ 6 w 14"/>
                <a:gd name="T7" fmla="*/ 15 h 15"/>
                <a:gd name="T8" fmla="*/ 8 w 14"/>
                <a:gd name="T9" fmla="*/ 14 h 15"/>
                <a:gd name="T10" fmla="*/ 9 w 14"/>
                <a:gd name="T11" fmla="*/ 13 h 15"/>
                <a:gd name="T12" fmla="*/ 11 w 14"/>
                <a:gd name="T13" fmla="*/ 12 h 15"/>
                <a:gd name="T14" fmla="*/ 11 w 14"/>
                <a:gd name="T15" fmla="*/ 10 h 15"/>
                <a:gd name="T16" fmla="*/ 13 w 14"/>
                <a:gd name="T17" fmla="*/ 9 h 15"/>
                <a:gd name="T18" fmla="*/ 12 w 14"/>
                <a:gd name="T19" fmla="*/ 6 h 15"/>
                <a:gd name="T20" fmla="*/ 11 w 14"/>
                <a:gd name="T21" fmla="*/ 6 h 15"/>
                <a:gd name="T22" fmla="*/ 13 w 14"/>
                <a:gd name="T23" fmla="*/ 5 h 15"/>
                <a:gd name="T24" fmla="*/ 13 w 14"/>
                <a:gd name="T25" fmla="*/ 3 h 15"/>
                <a:gd name="T26" fmla="*/ 8 w 14"/>
                <a:gd name="T27" fmla="*/ 0 h 15"/>
                <a:gd name="T28" fmla="*/ 6 w 14"/>
                <a:gd name="T29" fmla="*/ 0 h 15"/>
                <a:gd name="T30" fmla="*/ 0 w 14"/>
                <a:gd name="T31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" h="15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1" y="12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5"/>
                    <a:pt x="8" y="15"/>
                    <a:pt x="8" y="14"/>
                  </a:cubicBezTo>
                  <a:cubicBezTo>
                    <a:pt x="9" y="14"/>
                    <a:pt x="9" y="13"/>
                    <a:pt x="9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1" y="11"/>
                    <a:pt x="11" y="10"/>
                    <a:pt x="11" y="10"/>
                  </a:cubicBezTo>
                  <a:cubicBezTo>
                    <a:pt x="11" y="10"/>
                    <a:pt x="12" y="10"/>
                    <a:pt x="13" y="9"/>
                  </a:cubicBezTo>
                  <a:cubicBezTo>
                    <a:pt x="13" y="8"/>
                    <a:pt x="13" y="7"/>
                    <a:pt x="1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3" y="6"/>
                    <a:pt x="13" y="5"/>
                  </a:cubicBezTo>
                  <a:cubicBezTo>
                    <a:pt x="14" y="4"/>
                    <a:pt x="14" y="3"/>
                    <a:pt x="13" y="3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2" y="2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37"/>
            <p:cNvSpPr>
              <a:spLocks/>
            </p:cNvSpPr>
            <p:nvPr/>
          </p:nvSpPr>
          <p:spPr bwMode="gray">
            <a:xfrm>
              <a:off x="8960150" y="4892995"/>
              <a:ext cx="15875" cy="6350"/>
            </a:xfrm>
            <a:custGeom>
              <a:avLst/>
              <a:gdLst>
                <a:gd name="T0" fmla="*/ 0 w 11"/>
                <a:gd name="T1" fmla="*/ 2 h 4"/>
                <a:gd name="T2" fmla="*/ 2 w 11"/>
                <a:gd name="T3" fmla="*/ 0 h 4"/>
                <a:gd name="T4" fmla="*/ 10 w 11"/>
                <a:gd name="T5" fmla="*/ 0 h 4"/>
                <a:gd name="T6" fmla="*/ 11 w 11"/>
                <a:gd name="T7" fmla="*/ 2 h 4"/>
                <a:gd name="T8" fmla="*/ 11 w 11"/>
                <a:gd name="T9" fmla="*/ 2 h 4"/>
                <a:gd name="T10" fmla="*/ 10 w 11"/>
                <a:gd name="T11" fmla="*/ 4 h 4"/>
                <a:gd name="T12" fmla="*/ 2 w 11"/>
                <a:gd name="T13" fmla="*/ 4 h 4"/>
                <a:gd name="T14" fmla="*/ 0 w 11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4"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1" y="1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0" y="4"/>
                    <a:pt x="10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8"/>
            <p:cNvSpPr>
              <a:spLocks/>
            </p:cNvSpPr>
            <p:nvPr/>
          </p:nvSpPr>
          <p:spPr bwMode="gray">
            <a:xfrm>
              <a:off x="8893475" y="4797745"/>
              <a:ext cx="77788" cy="115887"/>
            </a:xfrm>
            <a:custGeom>
              <a:avLst/>
              <a:gdLst>
                <a:gd name="T0" fmla="*/ 48 w 57"/>
                <a:gd name="T1" fmla="*/ 84 h 84"/>
                <a:gd name="T2" fmla="*/ 42 w 57"/>
                <a:gd name="T3" fmla="*/ 82 h 84"/>
                <a:gd name="T4" fmla="*/ 18 w 57"/>
                <a:gd name="T5" fmla="*/ 59 h 84"/>
                <a:gd name="T6" fmla="*/ 1 w 57"/>
                <a:gd name="T7" fmla="*/ 11 h 84"/>
                <a:gd name="T8" fmla="*/ 6 w 57"/>
                <a:gd name="T9" fmla="*/ 1 h 84"/>
                <a:gd name="T10" fmla="*/ 16 w 57"/>
                <a:gd name="T11" fmla="*/ 6 h 84"/>
                <a:gd name="T12" fmla="*/ 32 w 57"/>
                <a:gd name="T13" fmla="*/ 50 h 84"/>
                <a:gd name="T14" fmla="*/ 53 w 57"/>
                <a:gd name="T15" fmla="*/ 70 h 84"/>
                <a:gd name="T16" fmla="*/ 54 w 57"/>
                <a:gd name="T17" fmla="*/ 81 h 84"/>
                <a:gd name="T18" fmla="*/ 48 w 57"/>
                <a:gd name="T1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84">
                  <a:moveTo>
                    <a:pt x="48" y="84"/>
                  </a:moveTo>
                  <a:cubicBezTo>
                    <a:pt x="46" y="84"/>
                    <a:pt x="44" y="83"/>
                    <a:pt x="42" y="82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7"/>
                    <a:pt x="2" y="2"/>
                    <a:pt x="6" y="1"/>
                  </a:cubicBezTo>
                  <a:cubicBezTo>
                    <a:pt x="10" y="0"/>
                    <a:pt x="15" y="2"/>
                    <a:pt x="16" y="6"/>
                  </a:cubicBezTo>
                  <a:cubicBezTo>
                    <a:pt x="32" y="50"/>
                    <a:pt x="32" y="50"/>
                    <a:pt x="32" y="50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57" y="73"/>
                    <a:pt x="57" y="78"/>
                    <a:pt x="54" y="81"/>
                  </a:cubicBezTo>
                  <a:cubicBezTo>
                    <a:pt x="52" y="83"/>
                    <a:pt x="50" y="84"/>
                    <a:pt x="48" y="8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9"/>
            <p:cNvSpPr>
              <a:spLocks/>
            </p:cNvSpPr>
            <p:nvPr/>
          </p:nvSpPr>
          <p:spPr bwMode="gray">
            <a:xfrm>
              <a:off x="8893475" y="4799333"/>
              <a:ext cx="69850" cy="114300"/>
            </a:xfrm>
            <a:custGeom>
              <a:avLst/>
              <a:gdLst>
                <a:gd name="T0" fmla="*/ 48 w 51"/>
                <a:gd name="T1" fmla="*/ 76 h 82"/>
                <a:gd name="T2" fmla="*/ 23 w 51"/>
                <a:gd name="T3" fmla="*/ 53 h 82"/>
                <a:gd name="T4" fmla="*/ 5 w 51"/>
                <a:gd name="T5" fmla="*/ 2 h 82"/>
                <a:gd name="T6" fmla="*/ 4 w 51"/>
                <a:gd name="T7" fmla="*/ 0 h 82"/>
                <a:gd name="T8" fmla="*/ 1 w 51"/>
                <a:gd name="T9" fmla="*/ 9 h 82"/>
                <a:gd name="T10" fmla="*/ 18 w 51"/>
                <a:gd name="T11" fmla="*/ 57 h 82"/>
                <a:gd name="T12" fmla="*/ 42 w 51"/>
                <a:gd name="T13" fmla="*/ 80 h 82"/>
                <a:gd name="T14" fmla="*/ 48 w 51"/>
                <a:gd name="T15" fmla="*/ 82 h 82"/>
                <a:gd name="T16" fmla="*/ 51 w 51"/>
                <a:gd name="T17" fmla="*/ 81 h 82"/>
                <a:gd name="T18" fmla="*/ 48 w 51"/>
                <a:gd name="T19" fmla="*/ 76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82">
                  <a:moveTo>
                    <a:pt x="48" y="76"/>
                  </a:moveTo>
                  <a:cubicBezTo>
                    <a:pt x="23" y="53"/>
                    <a:pt x="23" y="53"/>
                    <a:pt x="23" y="53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1"/>
                    <a:pt x="5" y="1"/>
                    <a:pt x="4" y="0"/>
                  </a:cubicBezTo>
                  <a:cubicBezTo>
                    <a:pt x="1" y="2"/>
                    <a:pt x="0" y="6"/>
                    <a:pt x="1" y="9"/>
                  </a:cubicBezTo>
                  <a:cubicBezTo>
                    <a:pt x="18" y="57"/>
                    <a:pt x="18" y="57"/>
                    <a:pt x="18" y="57"/>
                  </a:cubicBezTo>
                  <a:cubicBezTo>
                    <a:pt x="42" y="80"/>
                    <a:pt x="42" y="80"/>
                    <a:pt x="42" y="80"/>
                  </a:cubicBezTo>
                  <a:cubicBezTo>
                    <a:pt x="44" y="81"/>
                    <a:pt x="46" y="82"/>
                    <a:pt x="48" y="82"/>
                  </a:cubicBezTo>
                  <a:cubicBezTo>
                    <a:pt x="49" y="82"/>
                    <a:pt x="50" y="82"/>
                    <a:pt x="51" y="81"/>
                  </a:cubicBezTo>
                  <a:cubicBezTo>
                    <a:pt x="51" y="79"/>
                    <a:pt x="50" y="78"/>
                    <a:pt x="48" y="76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40"/>
            <p:cNvSpPr>
              <a:spLocks/>
            </p:cNvSpPr>
            <p:nvPr/>
          </p:nvSpPr>
          <p:spPr bwMode="gray">
            <a:xfrm>
              <a:off x="8869662" y="4696145"/>
              <a:ext cx="73025" cy="73025"/>
            </a:xfrm>
            <a:custGeom>
              <a:avLst/>
              <a:gdLst>
                <a:gd name="T0" fmla="*/ 49 w 53"/>
                <a:gd name="T1" fmla="*/ 11 h 53"/>
                <a:gd name="T2" fmla="*/ 42 w 53"/>
                <a:gd name="T3" fmla="*/ 6 h 53"/>
                <a:gd name="T4" fmla="*/ 40 w 53"/>
                <a:gd name="T5" fmla="*/ 6 h 53"/>
                <a:gd name="T6" fmla="*/ 33 w 53"/>
                <a:gd name="T7" fmla="*/ 1 h 53"/>
                <a:gd name="T8" fmla="*/ 29 w 53"/>
                <a:gd name="T9" fmla="*/ 3 h 53"/>
                <a:gd name="T10" fmla="*/ 23 w 53"/>
                <a:gd name="T11" fmla="*/ 0 h 53"/>
                <a:gd name="T12" fmla="*/ 15 w 53"/>
                <a:gd name="T13" fmla="*/ 4 h 53"/>
                <a:gd name="T14" fmla="*/ 14 w 53"/>
                <a:gd name="T15" fmla="*/ 4 h 53"/>
                <a:gd name="T16" fmla="*/ 6 w 53"/>
                <a:gd name="T17" fmla="*/ 12 h 53"/>
                <a:gd name="T18" fmla="*/ 6 w 53"/>
                <a:gd name="T19" fmla="*/ 13 h 53"/>
                <a:gd name="T20" fmla="*/ 0 w 53"/>
                <a:gd name="T21" fmla="*/ 21 h 53"/>
                <a:gd name="T22" fmla="*/ 1 w 53"/>
                <a:gd name="T23" fmla="*/ 25 h 53"/>
                <a:gd name="T24" fmla="*/ 0 w 53"/>
                <a:gd name="T25" fmla="*/ 30 h 53"/>
                <a:gd name="T26" fmla="*/ 4 w 53"/>
                <a:gd name="T27" fmla="*/ 37 h 53"/>
                <a:gd name="T28" fmla="*/ 4 w 53"/>
                <a:gd name="T29" fmla="*/ 38 h 53"/>
                <a:gd name="T30" fmla="*/ 3 w 53"/>
                <a:gd name="T31" fmla="*/ 39 h 53"/>
                <a:gd name="T32" fmla="*/ 11 w 53"/>
                <a:gd name="T33" fmla="*/ 48 h 53"/>
                <a:gd name="T34" fmla="*/ 11 w 53"/>
                <a:gd name="T35" fmla="*/ 48 h 53"/>
                <a:gd name="T36" fmla="*/ 16 w 53"/>
                <a:gd name="T37" fmla="*/ 52 h 53"/>
                <a:gd name="T38" fmla="*/ 19 w 53"/>
                <a:gd name="T39" fmla="*/ 52 h 53"/>
                <a:gd name="T40" fmla="*/ 22 w 53"/>
                <a:gd name="T41" fmla="*/ 53 h 53"/>
                <a:gd name="T42" fmla="*/ 22 w 53"/>
                <a:gd name="T43" fmla="*/ 53 h 53"/>
                <a:gd name="T44" fmla="*/ 22 w 53"/>
                <a:gd name="T45" fmla="*/ 53 h 53"/>
                <a:gd name="T46" fmla="*/ 26 w 53"/>
                <a:gd name="T47" fmla="*/ 50 h 53"/>
                <a:gd name="T48" fmla="*/ 31 w 53"/>
                <a:gd name="T49" fmla="*/ 49 h 53"/>
                <a:gd name="T50" fmla="*/ 31 w 53"/>
                <a:gd name="T51" fmla="*/ 40 h 53"/>
                <a:gd name="T52" fmla="*/ 38 w 53"/>
                <a:gd name="T53" fmla="*/ 39 h 53"/>
                <a:gd name="T54" fmla="*/ 38 w 53"/>
                <a:gd name="T55" fmla="*/ 31 h 53"/>
                <a:gd name="T56" fmla="*/ 43 w 53"/>
                <a:gd name="T57" fmla="*/ 30 h 53"/>
                <a:gd name="T58" fmla="*/ 45 w 53"/>
                <a:gd name="T59" fmla="*/ 26 h 53"/>
                <a:gd name="T60" fmla="*/ 49 w 53"/>
                <a:gd name="T61" fmla="*/ 26 h 53"/>
                <a:gd name="T62" fmla="*/ 49 w 53"/>
                <a:gd name="T63" fmla="*/ 26 h 53"/>
                <a:gd name="T64" fmla="*/ 53 w 53"/>
                <a:gd name="T65" fmla="*/ 17 h 53"/>
                <a:gd name="T66" fmla="*/ 49 w 53"/>
                <a:gd name="T67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3" h="53">
                  <a:moveTo>
                    <a:pt x="49" y="11"/>
                  </a:moveTo>
                  <a:cubicBezTo>
                    <a:pt x="48" y="8"/>
                    <a:pt x="45" y="6"/>
                    <a:pt x="42" y="6"/>
                  </a:cubicBezTo>
                  <a:cubicBezTo>
                    <a:pt x="41" y="6"/>
                    <a:pt x="41" y="6"/>
                    <a:pt x="40" y="6"/>
                  </a:cubicBezTo>
                  <a:cubicBezTo>
                    <a:pt x="39" y="3"/>
                    <a:pt x="36" y="1"/>
                    <a:pt x="33" y="1"/>
                  </a:cubicBezTo>
                  <a:cubicBezTo>
                    <a:pt x="32" y="1"/>
                    <a:pt x="30" y="2"/>
                    <a:pt x="29" y="3"/>
                  </a:cubicBezTo>
                  <a:cubicBezTo>
                    <a:pt x="27" y="1"/>
                    <a:pt x="25" y="0"/>
                    <a:pt x="23" y="0"/>
                  </a:cubicBezTo>
                  <a:cubicBezTo>
                    <a:pt x="19" y="0"/>
                    <a:pt x="16" y="2"/>
                    <a:pt x="15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0" y="4"/>
                    <a:pt x="6" y="8"/>
                    <a:pt x="6" y="12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3" y="14"/>
                    <a:pt x="0" y="17"/>
                    <a:pt x="0" y="21"/>
                  </a:cubicBezTo>
                  <a:cubicBezTo>
                    <a:pt x="0" y="22"/>
                    <a:pt x="1" y="24"/>
                    <a:pt x="1" y="25"/>
                  </a:cubicBezTo>
                  <a:cubicBezTo>
                    <a:pt x="0" y="26"/>
                    <a:pt x="0" y="28"/>
                    <a:pt x="0" y="30"/>
                  </a:cubicBezTo>
                  <a:cubicBezTo>
                    <a:pt x="0" y="33"/>
                    <a:pt x="1" y="36"/>
                    <a:pt x="4" y="37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3" y="38"/>
                    <a:pt x="3" y="39"/>
                    <a:pt x="3" y="39"/>
                  </a:cubicBezTo>
                  <a:cubicBezTo>
                    <a:pt x="3" y="44"/>
                    <a:pt x="7" y="47"/>
                    <a:pt x="11" y="48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50"/>
                    <a:pt x="14" y="52"/>
                    <a:pt x="16" y="52"/>
                  </a:cubicBezTo>
                  <a:cubicBezTo>
                    <a:pt x="17" y="52"/>
                    <a:pt x="18" y="52"/>
                    <a:pt x="19" y="52"/>
                  </a:cubicBezTo>
                  <a:cubicBezTo>
                    <a:pt x="20" y="52"/>
                    <a:pt x="21" y="53"/>
                    <a:pt x="22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4" y="52"/>
                    <a:pt x="25" y="51"/>
                    <a:pt x="26" y="50"/>
                  </a:cubicBezTo>
                  <a:cubicBezTo>
                    <a:pt x="27" y="50"/>
                    <a:pt x="29" y="50"/>
                    <a:pt x="31" y="49"/>
                  </a:cubicBezTo>
                  <a:cubicBezTo>
                    <a:pt x="39" y="46"/>
                    <a:pt x="32" y="45"/>
                    <a:pt x="31" y="40"/>
                  </a:cubicBezTo>
                  <a:cubicBezTo>
                    <a:pt x="31" y="35"/>
                    <a:pt x="36" y="40"/>
                    <a:pt x="38" y="39"/>
                  </a:cubicBezTo>
                  <a:cubicBezTo>
                    <a:pt x="40" y="39"/>
                    <a:pt x="38" y="35"/>
                    <a:pt x="38" y="31"/>
                  </a:cubicBezTo>
                  <a:cubicBezTo>
                    <a:pt x="37" y="27"/>
                    <a:pt x="39" y="30"/>
                    <a:pt x="43" y="30"/>
                  </a:cubicBezTo>
                  <a:cubicBezTo>
                    <a:pt x="46" y="29"/>
                    <a:pt x="46" y="28"/>
                    <a:pt x="45" y="26"/>
                  </a:cubicBezTo>
                  <a:cubicBezTo>
                    <a:pt x="47" y="26"/>
                    <a:pt x="48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52" y="24"/>
                    <a:pt x="53" y="20"/>
                    <a:pt x="53" y="17"/>
                  </a:cubicBezTo>
                  <a:cubicBezTo>
                    <a:pt x="52" y="14"/>
                    <a:pt x="51" y="13"/>
                    <a:pt x="49" y="1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41"/>
            <p:cNvSpPr>
              <a:spLocks/>
            </p:cNvSpPr>
            <p:nvPr/>
          </p:nvSpPr>
          <p:spPr bwMode="gray">
            <a:xfrm>
              <a:off x="8861725" y="4683445"/>
              <a:ext cx="82550" cy="65087"/>
            </a:xfrm>
            <a:custGeom>
              <a:avLst/>
              <a:gdLst>
                <a:gd name="T0" fmla="*/ 60 w 60"/>
                <a:gd name="T1" fmla="*/ 26 h 47"/>
                <a:gd name="T2" fmla="*/ 59 w 60"/>
                <a:gd name="T3" fmla="*/ 21 h 47"/>
                <a:gd name="T4" fmla="*/ 22 w 60"/>
                <a:gd name="T5" fmla="*/ 6 h 47"/>
                <a:gd name="T6" fmla="*/ 6 w 60"/>
                <a:gd name="T7" fmla="*/ 43 h 47"/>
                <a:gd name="T8" fmla="*/ 8 w 60"/>
                <a:gd name="T9" fmla="*/ 47 h 47"/>
                <a:gd name="T10" fmla="*/ 60 w 60"/>
                <a:gd name="T11" fmla="*/ 2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47">
                  <a:moveTo>
                    <a:pt x="60" y="26"/>
                  </a:moveTo>
                  <a:cubicBezTo>
                    <a:pt x="60" y="24"/>
                    <a:pt x="59" y="23"/>
                    <a:pt x="59" y="21"/>
                  </a:cubicBezTo>
                  <a:cubicBezTo>
                    <a:pt x="53" y="7"/>
                    <a:pt x="36" y="0"/>
                    <a:pt x="22" y="6"/>
                  </a:cubicBezTo>
                  <a:cubicBezTo>
                    <a:pt x="7" y="12"/>
                    <a:pt x="0" y="29"/>
                    <a:pt x="6" y="43"/>
                  </a:cubicBezTo>
                  <a:cubicBezTo>
                    <a:pt x="7" y="44"/>
                    <a:pt x="7" y="46"/>
                    <a:pt x="8" y="47"/>
                  </a:cubicBezTo>
                  <a:lnTo>
                    <a:pt x="60" y="26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42"/>
            <p:cNvSpPr>
              <a:spLocks/>
            </p:cNvSpPr>
            <p:nvPr/>
          </p:nvSpPr>
          <p:spPr bwMode="gray">
            <a:xfrm>
              <a:off x="8885537" y="4683445"/>
              <a:ext cx="58738" cy="38100"/>
            </a:xfrm>
            <a:custGeom>
              <a:avLst/>
              <a:gdLst>
                <a:gd name="T0" fmla="*/ 34 w 42"/>
                <a:gd name="T1" fmla="*/ 24 h 28"/>
                <a:gd name="T2" fmla="*/ 35 w 42"/>
                <a:gd name="T3" fmla="*/ 28 h 28"/>
                <a:gd name="T4" fmla="*/ 42 w 42"/>
                <a:gd name="T5" fmla="*/ 26 h 28"/>
                <a:gd name="T6" fmla="*/ 41 w 42"/>
                <a:gd name="T7" fmla="*/ 21 h 28"/>
                <a:gd name="T8" fmla="*/ 4 w 42"/>
                <a:gd name="T9" fmla="*/ 6 h 28"/>
                <a:gd name="T10" fmla="*/ 0 w 42"/>
                <a:gd name="T11" fmla="*/ 8 h 28"/>
                <a:gd name="T12" fmla="*/ 34 w 42"/>
                <a:gd name="T13" fmla="*/ 2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28">
                  <a:moveTo>
                    <a:pt x="34" y="24"/>
                  </a:moveTo>
                  <a:cubicBezTo>
                    <a:pt x="34" y="26"/>
                    <a:pt x="34" y="27"/>
                    <a:pt x="35" y="28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2" y="24"/>
                    <a:pt x="41" y="23"/>
                    <a:pt x="41" y="21"/>
                  </a:cubicBezTo>
                  <a:cubicBezTo>
                    <a:pt x="35" y="7"/>
                    <a:pt x="18" y="0"/>
                    <a:pt x="4" y="6"/>
                  </a:cubicBezTo>
                  <a:cubicBezTo>
                    <a:pt x="2" y="7"/>
                    <a:pt x="1" y="7"/>
                    <a:pt x="0" y="8"/>
                  </a:cubicBezTo>
                  <a:cubicBezTo>
                    <a:pt x="14" y="4"/>
                    <a:pt x="28" y="11"/>
                    <a:pt x="34" y="24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43"/>
            <p:cNvSpPr>
              <a:spLocks/>
            </p:cNvSpPr>
            <p:nvPr/>
          </p:nvSpPr>
          <p:spPr bwMode="gray">
            <a:xfrm>
              <a:off x="8864900" y="4692970"/>
              <a:ext cx="26988" cy="55562"/>
            </a:xfrm>
            <a:custGeom>
              <a:avLst/>
              <a:gdLst>
                <a:gd name="T0" fmla="*/ 20 w 20"/>
                <a:gd name="T1" fmla="*/ 0 h 40"/>
                <a:gd name="T2" fmla="*/ 16 w 20"/>
                <a:gd name="T3" fmla="*/ 1 h 40"/>
                <a:gd name="T4" fmla="*/ 3 w 20"/>
                <a:gd name="T5" fmla="*/ 30 h 40"/>
                <a:gd name="T6" fmla="*/ 3 w 20"/>
                <a:gd name="T7" fmla="*/ 30 h 40"/>
                <a:gd name="T8" fmla="*/ 3 w 20"/>
                <a:gd name="T9" fmla="*/ 31 h 40"/>
                <a:gd name="T10" fmla="*/ 4 w 20"/>
                <a:gd name="T11" fmla="*/ 36 h 40"/>
                <a:gd name="T12" fmla="*/ 6 w 20"/>
                <a:gd name="T13" fmla="*/ 40 h 40"/>
                <a:gd name="T14" fmla="*/ 10 w 20"/>
                <a:gd name="T15" fmla="*/ 38 h 40"/>
                <a:gd name="T16" fmla="*/ 13 w 20"/>
                <a:gd name="T17" fmla="*/ 37 h 40"/>
                <a:gd name="T18" fmla="*/ 11 w 20"/>
                <a:gd name="T19" fmla="*/ 33 h 40"/>
                <a:gd name="T20" fmla="*/ 20 w 20"/>
                <a:gd name="T2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0">
                  <a:moveTo>
                    <a:pt x="20" y="0"/>
                  </a:moveTo>
                  <a:cubicBezTo>
                    <a:pt x="18" y="0"/>
                    <a:pt x="17" y="1"/>
                    <a:pt x="16" y="1"/>
                  </a:cubicBezTo>
                  <a:cubicBezTo>
                    <a:pt x="6" y="7"/>
                    <a:pt x="0" y="19"/>
                    <a:pt x="3" y="30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3" y="33"/>
                    <a:pt x="4" y="34"/>
                    <a:pt x="4" y="36"/>
                  </a:cubicBezTo>
                  <a:cubicBezTo>
                    <a:pt x="5" y="37"/>
                    <a:pt x="6" y="39"/>
                    <a:pt x="6" y="40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36"/>
                    <a:pt x="12" y="34"/>
                    <a:pt x="11" y="33"/>
                  </a:cubicBezTo>
                  <a:cubicBezTo>
                    <a:pt x="6" y="21"/>
                    <a:pt x="10" y="8"/>
                    <a:pt x="20" y="0"/>
                  </a:cubicBez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44"/>
            <p:cNvSpPr>
              <a:spLocks/>
            </p:cNvSpPr>
            <p:nvPr/>
          </p:nvSpPr>
          <p:spPr bwMode="gray">
            <a:xfrm>
              <a:off x="8864900" y="4708845"/>
              <a:ext cx="84138" cy="39687"/>
            </a:xfrm>
            <a:custGeom>
              <a:avLst/>
              <a:gdLst>
                <a:gd name="T0" fmla="*/ 58 w 61"/>
                <a:gd name="T1" fmla="*/ 0 h 29"/>
                <a:gd name="T2" fmla="*/ 1 w 61"/>
                <a:gd name="T3" fmla="*/ 23 h 29"/>
                <a:gd name="T4" fmla="*/ 1 w 61"/>
                <a:gd name="T5" fmla="*/ 27 h 29"/>
                <a:gd name="T6" fmla="*/ 3 w 61"/>
                <a:gd name="T7" fmla="*/ 29 h 29"/>
                <a:gd name="T8" fmla="*/ 61 w 61"/>
                <a:gd name="T9" fmla="*/ 5 h 29"/>
                <a:gd name="T10" fmla="*/ 61 w 61"/>
                <a:gd name="T11" fmla="*/ 2 h 29"/>
                <a:gd name="T12" fmla="*/ 58 w 61"/>
                <a:gd name="T13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29">
                  <a:moveTo>
                    <a:pt x="58" y="0"/>
                  </a:move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0" y="25"/>
                    <a:pt x="1" y="27"/>
                  </a:cubicBezTo>
                  <a:cubicBezTo>
                    <a:pt x="2" y="28"/>
                    <a:pt x="3" y="29"/>
                    <a:pt x="3" y="29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5"/>
                    <a:pt x="61" y="4"/>
                    <a:pt x="61" y="2"/>
                  </a:cubicBezTo>
                  <a:cubicBezTo>
                    <a:pt x="60" y="0"/>
                    <a:pt x="58" y="0"/>
                    <a:pt x="58" y="0"/>
                  </a:cubicBez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45"/>
            <p:cNvSpPr>
              <a:spLocks noEditPoints="1"/>
            </p:cNvSpPr>
            <p:nvPr/>
          </p:nvSpPr>
          <p:spPr bwMode="gray">
            <a:xfrm>
              <a:off x="8693450" y="5112070"/>
              <a:ext cx="246063" cy="301625"/>
            </a:xfrm>
            <a:custGeom>
              <a:avLst/>
              <a:gdLst>
                <a:gd name="T0" fmla="*/ 100 w 178"/>
                <a:gd name="T1" fmla="*/ 161 h 219"/>
                <a:gd name="T2" fmla="*/ 175 w 178"/>
                <a:gd name="T3" fmla="*/ 114 h 219"/>
                <a:gd name="T4" fmla="*/ 176 w 178"/>
                <a:gd name="T5" fmla="*/ 113 h 219"/>
                <a:gd name="T6" fmla="*/ 176 w 178"/>
                <a:gd name="T7" fmla="*/ 113 h 219"/>
                <a:gd name="T8" fmla="*/ 177 w 178"/>
                <a:gd name="T9" fmla="*/ 112 h 219"/>
                <a:gd name="T10" fmla="*/ 177 w 178"/>
                <a:gd name="T11" fmla="*/ 110 h 219"/>
                <a:gd name="T12" fmla="*/ 177 w 178"/>
                <a:gd name="T13" fmla="*/ 109 h 219"/>
                <a:gd name="T14" fmla="*/ 177 w 178"/>
                <a:gd name="T15" fmla="*/ 108 h 219"/>
                <a:gd name="T16" fmla="*/ 176 w 178"/>
                <a:gd name="T17" fmla="*/ 107 h 219"/>
                <a:gd name="T18" fmla="*/ 176 w 178"/>
                <a:gd name="T19" fmla="*/ 107 h 219"/>
                <a:gd name="T20" fmla="*/ 175 w 178"/>
                <a:gd name="T21" fmla="*/ 106 h 219"/>
                <a:gd name="T22" fmla="*/ 174 w 178"/>
                <a:gd name="T23" fmla="*/ 105 h 219"/>
                <a:gd name="T24" fmla="*/ 100 w 178"/>
                <a:gd name="T25" fmla="*/ 58 h 219"/>
                <a:gd name="T26" fmla="*/ 176 w 178"/>
                <a:gd name="T27" fmla="*/ 3 h 219"/>
                <a:gd name="T28" fmla="*/ 89 w 178"/>
                <a:gd name="T29" fmla="*/ 51 h 219"/>
                <a:gd name="T30" fmla="*/ 2 w 178"/>
                <a:gd name="T31" fmla="*/ 3 h 219"/>
                <a:gd name="T32" fmla="*/ 78 w 178"/>
                <a:gd name="T33" fmla="*/ 58 h 219"/>
                <a:gd name="T34" fmla="*/ 3 w 178"/>
                <a:gd name="T35" fmla="*/ 105 h 219"/>
                <a:gd name="T36" fmla="*/ 2 w 178"/>
                <a:gd name="T37" fmla="*/ 106 h 219"/>
                <a:gd name="T38" fmla="*/ 2 w 178"/>
                <a:gd name="T39" fmla="*/ 107 h 219"/>
                <a:gd name="T40" fmla="*/ 2 w 178"/>
                <a:gd name="T41" fmla="*/ 107 h 219"/>
                <a:gd name="T42" fmla="*/ 1 w 178"/>
                <a:gd name="T43" fmla="*/ 108 h 219"/>
                <a:gd name="T44" fmla="*/ 1 w 178"/>
                <a:gd name="T45" fmla="*/ 109 h 219"/>
                <a:gd name="T46" fmla="*/ 1 w 178"/>
                <a:gd name="T47" fmla="*/ 110 h 219"/>
                <a:gd name="T48" fmla="*/ 1 w 178"/>
                <a:gd name="T49" fmla="*/ 112 h 219"/>
                <a:gd name="T50" fmla="*/ 1 w 178"/>
                <a:gd name="T51" fmla="*/ 113 h 219"/>
                <a:gd name="T52" fmla="*/ 2 w 178"/>
                <a:gd name="T53" fmla="*/ 113 h 219"/>
                <a:gd name="T54" fmla="*/ 3 w 178"/>
                <a:gd name="T55" fmla="*/ 114 h 219"/>
                <a:gd name="T56" fmla="*/ 78 w 178"/>
                <a:gd name="T57" fmla="*/ 161 h 219"/>
                <a:gd name="T58" fmla="*/ 2 w 178"/>
                <a:gd name="T59" fmla="*/ 216 h 219"/>
                <a:gd name="T60" fmla="*/ 10 w 178"/>
                <a:gd name="T61" fmla="*/ 218 h 219"/>
                <a:gd name="T62" fmla="*/ 168 w 178"/>
                <a:gd name="T63" fmla="*/ 218 h 219"/>
                <a:gd name="T64" fmla="*/ 176 w 178"/>
                <a:gd name="T65" fmla="*/ 216 h 219"/>
                <a:gd name="T66" fmla="*/ 18 w 178"/>
                <a:gd name="T67" fmla="*/ 110 h 219"/>
                <a:gd name="T68" fmla="*/ 160 w 178"/>
                <a:gd name="T69" fmla="*/ 110 h 219"/>
                <a:gd name="T70" fmla="*/ 18 w 178"/>
                <a:gd name="T71" fmla="*/ 11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78" h="219">
                  <a:moveTo>
                    <a:pt x="174" y="208"/>
                  </a:moveTo>
                  <a:cubicBezTo>
                    <a:pt x="100" y="161"/>
                    <a:pt x="100" y="161"/>
                    <a:pt x="100" y="161"/>
                  </a:cubicBezTo>
                  <a:cubicBezTo>
                    <a:pt x="174" y="115"/>
                    <a:pt x="174" y="115"/>
                    <a:pt x="174" y="115"/>
                  </a:cubicBezTo>
                  <a:cubicBezTo>
                    <a:pt x="175" y="114"/>
                    <a:pt x="175" y="114"/>
                    <a:pt x="175" y="114"/>
                  </a:cubicBezTo>
                  <a:cubicBezTo>
                    <a:pt x="175" y="114"/>
                    <a:pt x="175" y="114"/>
                    <a:pt x="175" y="114"/>
                  </a:cubicBezTo>
                  <a:cubicBezTo>
                    <a:pt x="175" y="114"/>
                    <a:pt x="176" y="114"/>
                    <a:pt x="176" y="113"/>
                  </a:cubicBezTo>
                  <a:cubicBezTo>
                    <a:pt x="176" y="113"/>
                    <a:pt x="176" y="113"/>
                    <a:pt x="176" y="113"/>
                  </a:cubicBezTo>
                  <a:cubicBezTo>
                    <a:pt x="176" y="113"/>
                    <a:pt x="176" y="113"/>
                    <a:pt x="176" y="113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77" y="111"/>
                    <a:pt x="177" y="111"/>
                    <a:pt x="177" y="111"/>
                  </a:cubicBezTo>
                  <a:cubicBezTo>
                    <a:pt x="177" y="110"/>
                    <a:pt x="177" y="110"/>
                    <a:pt x="177" y="110"/>
                  </a:cubicBezTo>
                  <a:cubicBezTo>
                    <a:pt x="177" y="110"/>
                    <a:pt x="177" y="110"/>
                    <a:pt x="177" y="110"/>
                  </a:cubicBezTo>
                  <a:cubicBezTo>
                    <a:pt x="177" y="109"/>
                    <a:pt x="177" y="109"/>
                    <a:pt x="177" y="109"/>
                  </a:cubicBezTo>
                  <a:cubicBezTo>
                    <a:pt x="177" y="109"/>
                    <a:pt x="177" y="109"/>
                    <a:pt x="177" y="109"/>
                  </a:cubicBezTo>
                  <a:cubicBezTo>
                    <a:pt x="177" y="108"/>
                    <a:pt x="177" y="108"/>
                    <a:pt x="177" y="108"/>
                  </a:cubicBezTo>
                  <a:cubicBezTo>
                    <a:pt x="177" y="108"/>
                    <a:pt x="177" y="108"/>
                    <a:pt x="177" y="108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6"/>
                    <a:pt x="176" y="106"/>
                    <a:pt x="176" y="106"/>
                  </a:cubicBezTo>
                  <a:cubicBezTo>
                    <a:pt x="175" y="106"/>
                    <a:pt x="175" y="106"/>
                    <a:pt x="175" y="106"/>
                  </a:cubicBezTo>
                  <a:cubicBezTo>
                    <a:pt x="175" y="105"/>
                    <a:pt x="175" y="105"/>
                    <a:pt x="175" y="105"/>
                  </a:cubicBezTo>
                  <a:cubicBezTo>
                    <a:pt x="174" y="105"/>
                    <a:pt x="174" y="105"/>
                    <a:pt x="174" y="105"/>
                  </a:cubicBezTo>
                  <a:cubicBezTo>
                    <a:pt x="174" y="105"/>
                    <a:pt x="174" y="105"/>
                    <a:pt x="174" y="105"/>
                  </a:cubicBezTo>
                  <a:cubicBezTo>
                    <a:pt x="100" y="58"/>
                    <a:pt x="100" y="58"/>
                    <a:pt x="100" y="58"/>
                  </a:cubicBezTo>
                  <a:cubicBezTo>
                    <a:pt x="174" y="12"/>
                    <a:pt x="174" y="12"/>
                    <a:pt x="174" y="12"/>
                  </a:cubicBezTo>
                  <a:cubicBezTo>
                    <a:pt x="177" y="10"/>
                    <a:pt x="178" y="6"/>
                    <a:pt x="176" y="3"/>
                  </a:cubicBezTo>
                  <a:cubicBezTo>
                    <a:pt x="174" y="1"/>
                    <a:pt x="171" y="0"/>
                    <a:pt x="168" y="2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7" y="0"/>
                    <a:pt x="3" y="1"/>
                    <a:pt x="2" y="3"/>
                  </a:cubicBezTo>
                  <a:cubicBezTo>
                    <a:pt x="0" y="6"/>
                    <a:pt x="1" y="10"/>
                    <a:pt x="4" y="12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4" y="105"/>
                    <a:pt x="4" y="105"/>
                    <a:pt x="4" y="105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11"/>
                    <a:pt x="1" y="111"/>
                    <a:pt x="1" y="111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1" y="113"/>
                    <a:pt x="1" y="113"/>
                    <a:pt x="1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4"/>
                    <a:pt x="2" y="114"/>
                    <a:pt x="3" y="114"/>
                  </a:cubicBezTo>
                  <a:cubicBezTo>
                    <a:pt x="3" y="114"/>
                    <a:pt x="3" y="114"/>
                    <a:pt x="3" y="114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78" y="161"/>
                    <a:pt x="78" y="161"/>
                    <a:pt x="78" y="161"/>
                  </a:cubicBezTo>
                  <a:cubicBezTo>
                    <a:pt x="4" y="208"/>
                    <a:pt x="4" y="208"/>
                    <a:pt x="4" y="208"/>
                  </a:cubicBezTo>
                  <a:cubicBezTo>
                    <a:pt x="1" y="210"/>
                    <a:pt x="0" y="213"/>
                    <a:pt x="2" y="216"/>
                  </a:cubicBezTo>
                  <a:cubicBezTo>
                    <a:pt x="3" y="218"/>
                    <a:pt x="5" y="219"/>
                    <a:pt x="7" y="219"/>
                  </a:cubicBezTo>
                  <a:cubicBezTo>
                    <a:pt x="8" y="219"/>
                    <a:pt x="9" y="219"/>
                    <a:pt x="10" y="218"/>
                  </a:cubicBezTo>
                  <a:cubicBezTo>
                    <a:pt x="89" y="169"/>
                    <a:pt x="89" y="169"/>
                    <a:pt x="89" y="169"/>
                  </a:cubicBezTo>
                  <a:cubicBezTo>
                    <a:pt x="168" y="218"/>
                    <a:pt x="168" y="218"/>
                    <a:pt x="168" y="218"/>
                  </a:cubicBezTo>
                  <a:cubicBezTo>
                    <a:pt x="169" y="219"/>
                    <a:pt x="170" y="219"/>
                    <a:pt x="171" y="219"/>
                  </a:cubicBezTo>
                  <a:cubicBezTo>
                    <a:pt x="173" y="219"/>
                    <a:pt x="175" y="218"/>
                    <a:pt x="176" y="216"/>
                  </a:cubicBezTo>
                  <a:cubicBezTo>
                    <a:pt x="178" y="213"/>
                    <a:pt x="177" y="210"/>
                    <a:pt x="174" y="208"/>
                  </a:cubicBezTo>
                  <a:close/>
                  <a:moveTo>
                    <a:pt x="18" y="110"/>
                  </a:moveTo>
                  <a:cubicBezTo>
                    <a:pt x="89" y="65"/>
                    <a:pt x="89" y="65"/>
                    <a:pt x="89" y="65"/>
                  </a:cubicBezTo>
                  <a:cubicBezTo>
                    <a:pt x="160" y="110"/>
                    <a:pt x="160" y="110"/>
                    <a:pt x="160" y="110"/>
                  </a:cubicBezTo>
                  <a:cubicBezTo>
                    <a:pt x="89" y="154"/>
                    <a:pt x="89" y="154"/>
                    <a:pt x="89" y="154"/>
                  </a:cubicBezTo>
                  <a:lnTo>
                    <a:pt x="18" y="11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46"/>
            <p:cNvSpPr>
              <a:spLocks/>
            </p:cNvSpPr>
            <p:nvPr/>
          </p:nvSpPr>
          <p:spPr bwMode="gray">
            <a:xfrm>
              <a:off x="8642650" y="5386708"/>
              <a:ext cx="346075" cy="112712"/>
            </a:xfrm>
            <a:custGeom>
              <a:avLst/>
              <a:gdLst>
                <a:gd name="T0" fmla="*/ 250 w 250"/>
                <a:gd name="T1" fmla="*/ 72 h 81"/>
                <a:gd name="T2" fmla="*/ 241 w 250"/>
                <a:gd name="T3" fmla="*/ 81 h 81"/>
                <a:gd name="T4" fmla="*/ 9 w 250"/>
                <a:gd name="T5" fmla="*/ 81 h 81"/>
                <a:gd name="T6" fmla="*/ 0 w 250"/>
                <a:gd name="T7" fmla="*/ 72 h 81"/>
                <a:gd name="T8" fmla="*/ 0 w 250"/>
                <a:gd name="T9" fmla="*/ 9 h 81"/>
                <a:gd name="T10" fmla="*/ 9 w 250"/>
                <a:gd name="T11" fmla="*/ 0 h 81"/>
                <a:gd name="T12" fmla="*/ 241 w 250"/>
                <a:gd name="T13" fmla="*/ 0 h 81"/>
                <a:gd name="T14" fmla="*/ 250 w 250"/>
                <a:gd name="T15" fmla="*/ 9 h 81"/>
                <a:gd name="T16" fmla="*/ 250 w 250"/>
                <a:gd name="T17" fmla="*/ 7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81">
                  <a:moveTo>
                    <a:pt x="250" y="72"/>
                  </a:moveTo>
                  <a:cubicBezTo>
                    <a:pt x="250" y="77"/>
                    <a:pt x="246" y="81"/>
                    <a:pt x="241" y="81"/>
                  </a:cubicBezTo>
                  <a:cubicBezTo>
                    <a:pt x="9" y="81"/>
                    <a:pt x="9" y="81"/>
                    <a:pt x="9" y="81"/>
                  </a:cubicBezTo>
                  <a:cubicBezTo>
                    <a:pt x="4" y="81"/>
                    <a:pt x="0" y="77"/>
                    <a:pt x="0" y="72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lnTo>
                    <a:pt x="250" y="7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47"/>
            <p:cNvSpPr>
              <a:spLocks/>
            </p:cNvSpPr>
            <p:nvPr/>
          </p:nvSpPr>
          <p:spPr bwMode="gray">
            <a:xfrm>
              <a:off x="8642650" y="5405758"/>
              <a:ext cx="327025" cy="93662"/>
            </a:xfrm>
            <a:custGeom>
              <a:avLst/>
              <a:gdLst>
                <a:gd name="T0" fmla="*/ 22 w 236"/>
                <a:gd name="T1" fmla="*/ 55 h 68"/>
                <a:gd name="T2" fmla="*/ 14 w 236"/>
                <a:gd name="T3" fmla="*/ 46 h 68"/>
                <a:gd name="T4" fmla="*/ 14 w 236"/>
                <a:gd name="T5" fmla="*/ 0 h 68"/>
                <a:gd name="T6" fmla="*/ 0 w 236"/>
                <a:gd name="T7" fmla="*/ 0 h 68"/>
                <a:gd name="T8" fmla="*/ 0 w 236"/>
                <a:gd name="T9" fmla="*/ 59 h 68"/>
                <a:gd name="T10" fmla="*/ 9 w 236"/>
                <a:gd name="T11" fmla="*/ 68 h 68"/>
                <a:gd name="T12" fmla="*/ 236 w 236"/>
                <a:gd name="T13" fmla="*/ 68 h 68"/>
                <a:gd name="T14" fmla="*/ 236 w 236"/>
                <a:gd name="T15" fmla="*/ 55 h 68"/>
                <a:gd name="T16" fmla="*/ 22 w 236"/>
                <a:gd name="T17" fmla="*/ 55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6" h="68">
                  <a:moveTo>
                    <a:pt x="22" y="55"/>
                  </a:moveTo>
                  <a:cubicBezTo>
                    <a:pt x="17" y="55"/>
                    <a:pt x="14" y="51"/>
                    <a:pt x="14" y="46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64"/>
                    <a:pt x="4" y="68"/>
                    <a:pt x="9" y="68"/>
                  </a:cubicBezTo>
                  <a:cubicBezTo>
                    <a:pt x="236" y="68"/>
                    <a:pt x="236" y="68"/>
                    <a:pt x="236" y="68"/>
                  </a:cubicBezTo>
                  <a:cubicBezTo>
                    <a:pt x="236" y="55"/>
                    <a:pt x="236" y="55"/>
                    <a:pt x="236" y="55"/>
                  </a:cubicBezTo>
                  <a:lnTo>
                    <a:pt x="22" y="55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8"/>
            <p:cNvSpPr>
              <a:spLocks/>
            </p:cNvSpPr>
            <p:nvPr/>
          </p:nvSpPr>
          <p:spPr bwMode="gray">
            <a:xfrm>
              <a:off x="8642650" y="5386708"/>
              <a:ext cx="346075" cy="112712"/>
            </a:xfrm>
            <a:custGeom>
              <a:avLst/>
              <a:gdLst>
                <a:gd name="T0" fmla="*/ 241 w 250"/>
                <a:gd name="T1" fmla="*/ 81 h 81"/>
                <a:gd name="T2" fmla="*/ 236 w 250"/>
                <a:gd name="T3" fmla="*/ 81 h 81"/>
                <a:gd name="T4" fmla="*/ 236 w 250"/>
                <a:gd name="T5" fmla="*/ 22 h 81"/>
                <a:gd name="T6" fmla="*/ 228 w 250"/>
                <a:gd name="T7" fmla="*/ 13 h 81"/>
                <a:gd name="T8" fmla="*/ 0 w 250"/>
                <a:gd name="T9" fmla="*/ 13 h 81"/>
                <a:gd name="T10" fmla="*/ 0 w 250"/>
                <a:gd name="T11" fmla="*/ 9 h 81"/>
                <a:gd name="T12" fmla="*/ 9 w 250"/>
                <a:gd name="T13" fmla="*/ 0 h 81"/>
                <a:gd name="T14" fmla="*/ 241 w 250"/>
                <a:gd name="T15" fmla="*/ 0 h 81"/>
                <a:gd name="T16" fmla="*/ 250 w 250"/>
                <a:gd name="T17" fmla="*/ 9 h 81"/>
                <a:gd name="T18" fmla="*/ 250 w 250"/>
                <a:gd name="T19" fmla="*/ 72 h 81"/>
                <a:gd name="T20" fmla="*/ 241 w 250"/>
                <a:gd name="T21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" h="81">
                  <a:moveTo>
                    <a:pt x="241" y="81"/>
                  </a:moveTo>
                  <a:cubicBezTo>
                    <a:pt x="236" y="81"/>
                    <a:pt x="236" y="81"/>
                    <a:pt x="236" y="81"/>
                  </a:cubicBezTo>
                  <a:cubicBezTo>
                    <a:pt x="236" y="22"/>
                    <a:pt x="236" y="22"/>
                    <a:pt x="236" y="22"/>
                  </a:cubicBezTo>
                  <a:cubicBezTo>
                    <a:pt x="236" y="17"/>
                    <a:pt x="232" y="13"/>
                    <a:pt x="228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cubicBezTo>
                    <a:pt x="250" y="72"/>
                    <a:pt x="250" y="72"/>
                    <a:pt x="250" y="72"/>
                  </a:cubicBezTo>
                  <a:cubicBezTo>
                    <a:pt x="250" y="77"/>
                    <a:pt x="246" y="81"/>
                    <a:pt x="241" y="8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Oval 49"/>
            <p:cNvSpPr>
              <a:spLocks noChangeArrowheads="1"/>
            </p:cNvSpPr>
            <p:nvPr/>
          </p:nvSpPr>
          <p:spPr bwMode="gray">
            <a:xfrm>
              <a:off x="8674400" y="5454970"/>
              <a:ext cx="87313" cy="873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Oval 50"/>
            <p:cNvSpPr>
              <a:spLocks noChangeArrowheads="1"/>
            </p:cNvSpPr>
            <p:nvPr/>
          </p:nvSpPr>
          <p:spPr bwMode="gray">
            <a:xfrm>
              <a:off x="8693450" y="5474020"/>
              <a:ext cx="49213" cy="49212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51"/>
            <p:cNvSpPr>
              <a:spLocks/>
            </p:cNvSpPr>
            <p:nvPr/>
          </p:nvSpPr>
          <p:spPr bwMode="gray">
            <a:xfrm>
              <a:off x="8693450" y="5480370"/>
              <a:ext cx="42863" cy="42862"/>
            </a:xfrm>
            <a:custGeom>
              <a:avLst/>
              <a:gdLst>
                <a:gd name="T0" fmla="*/ 18 w 31"/>
                <a:gd name="T1" fmla="*/ 31 h 31"/>
                <a:gd name="T2" fmla="*/ 31 w 31"/>
                <a:gd name="T3" fmla="*/ 26 h 31"/>
                <a:gd name="T4" fmla="*/ 6 w 31"/>
                <a:gd name="T5" fmla="*/ 0 h 31"/>
                <a:gd name="T6" fmla="*/ 0 w 31"/>
                <a:gd name="T7" fmla="*/ 13 h 31"/>
                <a:gd name="T8" fmla="*/ 18 w 31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18" y="31"/>
                  </a:moveTo>
                  <a:cubicBezTo>
                    <a:pt x="23" y="31"/>
                    <a:pt x="28" y="29"/>
                    <a:pt x="31" y="2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4"/>
                    <a:pt x="0" y="8"/>
                    <a:pt x="0" y="13"/>
                  </a:cubicBezTo>
                  <a:cubicBezTo>
                    <a:pt x="0" y="23"/>
                    <a:pt x="8" y="31"/>
                    <a:pt x="18" y="3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Oval 52"/>
            <p:cNvSpPr>
              <a:spLocks noChangeArrowheads="1"/>
            </p:cNvSpPr>
            <p:nvPr/>
          </p:nvSpPr>
          <p:spPr bwMode="gray">
            <a:xfrm>
              <a:off x="8869662" y="5454970"/>
              <a:ext cx="87313" cy="873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Oval 53"/>
            <p:cNvSpPr>
              <a:spLocks noChangeArrowheads="1"/>
            </p:cNvSpPr>
            <p:nvPr/>
          </p:nvSpPr>
          <p:spPr bwMode="gray">
            <a:xfrm>
              <a:off x="8887125" y="5474020"/>
              <a:ext cx="50800" cy="49212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54"/>
            <p:cNvSpPr>
              <a:spLocks/>
            </p:cNvSpPr>
            <p:nvPr/>
          </p:nvSpPr>
          <p:spPr bwMode="gray">
            <a:xfrm>
              <a:off x="8887125" y="5480370"/>
              <a:ext cx="42863" cy="42862"/>
            </a:xfrm>
            <a:custGeom>
              <a:avLst/>
              <a:gdLst>
                <a:gd name="T0" fmla="*/ 18 w 31"/>
                <a:gd name="T1" fmla="*/ 31 h 31"/>
                <a:gd name="T2" fmla="*/ 31 w 31"/>
                <a:gd name="T3" fmla="*/ 26 h 31"/>
                <a:gd name="T4" fmla="*/ 6 w 31"/>
                <a:gd name="T5" fmla="*/ 0 h 31"/>
                <a:gd name="T6" fmla="*/ 0 w 31"/>
                <a:gd name="T7" fmla="*/ 13 h 31"/>
                <a:gd name="T8" fmla="*/ 18 w 31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18" y="31"/>
                  </a:moveTo>
                  <a:cubicBezTo>
                    <a:pt x="23" y="31"/>
                    <a:pt x="28" y="29"/>
                    <a:pt x="31" y="2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4"/>
                    <a:pt x="0" y="8"/>
                    <a:pt x="0" y="13"/>
                  </a:cubicBezTo>
                  <a:cubicBezTo>
                    <a:pt x="0" y="23"/>
                    <a:pt x="8" y="31"/>
                    <a:pt x="18" y="3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55"/>
            <p:cNvSpPr>
              <a:spLocks noEditPoints="1"/>
            </p:cNvSpPr>
            <p:nvPr/>
          </p:nvSpPr>
          <p:spPr bwMode="gray">
            <a:xfrm>
              <a:off x="8631537" y="4907283"/>
              <a:ext cx="368300" cy="223837"/>
            </a:xfrm>
            <a:custGeom>
              <a:avLst/>
              <a:gdLst>
                <a:gd name="T0" fmla="*/ 258 w 266"/>
                <a:gd name="T1" fmla="*/ 0 h 163"/>
                <a:gd name="T2" fmla="*/ 8 w 266"/>
                <a:gd name="T3" fmla="*/ 0 h 163"/>
                <a:gd name="T4" fmla="*/ 0 w 266"/>
                <a:gd name="T5" fmla="*/ 8 h 163"/>
                <a:gd name="T6" fmla="*/ 8 w 266"/>
                <a:gd name="T7" fmla="*/ 16 h 163"/>
                <a:gd name="T8" fmla="*/ 23 w 266"/>
                <a:gd name="T9" fmla="*/ 16 h 163"/>
                <a:gd name="T10" fmla="*/ 23 w 266"/>
                <a:gd name="T11" fmla="*/ 102 h 163"/>
                <a:gd name="T12" fmla="*/ 17 w 266"/>
                <a:gd name="T13" fmla="*/ 102 h 163"/>
                <a:gd name="T14" fmla="*/ 8 w 266"/>
                <a:gd name="T15" fmla="*/ 111 h 163"/>
                <a:gd name="T16" fmla="*/ 8 w 266"/>
                <a:gd name="T17" fmla="*/ 155 h 163"/>
                <a:gd name="T18" fmla="*/ 17 w 266"/>
                <a:gd name="T19" fmla="*/ 163 h 163"/>
                <a:gd name="T20" fmla="*/ 249 w 266"/>
                <a:gd name="T21" fmla="*/ 163 h 163"/>
                <a:gd name="T22" fmla="*/ 258 w 266"/>
                <a:gd name="T23" fmla="*/ 155 h 163"/>
                <a:gd name="T24" fmla="*/ 258 w 266"/>
                <a:gd name="T25" fmla="*/ 111 h 163"/>
                <a:gd name="T26" fmla="*/ 249 w 266"/>
                <a:gd name="T27" fmla="*/ 102 h 163"/>
                <a:gd name="T28" fmla="*/ 243 w 266"/>
                <a:gd name="T29" fmla="*/ 102 h 163"/>
                <a:gd name="T30" fmla="*/ 243 w 266"/>
                <a:gd name="T31" fmla="*/ 16 h 163"/>
                <a:gd name="T32" fmla="*/ 258 w 266"/>
                <a:gd name="T33" fmla="*/ 16 h 163"/>
                <a:gd name="T34" fmla="*/ 266 w 266"/>
                <a:gd name="T35" fmla="*/ 8 h 163"/>
                <a:gd name="T36" fmla="*/ 258 w 266"/>
                <a:gd name="T37" fmla="*/ 0 h 163"/>
                <a:gd name="T38" fmla="*/ 189 w 266"/>
                <a:gd name="T39" fmla="*/ 16 h 163"/>
                <a:gd name="T40" fmla="*/ 189 w 266"/>
                <a:gd name="T41" fmla="*/ 102 h 163"/>
                <a:gd name="T42" fmla="*/ 160 w 266"/>
                <a:gd name="T43" fmla="*/ 102 h 163"/>
                <a:gd name="T44" fmla="*/ 160 w 266"/>
                <a:gd name="T45" fmla="*/ 16 h 163"/>
                <a:gd name="T46" fmla="*/ 189 w 266"/>
                <a:gd name="T47" fmla="*/ 16 h 163"/>
                <a:gd name="T48" fmla="*/ 148 w 266"/>
                <a:gd name="T49" fmla="*/ 16 h 163"/>
                <a:gd name="T50" fmla="*/ 148 w 266"/>
                <a:gd name="T51" fmla="*/ 102 h 163"/>
                <a:gd name="T52" fmla="*/ 118 w 266"/>
                <a:gd name="T53" fmla="*/ 102 h 163"/>
                <a:gd name="T54" fmla="*/ 118 w 266"/>
                <a:gd name="T55" fmla="*/ 16 h 163"/>
                <a:gd name="T56" fmla="*/ 148 w 266"/>
                <a:gd name="T57" fmla="*/ 16 h 163"/>
                <a:gd name="T58" fmla="*/ 106 w 266"/>
                <a:gd name="T59" fmla="*/ 16 h 163"/>
                <a:gd name="T60" fmla="*/ 106 w 266"/>
                <a:gd name="T61" fmla="*/ 102 h 163"/>
                <a:gd name="T62" fmla="*/ 77 w 266"/>
                <a:gd name="T63" fmla="*/ 102 h 163"/>
                <a:gd name="T64" fmla="*/ 77 w 266"/>
                <a:gd name="T65" fmla="*/ 16 h 163"/>
                <a:gd name="T66" fmla="*/ 106 w 266"/>
                <a:gd name="T67" fmla="*/ 16 h 163"/>
                <a:gd name="T68" fmla="*/ 35 w 266"/>
                <a:gd name="T69" fmla="*/ 16 h 163"/>
                <a:gd name="T70" fmla="*/ 65 w 266"/>
                <a:gd name="T71" fmla="*/ 16 h 163"/>
                <a:gd name="T72" fmla="*/ 65 w 266"/>
                <a:gd name="T73" fmla="*/ 102 h 163"/>
                <a:gd name="T74" fmla="*/ 35 w 266"/>
                <a:gd name="T75" fmla="*/ 102 h 163"/>
                <a:gd name="T76" fmla="*/ 35 w 266"/>
                <a:gd name="T77" fmla="*/ 16 h 163"/>
                <a:gd name="T78" fmla="*/ 201 w 266"/>
                <a:gd name="T79" fmla="*/ 102 h 163"/>
                <a:gd name="T80" fmla="*/ 201 w 266"/>
                <a:gd name="T81" fmla="*/ 16 h 163"/>
                <a:gd name="T82" fmla="*/ 231 w 266"/>
                <a:gd name="T83" fmla="*/ 16 h 163"/>
                <a:gd name="T84" fmla="*/ 231 w 266"/>
                <a:gd name="T85" fmla="*/ 102 h 163"/>
                <a:gd name="T86" fmla="*/ 201 w 266"/>
                <a:gd name="T87" fmla="*/ 102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66" h="163">
                  <a:moveTo>
                    <a:pt x="25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3"/>
                    <a:pt x="4" y="16"/>
                    <a:pt x="8" y="16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3" y="102"/>
                    <a:pt x="23" y="102"/>
                    <a:pt x="23" y="102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2" y="102"/>
                    <a:pt x="8" y="106"/>
                    <a:pt x="8" y="111"/>
                  </a:cubicBezTo>
                  <a:cubicBezTo>
                    <a:pt x="8" y="155"/>
                    <a:pt x="8" y="155"/>
                    <a:pt x="8" y="155"/>
                  </a:cubicBezTo>
                  <a:cubicBezTo>
                    <a:pt x="8" y="160"/>
                    <a:pt x="12" y="163"/>
                    <a:pt x="17" y="163"/>
                  </a:cubicBezTo>
                  <a:cubicBezTo>
                    <a:pt x="249" y="163"/>
                    <a:pt x="249" y="163"/>
                    <a:pt x="249" y="163"/>
                  </a:cubicBezTo>
                  <a:cubicBezTo>
                    <a:pt x="254" y="163"/>
                    <a:pt x="258" y="160"/>
                    <a:pt x="258" y="155"/>
                  </a:cubicBezTo>
                  <a:cubicBezTo>
                    <a:pt x="258" y="111"/>
                    <a:pt x="258" y="111"/>
                    <a:pt x="258" y="111"/>
                  </a:cubicBezTo>
                  <a:cubicBezTo>
                    <a:pt x="258" y="106"/>
                    <a:pt x="254" y="102"/>
                    <a:pt x="249" y="102"/>
                  </a:cubicBezTo>
                  <a:cubicBezTo>
                    <a:pt x="243" y="102"/>
                    <a:pt x="243" y="102"/>
                    <a:pt x="243" y="102"/>
                  </a:cubicBezTo>
                  <a:cubicBezTo>
                    <a:pt x="243" y="16"/>
                    <a:pt x="243" y="16"/>
                    <a:pt x="243" y="16"/>
                  </a:cubicBezTo>
                  <a:cubicBezTo>
                    <a:pt x="258" y="16"/>
                    <a:pt x="258" y="16"/>
                    <a:pt x="258" y="16"/>
                  </a:cubicBezTo>
                  <a:cubicBezTo>
                    <a:pt x="262" y="16"/>
                    <a:pt x="266" y="13"/>
                    <a:pt x="266" y="8"/>
                  </a:cubicBezTo>
                  <a:cubicBezTo>
                    <a:pt x="266" y="4"/>
                    <a:pt x="262" y="0"/>
                    <a:pt x="258" y="0"/>
                  </a:cubicBezTo>
                  <a:close/>
                  <a:moveTo>
                    <a:pt x="189" y="16"/>
                  </a:moveTo>
                  <a:cubicBezTo>
                    <a:pt x="189" y="102"/>
                    <a:pt x="189" y="102"/>
                    <a:pt x="189" y="102"/>
                  </a:cubicBezTo>
                  <a:cubicBezTo>
                    <a:pt x="160" y="102"/>
                    <a:pt x="160" y="102"/>
                    <a:pt x="160" y="102"/>
                  </a:cubicBezTo>
                  <a:cubicBezTo>
                    <a:pt x="160" y="16"/>
                    <a:pt x="160" y="16"/>
                    <a:pt x="160" y="16"/>
                  </a:cubicBezTo>
                  <a:lnTo>
                    <a:pt x="189" y="16"/>
                  </a:lnTo>
                  <a:close/>
                  <a:moveTo>
                    <a:pt x="148" y="16"/>
                  </a:moveTo>
                  <a:cubicBezTo>
                    <a:pt x="148" y="102"/>
                    <a:pt x="148" y="102"/>
                    <a:pt x="148" y="102"/>
                  </a:cubicBezTo>
                  <a:cubicBezTo>
                    <a:pt x="118" y="102"/>
                    <a:pt x="118" y="102"/>
                    <a:pt x="118" y="102"/>
                  </a:cubicBezTo>
                  <a:cubicBezTo>
                    <a:pt x="118" y="16"/>
                    <a:pt x="118" y="16"/>
                    <a:pt x="118" y="16"/>
                  </a:cubicBezTo>
                  <a:lnTo>
                    <a:pt x="148" y="16"/>
                  </a:lnTo>
                  <a:close/>
                  <a:moveTo>
                    <a:pt x="106" y="16"/>
                  </a:moveTo>
                  <a:cubicBezTo>
                    <a:pt x="106" y="102"/>
                    <a:pt x="106" y="102"/>
                    <a:pt x="106" y="102"/>
                  </a:cubicBezTo>
                  <a:cubicBezTo>
                    <a:pt x="77" y="102"/>
                    <a:pt x="77" y="102"/>
                    <a:pt x="77" y="102"/>
                  </a:cubicBezTo>
                  <a:cubicBezTo>
                    <a:pt x="77" y="16"/>
                    <a:pt x="77" y="16"/>
                    <a:pt x="77" y="16"/>
                  </a:cubicBezTo>
                  <a:lnTo>
                    <a:pt x="106" y="16"/>
                  </a:lnTo>
                  <a:close/>
                  <a:moveTo>
                    <a:pt x="35" y="16"/>
                  </a:moveTo>
                  <a:cubicBezTo>
                    <a:pt x="65" y="16"/>
                    <a:pt x="65" y="16"/>
                    <a:pt x="65" y="16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35" y="102"/>
                    <a:pt x="35" y="102"/>
                    <a:pt x="35" y="102"/>
                  </a:cubicBezTo>
                  <a:lnTo>
                    <a:pt x="35" y="16"/>
                  </a:lnTo>
                  <a:close/>
                  <a:moveTo>
                    <a:pt x="201" y="102"/>
                  </a:moveTo>
                  <a:cubicBezTo>
                    <a:pt x="201" y="16"/>
                    <a:pt x="201" y="16"/>
                    <a:pt x="201" y="16"/>
                  </a:cubicBezTo>
                  <a:cubicBezTo>
                    <a:pt x="231" y="16"/>
                    <a:pt x="231" y="16"/>
                    <a:pt x="231" y="16"/>
                  </a:cubicBezTo>
                  <a:cubicBezTo>
                    <a:pt x="231" y="102"/>
                    <a:pt x="231" y="102"/>
                    <a:pt x="231" y="102"/>
                  </a:cubicBezTo>
                  <a:lnTo>
                    <a:pt x="201" y="10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56"/>
            <p:cNvSpPr>
              <a:spLocks/>
            </p:cNvSpPr>
            <p:nvPr/>
          </p:nvSpPr>
          <p:spPr bwMode="gray">
            <a:xfrm>
              <a:off x="8642650" y="5067620"/>
              <a:ext cx="327025" cy="63500"/>
            </a:xfrm>
            <a:custGeom>
              <a:avLst/>
              <a:gdLst>
                <a:gd name="T0" fmla="*/ 22 w 236"/>
                <a:gd name="T1" fmla="*/ 34 h 47"/>
                <a:gd name="T2" fmla="*/ 14 w 236"/>
                <a:gd name="T3" fmla="*/ 25 h 47"/>
                <a:gd name="T4" fmla="*/ 14 w 236"/>
                <a:gd name="T5" fmla="*/ 0 h 47"/>
                <a:gd name="T6" fmla="*/ 0 w 236"/>
                <a:gd name="T7" fmla="*/ 0 h 47"/>
                <a:gd name="T8" fmla="*/ 0 w 236"/>
                <a:gd name="T9" fmla="*/ 39 h 47"/>
                <a:gd name="T10" fmla="*/ 9 w 236"/>
                <a:gd name="T11" fmla="*/ 47 h 47"/>
                <a:gd name="T12" fmla="*/ 236 w 236"/>
                <a:gd name="T13" fmla="*/ 47 h 47"/>
                <a:gd name="T14" fmla="*/ 236 w 236"/>
                <a:gd name="T15" fmla="*/ 34 h 47"/>
                <a:gd name="T16" fmla="*/ 22 w 236"/>
                <a:gd name="T17" fmla="*/ 34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6" h="47">
                  <a:moveTo>
                    <a:pt x="22" y="34"/>
                  </a:moveTo>
                  <a:cubicBezTo>
                    <a:pt x="17" y="34"/>
                    <a:pt x="14" y="30"/>
                    <a:pt x="14" y="2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4"/>
                    <a:pt x="4" y="47"/>
                    <a:pt x="9" y="47"/>
                  </a:cubicBezTo>
                  <a:cubicBezTo>
                    <a:pt x="236" y="47"/>
                    <a:pt x="236" y="47"/>
                    <a:pt x="236" y="47"/>
                  </a:cubicBezTo>
                  <a:cubicBezTo>
                    <a:pt x="236" y="34"/>
                    <a:pt x="236" y="34"/>
                    <a:pt x="236" y="34"/>
                  </a:cubicBezTo>
                  <a:lnTo>
                    <a:pt x="22" y="34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57"/>
            <p:cNvSpPr>
              <a:spLocks/>
            </p:cNvSpPr>
            <p:nvPr/>
          </p:nvSpPr>
          <p:spPr bwMode="gray">
            <a:xfrm>
              <a:off x="8642650" y="5046983"/>
              <a:ext cx="346075" cy="84137"/>
            </a:xfrm>
            <a:custGeom>
              <a:avLst/>
              <a:gdLst>
                <a:gd name="T0" fmla="*/ 241 w 250"/>
                <a:gd name="T1" fmla="*/ 61 h 61"/>
                <a:gd name="T2" fmla="*/ 236 w 250"/>
                <a:gd name="T3" fmla="*/ 61 h 61"/>
                <a:gd name="T4" fmla="*/ 236 w 250"/>
                <a:gd name="T5" fmla="*/ 22 h 61"/>
                <a:gd name="T6" fmla="*/ 228 w 250"/>
                <a:gd name="T7" fmla="*/ 14 h 61"/>
                <a:gd name="T8" fmla="*/ 0 w 250"/>
                <a:gd name="T9" fmla="*/ 14 h 61"/>
                <a:gd name="T10" fmla="*/ 0 w 250"/>
                <a:gd name="T11" fmla="*/ 9 h 61"/>
                <a:gd name="T12" fmla="*/ 9 w 250"/>
                <a:gd name="T13" fmla="*/ 0 h 61"/>
                <a:gd name="T14" fmla="*/ 241 w 250"/>
                <a:gd name="T15" fmla="*/ 0 h 61"/>
                <a:gd name="T16" fmla="*/ 250 w 250"/>
                <a:gd name="T17" fmla="*/ 9 h 61"/>
                <a:gd name="T18" fmla="*/ 250 w 250"/>
                <a:gd name="T19" fmla="*/ 53 h 61"/>
                <a:gd name="T20" fmla="*/ 241 w 250"/>
                <a:gd name="T2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" h="61">
                  <a:moveTo>
                    <a:pt x="241" y="61"/>
                  </a:moveTo>
                  <a:cubicBezTo>
                    <a:pt x="236" y="61"/>
                    <a:pt x="236" y="61"/>
                    <a:pt x="236" y="61"/>
                  </a:cubicBezTo>
                  <a:cubicBezTo>
                    <a:pt x="236" y="22"/>
                    <a:pt x="236" y="22"/>
                    <a:pt x="236" y="22"/>
                  </a:cubicBezTo>
                  <a:cubicBezTo>
                    <a:pt x="236" y="18"/>
                    <a:pt x="232" y="14"/>
                    <a:pt x="228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cubicBezTo>
                    <a:pt x="250" y="53"/>
                    <a:pt x="250" y="53"/>
                    <a:pt x="250" y="53"/>
                  </a:cubicBezTo>
                  <a:cubicBezTo>
                    <a:pt x="250" y="58"/>
                    <a:pt x="246" y="61"/>
                    <a:pt x="241" y="6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8"/>
            <p:cNvSpPr>
              <a:spLocks/>
            </p:cNvSpPr>
            <p:nvPr/>
          </p:nvSpPr>
          <p:spPr bwMode="gray">
            <a:xfrm>
              <a:off x="10792125" y="4919983"/>
              <a:ext cx="61913" cy="311150"/>
            </a:xfrm>
            <a:custGeom>
              <a:avLst/>
              <a:gdLst>
                <a:gd name="T0" fmla="*/ 39 w 45"/>
                <a:gd name="T1" fmla="*/ 180 h 226"/>
                <a:gd name="T2" fmla="*/ 33 w 45"/>
                <a:gd name="T3" fmla="*/ 180 h 226"/>
                <a:gd name="T4" fmla="*/ 33 w 45"/>
                <a:gd name="T5" fmla="*/ 0 h 226"/>
                <a:gd name="T6" fmla="*/ 12 w 45"/>
                <a:gd name="T7" fmla="*/ 0 h 226"/>
                <a:gd name="T8" fmla="*/ 12 w 45"/>
                <a:gd name="T9" fmla="*/ 180 h 226"/>
                <a:gd name="T10" fmla="*/ 5 w 45"/>
                <a:gd name="T11" fmla="*/ 180 h 226"/>
                <a:gd name="T12" fmla="*/ 0 w 45"/>
                <a:gd name="T13" fmla="*/ 186 h 226"/>
                <a:gd name="T14" fmla="*/ 0 w 45"/>
                <a:gd name="T15" fmla="*/ 226 h 226"/>
                <a:gd name="T16" fmla="*/ 45 w 45"/>
                <a:gd name="T17" fmla="*/ 226 h 226"/>
                <a:gd name="T18" fmla="*/ 45 w 45"/>
                <a:gd name="T19" fmla="*/ 186 h 226"/>
                <a:gd name="T20" fmla="*/ 39 w 45"/>
                <a:gd name="T21" fmla="*/ 18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" h="226">
                  <a:moveTo>
                    <a:pt x="39" y="180"/>
                  </a:moveTo>
                  <a:cubicBezTo>
                    <a:pt x="33" y="180"/>
                    <a:pt x="33" y="180"/>
                    <a:pt x="33" y="18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80"/>
                    <a:pt x="12" y="180"/>
                    <a:pt x="12" y="180"/>
                  </a:cubicBezTo>
                  <a:cubicBezTo>
                    <a:pt x="5" y="180"/>
                    <a:pt x="5" y="180"/>
                    <a:pt x="5" y="180"/>
                  </a:cubicBezTo>
                  <a:cubicBezTo>
                    <a:pt x="2" y="180"/>
                    <a:pt x="0" y="182"/>
                    <a:pt x="0" y="186"/>
                  </a:cubicBezTo>
                  <a:cubicBezTo>
                    <a:pt x="0" y="226"/>
                    <a:pt x="0" y="226"/>
                    <a:pt x="0" y="226"/>
                  </a:cubicBezTo>
                  <a:cubicBezTo>
                    <a:pt x="45" y="226"/>
                    <a:pt x="45" y="226"/>
                    <a:pt x="45" y="226"/>
                  </a:cubicBezTo>
                  <a:cubicBezTo>
                    <a:pt x="45" y="186"/>
                    <a:pt x="45" y="186"/>
                    <a:pt x="45" y="186"/>
                  </a:cubicBezTo>
                  <a:cubicBezTo>
                    <a:pt x="45" y="182"/>
                    <a:pt x="42" y="180"/>
                    <a:pt x="39" y="180"/>
                  </a:cubicBezTo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9"/>
            <p:cNvSpPr>
              <a:spLocks/>
            </p:cNvSpPr>
            <p:nvPr/>
          </p:nvSpPr>
          <p:spPr bwMode="gray">
            <a:xfrm>
              <a:off x="10827050" y="4919983"/>
              <a:ext cx="26988" cy="311150"/>
            </a:xfrm>
            <a:custGeom>
              <a:avLst/>
              <a:gdLst>
                <a:gd name="T0" fmla="*/ 14 w 20"/>
                <a:gd name="T1" fmla="*/ 180 h 226"/>
                <a:gd name="T2" fmla="*/ 8 w 20"/>
                <a:gd name="T3" fmla="*/ 180 h 226"/>
                <a:gd name="T4" fmla="*/ 8 w 20"/>
                <a:gd name="T5" fmla="*/ 0 h 226"/>
                <a:gd name="T6" fmla="*/ 0 w 20"/>
                <a:gd name="T7" fmla="*/ 0 h 226"/>
                <a:gd name="T8" fmla="*/ 0 w 20"/>
                <a:gd name="T9" fmla="*/ 180 h 226"/>
                <a:gd name="T10" fmla="*/ 6 w 20"/>
                <a:gd name="T11" fmla="*/ 180 h 226"/>
                <a:gd name="T12" fmla="*/ 12 w 20"/>
                <a:gd name="T13" fmla="*/ 186 h 226"/>
                <a:gd name="T14" fmla="*/ 12 w 20"/>
                <a:gd name="T15" fmla="*/ 226 h 226"/>
                <a:gd name="T16" fmla="*/ 20 w 20"/>
                <a:gd name="T17" fmla="*/ 226 h 226"/>
                <a:gd name="T18" fmla="*/ 20 w 20"/>
                <a:gd name="T19" fmla="*/ 186 h 226"/>
                <a:gd name="T20" fmla="*/ 14 w 20"/>
                <a:gd name="T21" fmla="*/ 18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26">
                  <a:moveTo>
                    <a:pt x="14" y="180"/>
                  </a:moveTo>
                  <a:cubicBezTo>
                    <a:pt x="8" y="180"/>
                    <a:pt x="8" y="180"/>
                    <a:pt x="8" y="18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6" y="180"/>
                    <a:pt x="6" y="180"/>
                    <a:pt x="6" y="180"/>
                  </a:cubicBezTo>
                  <a:cubicBezTo>
                    <a:pt x="9" y="180"/>
                    <a:pt x="12" y="182"/>
                    <a:pt x="12" y="186"/>
                  </a:cubicBezTo>
                  <a:cubicBezTo>
                    <a:pt x="12" y="226"/>
                    <a:pt x="12" y="226"/>
                    <a:pt x="12" y="226"/>
                  </a:cubicBezTo>
                  <a:cubicBezTo>
                    <a:pt x="20" y="226"/>
                    <a:pt x="20" y="226"/>
                    <a:pt x="20" y="226"/>
                  </a:cubicBezTo>
                  <a:cubicBezTo>
                    <a:pt x="20" y="186"/>
                    <a:pt x="20" y="186"/>
                    <a:pt x="20" y="186"/>
                  </a:cubicBezTo>
                  <a:cubicBezTo>
                    <a:pt x="20" y="182"/>
                    <a:pt x="17" y="180"/>
                    <a:pt x="14" y="180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60"/>
            <p:cNvSpPr>
              <a:spLocks/>
            </p:cNvSpPr>
            <p:nvPr/>
          </p:nvSpPr>
          <p:spPr bwMode="gray">
            <a:xfrm>
              <a:off x="10792125" y="4919983"/>
              <a:ext cx="25400" cy="311150"/>
            </a:xfrm>
            <a:custGeom>
              <a:avLst/>
              <a:gdLst>
                <a:gd name="T0" fmla="*/ 19 w 19"/>
                <a:gd name="T1" fmla="*/ 0 h 226"/>
                <a:gd name="T2" fmla="*/ 12 w 19"/>
                <a:gd name="T3" fmla="*/ 0 h 226"/>
                <a:gd name="T4" fmla="*/ 12 w 19"/>
                <a:gd name="T5" fmla="*/ 180 h 226"/>
                <a:gd name="T6" fmla="*/ 5 w 19"/>
                <a:gd name="T7" fmla="*/ 180 h 226"/>
                <a:gd name="T8" fmla="*/ 0 w 19"/>
                <a:gd name="T9" fmla="*/ 186 h 226"/>
                <a:gd name="T10" fmla="*/ 0 w 19"/>
                <a:gd name="T11" fmla="*/ 226 h 226"/>
                <a:gd name="T12" fmla="*/ 7 w 19"/>
                <a:gd name="T13" fmla="*/ 226 h 226"/>
                <a:gd name="T14" fmla="*/ 7 w 19"/>
                <a:gd name="T15" fmla="*/ 186 h 226"/>
                <a:gd name="T16" fmla="*/ 13 w 19"/>
                <a:gd name="T17" fmla="*/ 180 h 226"/>
                <a:gd name="T18" fmla="*/ 19 w 19"/>
                <a:gd name="T19" fmla="*/ 180 h 226"/>
                <a:gd name="T20" fmla="*/ 19 w 19"/>
                <a:gd name="T21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226">
                  <a:moveTo>
                    <a:pt x="19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180"/>
                    <a:pt x="12" y="180"/>
                    <a:pt x="12" y="180"/>
                  </a:cubicBezTo>
                  <a:cubicBezTo>
                    <a:pt x="5" y="180"/>
                    <a:pt x="5" y="180"/>
                    <a:pt x="5" y="180"/>
                  </a:cubicBezTo>
                  <a:cubicBezTo>
                    <a:pt x="2" y="180"/>
                    <a:pt x="0" y="182"/>
                    <a:pt x="0" y="186"/>
                  </a:cubicBezTo>
                  <a:cubicBezTo>
                    <a:pt x="0" y="226"/>
                    <a:pt x="0" y="226"/>
                    <a:pt x="0" y="226"/>
                  </a:cubicBezTo>
                  <a:cubicBezTo>
                    <a:pt x="7" y="226"/>
                    <a:pt x="7" y="226"/>
                    <a:pt x="7" y="226"/>
                  </a:cubicBezTo>
                  <a:cubicBezTo>
                    <a:pt x="7" y="186"/>
                    <a:pt x="7" y="186"/>
                    <a:pt x="7" y="186"/>
                  </a:cubicBezTo>
                  <a:cubicBezTo>
                    <a:pt x="7" y="182"/>
                    <a:pt x="10" y="180"/>
                    <a:pt x="13" y="180"/>
                  </a:cubicBezTo>
                  <a:cubicBezTo>
                    <a:pt x="19" y="180"/>
                    <a:pt x="19" y="180"/>
                    <a:pt x="19" y="180"/>
                  </a:cubicBezTo>
                  <a:cubicBezTo>
                    <a:pt x="19" y="0"/>
                    <a:pt x="19" y="0"/>
                    <a:pt x="19" y="0"/>
                  </a:cubicBezTo>
                </a:path>
              </a:pathLst>
            </a:custGeom>
            <a:solidFill>
              <a:srgbClr val="FFC7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61"/>
            <p:cNvSpPr>
              <a:spLocks/>
            </p:cNvSpPr>
            <p:nvPr/>
          </p:nvSpPr>
          <p:spPr bwMode="gray">
            <a:xfrm>
              <a:off x="10068225" y="4172270"/>
              <a:ext cx="242888" cy="239712"/>
            </a:xfrm>
            <a:custGeom>
              <a:avLst/>
              <a:gdLst>
                <a:gd name="T0" fmla="*/ 153 w 153"/>
                <a:gd name="T1" fmla="*/ 98 h 151"/>
                <a:gd name="T2" fmla="*/ 100 w 153"/>
                <a:gd name="T3" fmla="*/ 151 h 151"/>
                <a:gd name="T4" fmla="*/ 0 w 153"/>
                <a:gd name="T5" fmla="*/ 52 h 151"/>
                <a:gd name="T6" fmla="*/ 53 w 153"/>
                <a:gd name="T7" fmla="*/ 0 h 151"/>
                <a:gd name="T8" fmla="*/ 153 w 153"/>
                <a:gd name="T9" fmla="*/ 98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151">
                  <a:moveTo>
                    <a:pt x="153" y="98"/>
                  </a:moveTo>
                  <a:lnTo>
                    <a:pt x="100" y="151"/>
                  </a:lnTo>
                  <a:lnTo>
                    <a:pt x="0" y="52"/>
                  </a:lnTo>
                  <a:lnTo>
                    <a:pt x="53" y="0"/>
                  </a:lnTo>
                  <a:lnTo>
                    <a:pt x="153" y="98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62"/>
            <p:cNvSpPr>
              <a:spLocks/>
            </p:cNvSpPr>
            <p:nvPr/>
          </p:nvSpPr>
          <p:spPr bwMode="gray">
            <a:xfrm>
              <a:off x="9560225" y="3665858"/>
              <a:ext cx="579438" cy="576262"/>
            </a:xfrm>
            <a:custGeom>
              <a:avLst/>
              <a:gdLst>
                <a:gd name="T0" fmla="*/ 415 w 419"/>
                <a:gd name="T1" fmla="*/ 379 h 419"/>
                <a:gd name="T2" fmla="*/ 415 w 419"/>
                <a:gd name="T3" fmla="*/ 392 h 419"/>
                <a:gd name="T4" fmla="*/ 392 w 419"/>
                <a:gd name="T5" fmla="*/ 415 h 419"/>
                <a:gd name="T6" fmla="*/ 380 w 419"/>
                <a:gd name="T7" fmla="*/ 415 h 419"/>
                <a:gd name="T8" fmla="*/ 3 w 419"/>
                <a:gd name="T9" fmla="*/ 39 h 419"/>
                <a:gd name="T10" fmla="*/ 3 w 419"/>
                <a:gd name="T11" fmla="*/ 27 h 419"/>
                <a:gd name="T12" fmla="*/ 27 w 419"/>
                <a:gd name="T13" fmla="*/ 3 h 419"/>
                <a:gd name="T14" fmla="*/ 39 w 419"/>
                <a:gd name="T15" fmla="*/ 3 h 419"/>
                <a:gd name="T16" fmla="*/ 415 w 419"/>
                <a:gd name="T17" fmla="*/ 37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9" h="419">
                  <a:moveTo>
                    <a:pt x="415" y="379"/>
                  </a:moveTo>
                  <a:cubicBezTo>
                    <a:pt x="419" y="383"/>
                    <a:pt x="419" y="388"/>
                    <a:pt x="415" y="392"/>
                  </a:cubicBezTo>
                  <a:cubicBezTo>
                    <a:pt x="392" y="415"/>
                    <a:pt x="392" y="415"/>
                    <a:pt x="392" y="415"/>
                  </a:cubicBezTo>
                  <a:cubicBezTo>
                    <a:pt x="388" y="419"/>
                    <a:pt x="383" y="419"/>
                    <a:pt x="380" y="415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0" y="35"/>
                    <a:pt x="0" y="30"/>
                    <a:pt x="3" y="27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30" y="0"/>
                    <a:pt x="36" y="0"/>
                    <a:pt x="39" y="3"/>
                  </a:cubicBezTo>
                  <a:lnTo>
                    <a:pt x="415" y="37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63"/>
            <p:cNvSpPr>
              <a:spLocks/>
            </p:cNvSpPr>
            <p:nvPr/>
          </p:nvSpPr>
          <p:spPr bwMode="gray">
            <a:xfrm>
              <a:off x="10185700" y="4288158"/>
              <a:ext cx="1066800" cy="1058862"/>
            </a:xfrm>
            <a:custGeom>
              <a:avLst/>
              <a:gdLst>
                <a:gd name="T0" fmla="*/ 672 w 672"/>
                <a:gd name="T1" fmla="*/ 594 h 667"/>
                <a:gd name="T2" fmla="*/ 597 w 672"/>
                <a:gd name="T3" fmla="*/ 667 h 667"/>
                <a:gd name="T4" fmla="*/ 0 w 672"/>
                <a:gd name="T5" fmla="*/ 74 h 667"/>
                <a:gd name="T6" fmla="*/ 74 w 672"/>
                <a:gd name="T7" fmla="*/ 0 h 667"/>
                <a:gd name="T8" fmla="*/ 672 w 672"/>
                <a:gd name="T9" fmla="*/ 594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2" h="667">
                  <a:moveTo>
                    <a:pt x="672" y="594"/>
                  </a:moveTo>
                  <a:lnTo>
                    <a:pt x="597" y="667"/>
                  </a:lnTo>
                  <a:lnTo>
                    <a:pt x="0" y="74"/>
                  </a:lnTo>
                  <a:lnTo>
                    <a:pt x="74" y="0"/>
                  </a:lnTo>
                  <a:lnTo>
                    <a:pt x="672" y="594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64"/>
            <p:cNvSpPr>
              <a:spLocks/>
            </p:cNvSpPr>
            <p:nvPr/>
          </p:nvSpPr>
          <p:spPr bwMode="gray">
            <a:xfrm>
              <a:off x="10055525" y="4159570"/>
              <a:ext cx="109538" cy="106362"/>
            </a:xfrm>
            <a:custGeom>
              <a:avLst/>
              <a:gdLst>
                <a:gd name="T0" fmla="*/ 9 w 79"/>
                <a:gd name="T1" fmla="*/ 77 h 77"/>
                <a:gd name="T2" fmla="*/ 4 w 79"/>
                <a:gd name="T3" fmla="*/ 75 h 77"/>
                <a:gd name="T4" fmla="*/ 4 w 79"/>
                <a:gd name="T5" fmla="*/ 64 h 77"/>
                <a:gd name="T6" fmla="*/ 64 w 79"/>
                <a:gd name="T7" fmla="*/ 3 h 77"/>
                <a:gd name="T8" fmla="*/ 75 w 79"/>
                <a:gd name="T9" fmla="*/ 3 h 77"/>
                <a:gd name="T10" fmla="*/ 75 w 79"/>
                <a:gd name="T11" fmla="*/ 15 h 77"/>
                <a:gd name="T12" fmla="*/ 15 w 79"/>
                <a:gd name="T13" fmla="*/ 75 h 77"/>
                <a:gd name="T14" fmla="*/ 9 w 79"/>
                <a:gd name="T1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9" h="77">
                  <a:moveTo>
                    <a:pt x="9" y="77"/>
                  </a:moveTo>
                  <a:cubicBezTo>
                    <a:pt x="7" y="77"/>
                    <a:pt x="5" y="77"/>
                    <a:pt x="4" y="75"/>
                  </a:cubicBezTo>
                  <a:cubicBezTo>
                    <a:pt x="0" y="72"/>
                    <a:pt x="0" y="67"/>
                    <a:pt x="4" y="64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7" y="0"/>
                    <a:pt x="72" y="0"/>
                    <a:pt x="75" y="3"/>
                  </a:cubicBezTo>
                  <a:cubicBezTo>
                    <a:pt x="79" y="6"/>
                    <a:pt x="79" y="12"/>
                    <a:pt x="75" y="15"/>
                  </a:cubicBezTo>
                  <a:cubicBezTo>
                    <a:pt x="15" y="75"/>
                    <a:pt x="15" y="75"/>
                    <a:pt x="15" y="75"/>
                  </a:cubicBezTo>
                  <a:cubicBezTo>
                    <a:pt x="13" y="77"/>
                    <a:pt x="11" y="77"/>
                    <a:pt x="9" y="77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65"/>
            <p:cNvSpPr>
              <a:spLocks/>
            </p:cNvSpPr>
            <p:nvPr/>
          </p:nvSpPr>
          <p:spPr bwMode="gray">
            <a:xfrm>
              <a:off x="9787237" y="3891283"/>
              <a:ext cx="79375" cy="77787"/>
            </a:xfrm>
            <a:custGeom>
              <a:avLst/>
              <a:gdLst>
                <a:gd name="T0" fmla="*/ 9 w 58"/>
                <a:gd name="T1" fmla="*/ 57 h 57"/>
                <a:gd name="T2" fmla="*/ 3 w 58"/>
                <a:gd name="T3" fmla="*/ 55 h 57"/>
                <a:gd name="T4" fmla="*/ 3 w 58"/>
                <a:gd name="T5" fmla="*/ 44 h 57"/>
                <a:gd name="T6" fmla="*/ 44 w 58"/>
                <a:gd name="T7" fmla="*/ 3 h 57"/>
                <a:gd name="T8" fmla="*/ 55 w 58"/>
                <a:gd name="T9" fmla="*/ 3 h 57"/>
                <a:gd name="T10" fmla="*/ 55 w 58"/>
                <a:gd name="T11" fmla="*/ 14 h 57"/>
                <a:gd name="T12" fmla="*/ 15 w 58"/>
                <a:gd name="T13" fmla="*/ 55 h 57"/>
                <a:gd name="T14" fmla="*/ 9 w 58"/>
                <a:gd name="T15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57">
                  <a:moveTo>
                    <a:pt x="9" y="57"/>
                  </a:moveTo>
                  <a:cubicBezTo>
                    <a:pt x="7" y="57"/>
                    <a:pt x="5" y="56"/>
                    <a:pt x="3" y="55"/>
                  </a:cubicBezTo>
                  <a:cubicBezTo>
                    <a:pt x="0" y="52"/>
                    <a:pt x="0" y="47"/>
                    <a:pt x="3" y="44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7" y="0"/>
                    <a:pt x="52" y="0"/>
                    <a:pt x="55" y="3"/>
                  </a:cubicBezTo>
                  <a:cubicBezTo>
                    <a:pt x="58" y="6"/>
                    <a:pt x="58" y="11"/>
                    <a:pt x="55" y="14"/>
                  </a:cubicBezTo>
                  <a:cubicBezTo>
                    <a:pt x="15" y="55"/>
                    <a:pt x="15" y="55"/>
                    <a:pt x="15" y="55"/>
                  </a:cubicBezTo>
                  <a:cubicBezTo>
                    <a:pt x="13" y="56"/>
                    <a:pt x="11" y="57"/>
                    <a:pt x="9" y="57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66"/>
            <p:cNvSpPr>
              <a:spLocks/>
            </p:cNvSpPr>
            <p:nvPr/>
          </p:nvSpPr>
          <p:spPr bwMode="gray">
            <a:xfrm>
              <a:off x="10168237" y="4270695"/>
              <a:ext cx="153988" cy="150812"/>
            </a:xfrm>
            <a:custGeom>
              <a:avLst/>
              <a:gdLst>
                <a:gd name="T0" fmla="*/ 9 w 111"/>
                <a:gd name="T1" fmla="*/ 110 h 110"/>
                <a:gd name="T2" fmla="*/ 3 w 111"/>
                <a:gd name="T3" fmla="*/ 108 h 110"/>
                <a:gd name="T4" fmla="*/ 3 w 111"/>
                <a:gd name="T5" fmla="*/ 96 h 110"/>
                <a:gd name="T6" fmla="*/ 96 w 111"/>
                <a:gd name="T7" fmla="*/ 3 h 110"/>
                <a:gd name="T8" fmla="*/ 108 w 111"/>
                <a:gd name="T9" fmla="*/ 3 h 110"/>
                <a:gd name="T10" fmla="*/ 108 w 111"/>
                <a:gd name="T11" fmla="*/ 15 h 110"/>
                <a:gd name="T12" fmla="*/ 15 w 111"/>
                <a:gd name="T13" fmla="*/ 108 h 110"/>
                <a:gd name="T14" fmla="*/ 9 w 111"/>
                <a:gd name="T15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1" h="110">
                  <a:moveTo>
                    <a:pt x="9" y="110"/>
                  </a:moveTo>
                  <a:cubicBezTo>
                    <a:pt x="7" y="110"/>
                    <a:pt x="5" y="109"/>
                    <a:pt x="3" y="108"/>
                  </a:cubicBezTo>
                  <a:cubicBezTo>
                    <a:pt x="0" y="104"/>
                    <a:pt x="0" y="99"/>
                    <a:pt x="3" y="96"/>
                  </a:cubicBezTo>
                  <a:cubicBezTo>
                    <a:pt x="96" y="3"/>
                    <a:pt x="96" y="3"/>
                    <a:pt x="96" y="3"/>
                  </a:cubicBezTo>
                  <a:cubicBezTo>
                    <a:pt x="100" y="0"/>
                    <a:pt x="105" y="0"/>
                    <a:pt x="108" y="3"/>
                  </a:cubicBezTo>
                  <a:cubicBezTo>
                    <a:pt x="111" y="6"/>
                    <a:pt x="111" y="11"/>
                    <a:pt x="108" y="15"/>
                  </a:cubicBezTo>
                  <a:cubicBezTo>
                    <a:pt x="15" y="108"/>
                    <a:pt x="15" y="108"/>
                    <a:pt x="15" y="108"/>
                  </a:cubicBezTo>
                  <a:cubicBezTo>
                    <a:pt x="13" y="109"/>
                    <a:pt x="11" y="110"/>
                    <a:pt x="9" y="110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67"/>
            <p:cNvSpPr>
              <a:spLocks/>
            </p:cNvSpPr>
            <p:nvPr/>
          </p:nvSpPr>
          <p:spPr bwMode="gray">
            <a:xfrm>
              <a:off x="10269837" y="4296095"/>
              <a:ext cx="982663" cy="944562"/>
            </a:xfrm>
            <a:custGeom>
              <a:avLst/>
              <a:gdLst>
                <a:gd name="T0" fmla="*/ 619 w 619"/>
                <a:gd name="T1" fmla="*/ 589 h 595"/>
                <a:gd name="T2" fmla="*/ 613 w 619"/>
                <a:gd name="T3" fmla="*/ 595 h 595"/>
                <a:gd name="T4" fmla="*/ 0 w 619"/>
                <a:gd name="T5" fmla="*/ 26 h 595"/>
                <a:gd name="T6" fmla="*/ 27 w 619"/>
                <a:gd name="T7" fmla="*/ 0 h 595"/>
                <a:gd name="T8" fmla="*/ 619 w 619"/>
                <a:gd name="T9" fmla="*/ 589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9" h="595">
                  <a:moveTo>
                    <a:pt x="619" y="589"/>
                  </a:moveTo>
                  <a:lnTo>
                    <a:pt x="613" y="595"/>
                  </a:lnTo>
                  <a:lnTo>
                    <a:pt x="0" y="26"/>
                  </a:lnTo>
                  <a:lnTo>
                    <a:pt x="27" y="0"/>
                  </a:lnTo>
                  <a:lnTo>
                    <a:pt x="619" y="589"/>
                  </a:ln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8"/>
            <p:cNvSpPr>
              <a:spLocks/>
            </p:cNvSpPr>
            <p:nvPr/>
          </p:nvSpPr>
          <p:spPr bwMode="gray">
            <a:xfrm>
              <a:off x="10193637" y="4370708"/>
              <a:ext cx="949325" cy="976312"/>
            </a:xfrm>
            <a:custGeom>
              <a:avLst/>
              <a:gdLst>
                <a:gd name="T0" fmla="*/ 592 w 598"/>
                <a:gd name="T1" fmla="*/ 615 h 615"/>
                <a:gd name="T2" fmla="*/ 598 w 598"/>
                <a:gd name="T3" fmla="*/ 610 h 615"/>
                <a:gd name="T4" fmla="*/ 27 w 598"/>
                <a:gd name="T5" fmla="*/ 0 h 615"/>
                <a:gd name="T6" fmla="*/ 0 w 598"/>
                <a:gd name="T7" fmla="*/ 27 h 615"/>
                <a:gd name="T8" fmla="*/ 592 w 598"/>
                <a:gd name="T9" fmla="*/ 615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8" h="615">
                  <a:moveTo>
                    <a:pt x="592" y="615"/>
                  </a:moveTo>
                  <a:lnTo>
                    <a:pt x="598" y="610"/>
                  </a:lnTo>
                  <a:lnTo>
                    <a:pt x="27" y="0"/>
                  </a:lnTo>
                  <a:lnTo>
                    <a:pt x="0" y="27"/>
                  </a:lnTo>
                  <a:lnTo>
                    <a:pt x="592" y="615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9"/>
            <p:cNvSpPr>
              <a:spLocks/>
            </p:cNvSpPr>
            <p:nvPr/>
          </p:nvSpPr>
          <p:spPr bwMode="gray">
            <a:xfrm>
              <a:off x="10615912" y="5231133"/>
              <a:ext cx="665163" cy="93662"/>
            </a:xfrm>
            <a:custGeom>
              <a:avLst/>
              <a:gdLst>
                <a:gd name="T0" fmla="*/ 481 w 481"/>
                <a:gd name="T1" fmla="*/ 14 h 69"/>
                <a:gd name="T2" fmla="*/ 467 w 481"/>
                <a:gd name="T3" fmla="*/ 0 h 69"/>
                <a:gd name="T4" fmla="*/ 15 w 481"/>
                <a:gd name="T5" fmla="*/ 0 h 69"/>
                <a:gd name="T6" fmla="*/ 0 w 481"/>
                <a:gd name="T7" fmla="*/ 14 h 69"/>
                <a:gd name="T8" fmla="*/ 0 w 481"/>
                <a:gd name="T9" fmla="*/ 55 h 69"/>
                <a:gd name="T10" fmla="*/ 15 w 481"/>
                <a:gd name="T11" fmla="*/ 69 h 69"/>
                <a:gd name="T12" fmla="*/ 467 w 481"/>
                <a:gd name="T13" fmla="*/ 69 h 69"/>
                <a:gd name="T14" fmla="*/ 481 w 481"/>
                <a:gd name="T15" fmla="*/ 55 h 69"/>
                <a:gd name="T16" fmla="*/ 481 w 481"/>
                <a:gd name="T17" fmla="*/ 1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1" h="69">
                  <a:moveTo>
                    <a:pt x="481" y="14"/>
                  </a:moveTo>
                  <a:cubicBezTo>
                    <a:pt x="481" y="6"/>
                    <a:pt x="475" y="0"/>
                    <a:pt x="467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6"/>
                    <a:pt x="0" y="14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63"/>
                    <a:pt x="7" y="69"/>
                    <a:pt x="15" y="69"/>
                  </a:cubicBezTo>
                  <a:cubicBezTo>
                    <a:pt x="467" y="69"/>
                    <a:pt x="467" y="69"/>
                    <a:pt x="467" y="69"/>
                  </a:cubicBezTo>
                  <a:cubicBezTo>
                    <a:pt x="475" y="69"/>
                    <a:pt x="481" y="63"/>
                    <a:pt x="481" y="55"/>
                  </a:cubicBezTo>
                  <a:lnTo>
                    <a:pt x="481" y="1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Oval 70"/>
            <p:cNvSpPr>
              <a:spLocks noChangeArrowheads="1"/>
            </p:cNvSpPr>
            <p:nvPr/>
          </p:nvSpPr>
          <p:spPr bwMode="gray">
            <a:xfrm>
              <a:off x="1031270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Oval 71"/>
            <p:cNvSpPr>
              <a:spLocks noChangeArrowheads="1"/>
            </p:cNvSpPr>
            <p:nvPr/>
          </p:nvSpPr>
          <p:spPr bwMode="gray">
            <a:xfrm>
              <a:off x="10695287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72"/>
            <p:cNvSpPr>
              <a:spLocks noChangeArrowheads="1"/>
            </p:cNvSpPr>
            <p:nvPr/>
          </p:nvSpPr>
          <p:spPr bwMode="gray">
            <a:xfrm>
              <a:off x="1098580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Freeform 73"/>
            <p:cNvSpPr>
              <a:spLocks/>
            </p:cNvSpPr>
            <p:nvPr/>
          </p:nvSpPr>
          <p:spPr bwMode="gray">
            <a:xfrm>
              <a:off x="10176175" y="5042220"/>
              <a:ext cx="341313" cy="404812"/>
            </a:xfrm>
            <a:custGeom>
              <a:avLst/>
              <a:gdLst>
                <a:gd name="T0" fmla="*/ 247 w 247"/>
                <a:gd name="T1" fmla="*/ 0 h 295"/>
                <a:gd name="T2" fmla="*/ 66 w 247"/>
                <a:gd name="T3" fmla="*/ 0 h 295"/>
                <a:gd name="T4" fmla="*/ 16 w 247"/>
                <a:gd name="T5" fmla="*/ 295 h 295"/>
                <a:gd name="T6" fmla="*/ 197 w 247"/>
                <a:gd name="T7" fmla="*/ 295 h 295"/>
                <a:gd name="T8" fmla="*/ 247 w 247"/>
                <a:gd name="T9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7" h="295">
                  <a:moveTo>
                    <a:pt x="247" y="0"/>
                  </a:moveTo>
                  <a:cubicBezTo>
                    <a:pt x="193" y="0"/>
                    <a:pt x="97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197" y="295"/>
                    <a:pt x="197" y="295"/>
                    <a:pt x="197" y="295"/>
                  </a:cubicBezTo>
                  <a:cubicBezTo>
                    <a:pt x="197" y="295"/>
                    <a:pt x="181" y="76"/>
                    <a:pt x="247" y="0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Freeform 74"/>
            <p:cNvSpPr>
              <a:spLocks/>
            </p:cNvSpPr>
            <p:nvPr/>
          </p:nvSpPr>
          <p:spPr bwMode="gray">
            <a:xfrm>
              <a:off x="10727037" y="5324795"/>
              <a:ext cx="3175" cy="1587"/>
            </a:xfrm>
            <a:custGeom>
              <a:avLst/>
              <a:gdLst>
                <a:gd name="T0" fmla="*/ 0 w 2"/>
                <a:gd name="T1" fmla="*/ 1 h 1"/>
                <a:gd name="T2" fmla="*/ 2 w 2"/>
                <a:gd name="T3" fmla="*/ 0 h 1"/>
                <a:gd name="T4" fmla="*/ 0 w 2"/>
                <a:gd name="T5" fmla="*/ 0 h 1"/>
                <a:gd name="T6" fmla="*/ 0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1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Freeform 75"/>
            <p:cNvSpPr>
              <a:spLocks/>
            </p:cNvSpPr>
            <p:nvPr/>
          </p:nvSpPr>
          <p:spPr bwMode="gray">
            <a:xfrm>
              <a:off x="10512725" y="5324795"/>
              <a:ext cx="3175" cy="1587"/>
            </a:xfrm>
            <a:custGeom>
              <a:avLst/>
              <a:gdLst>
                <a:gd name="T0" fmla="*/ 0 w 3"/>
                <a:gd name="T1" fmla="*/ 1 h 1"/>
                <a:gd name="T2" fmla="*/ 3 w 3"/>
                <a:gd name="T3" fmla="*/ 0 h 1"/>
                <a:gd name="T4" fmla="*/ 0 w 3"/>
                <a:gd name="T5" fmla="*/ 0 h 1"/>
                <a:gd name="T6" fmla="*/ 0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cubicBezTo>
                    <a:pt x="1" y="0"/>
                    <a:pt x="2" y="0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Freeform 76"/>
            <p:cNvSpPr>
              <a:spLocks/>
            </p:cNvSpPr>
            <p:nvPr/>
          </p:nvSpPr>
          <p:spPr bwMode="gray">
            <a:xfrm>
              <a:off x="10176175" y="5042220"/>
              <a:ext cx="127000" cy="404812"/>
            </a:xfrm>
            <a:custGeom>
              <a:avLst/>
              <a:gdLst>
                <a:gd name="T0" fmla="*/ 92 w 92"/>
                <a:gd name="T1" fmla="*/ 0 h 295"/>
                <a:gd name="T2" fmla="*/ 66 w 92"/>
                <a:gd name="T3" fmla="*/ 0 h 295"/>
                <a:gd name="T4" fmla="*/ 16 w 92"/>
                <a:gd name="T5" fmla="*/ 295 h 295"/>
                <a:gd name="T6" fmla="*/ 42 w 92"/>
                <a:gd name="T7" fmla="*/ 295 h 295"/>
                <a:gd name="T8" fmla="*/ 92 w 92"/>
                <a:gd name="T9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295">
                  <a:moveTo>
                    <a:pt x="92" y="0"/>
                  </a:moveTo>
                  <a:cubicBezTo>
                    <a:pt x="82" y="0"/>
                    <a:pt x="73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42" y="295"/>
                    <a:pt x="42" y="295"/>
                    <a:pt x="42" y="295"/>
                  </a:cubicBezTo>
                  <a:cubicBezTo>
                    <a:pt x="42" y="295"/>
                    <a:pt x="26" y="76"/>
                    <a:pt x="92" y="0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Rectangle 77"/>
            <p:cNvSpPr>
              <a:spLocks noChangeArrowheads="1"/>
            </p:cNvSpPr>
            <p:nvPr/>
          </p:nvSpPr>
          <p:spPr bwMode="gray">
            <a:xfrm>
              <a:off x="9574512" y="3729358"/>
              <a:ext cx="22225" cy="693737"/>
            </a:xfrm>
            <a:prstGeom prst="rect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Freeform 78"/>
            <p:cNvSpPr>
              <a:spLocks/>
            </p:cNvSpPr>
            <p:nvPr/>
          </p:nvSpPr>
          <p:spPr bwMode="gray">
            <a:xfrm>
              <a:off x="10393662" y="5042220"/>
              <a:ext cx="906463" cy="404812"/>
            </a:xfrm>
            <a:custGeom>
              <a:avLst/>
              <a:gdLst>
                <a:gd name="T0" fmla="*/ 642 w 656"/>
                <a:gd name="T1" fmla="*/ 206 h 295"/>
                <a:gd name="T2" fmla="*/ 219 w 656"/>
                <a:gd name="T3" fmla="*/ 206 h 295"/>
                <a:gd name="T4" fmla="*/ 217 w 656"/>
                <a:gd name="T5" fmla="*/ 207 h 295"/>
                <a:gd name="T6" fmla="*/ 217 w 656"/>
                <a:gd name="T7" fmla="*/ 0 h 295"/>
                <a:gd name="T8" fmla="*/ 66 w 656"/>
                <a:gd name="T9" fmla="*/ 0 h 295"/>
                <a:gd name="T10" fmla="*/ 16 w 656"/>
                <a:gd name="T11" fmla="*/ 295 h 295"/>
                <a:gd name="T12" fmla="*/ 642 w 656"/>
                <a:gd name="T13" fmla="*/ 295 h 295"/>
                <a:gd name="T14" fmla="*/ 656 w 656"/>
                <a:gd name="T15" fmla="*/ 281 h 295"/>
                <a:gd name="T16" fmla="*/ 656 w 656"/>
                <a:gd name="T17" fmla="*/ 221 h 295"/>
                <a:gd name="T18" fmla="*/ 642 w 656"/>
                <a:gd name="T19" fmla="*/ 206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6" h="295">
                  <a:moveTo>
                    <a:pt x="642" y="206"/>
                  </a:moveTo>
                  <a:cubicBezTo>
                    <a:pt x="219" y="206"/>
                    <a:pt x="219" y="206"/>
                    <a:pt x="219" y="206"/>
                  </a:cubicBezTo>
                  <a:cubicBezTo>
                    <a:pt x="219" y="206"/>
                    <a:pt x="218" y="206"/>
                    <a:pt x="217" y="207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17" y="0"/>
                    <a:pt x="119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642" y="295"/>
                    <a:pt x="642" y="295"/>
                    <a:pt x="642" y="295"/>
                  </a:cubicBezTo>
                  <a:cubicBezTo>
                    <a:pt x="650" y="295"/>
                    <a:pt x="656" y="289"/>
                    <a:pt x="656" y="281"/>
                  </a:cubicBezTo>
                  <a:cubicBezTo>
                    <a:pt x="656" y="221"/>
                    <a:pt x="656" y="221"/>
                    <a:pt x="656" y="221"/>
                  </a:cubicBezTo>
                  <a:cubicBezTo>
                    <a:pt x="656" y="213"/>
                    <a:pt x="650" y="206"/>
                    <a:pt x="642" y="206"/>
                  </a:cubicBez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Freeform 79"/>
            <p:cNvSpPr>
              <a:spLocks/>
            </p:cNvSpPr>
            <p:nvPr/>
          </p:nvSpPr>
          <p:spPr bwMode="gray">
            <a:xfrm>
              <a:off x="10393662" y="5042220"/>
              <a:ext cx="300038" cy="404812"/>
            </a:xfrm>
            <a:custGeom>
              <a:avLst/>
              <a:gdLst>
                <a:gd name="T0" fmla="*/ 81 w 217"/>
                <a:gd name="T1" fmla="*/ 15 h 295"/>
                <a:gd name="T2" fmla="*/ 217 w 217"/>
                <a:gd name="T3" fmla="*/ 15 h 295"/>
                <a:gd name="T4" fmla="*/ 217 w 217"/>
                <a:gd name="T5" fmla="*/ 0 h 295"/>
                <a:gd name="T6" fmla="*/ 66 w 217"/>
                <a:gd name="T7" fmla="*/ 0 h 295"/>
                <a:gd name="T8" fmla="*/ 16 w 217"/>
                <a:gd name="T9" fmla="*/ 295 h 295"/>
                <a:gd name="T10" fmla="*/ 30 w 217"/>
                <a:gd name="T11" fmla="*/ 295 h 295"/>
                <a:gd name="T12" fmla="*/ 81 w 217"/>
                <a:gd name="T13" fmla="*/ 15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7" h="295">
                  <a:moveTo>
                    <a:pt x="81" y="15"/>
                  </a:moveTo>
                  <a:cubicBezTo>
                    <a:pt x="122" y="15"/>
                    <a:pt x="188" y="15"/>
                    <a:pt x="217" y="15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17" y="0"/>
                    <a:pt x="119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30" y="295"/>
                    <a:pt x="30" y="295"/>
                    <a:pt x="30" y="295"/>
                  </a:cubicBezTo>
                  <a:cubicBezTo>
                    <a:pt x="28" y="244"/>
                    <a:pt x="25" y="79"/>
                    <a:pt x="81" y="15"/>
                  </a:cubicBezTo>
                  <a:close/>
                </a:path>
              </a:pathLst>
            </a:custGeom>
            <a:solidFill>
              <a:srgbClr val="FFCB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Freeform 80"/>
            <p:cNvSpPr>
              <a:spLocks/>
            </p:cNvSpPr>
            <p:nvPr/>
          </p:nvSpPr>
          <p:spPr bwMode="gray">
            <a:xfrm>
              <a:off x="10414300" y="542798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Freeform 81"/>
            <p:cNvSpPr>
              <a:spLocks/>
            </p:cNvSpPr>
            <p:nvPr/>
          </p:nvSpPr>
          <p:spPr bwMode="gray">
            <a:xfrm>
              <a:off x="10414300" y="5432745"/>
              <a:ext cx="0" cy="1587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Freeform 82"/>
            <p:cNvSpPr>
              <a:spLocks/>
            </p:cNvSpPr>
            <p:nvPr/>
          </p:nvSpPr>
          <p:spPr bwMode="gray">
            <a:xfrm>
              <a:off x="10414300" y="544068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Freeform 83"/>
            <p:cNvSpPr>
              <a:spLocks/>
            </p:cNvSpPr>
            <p:nvPr/>
          </p:nvSpPr>
          <p:spPr bwMode="gray">
            <a:xfrm>
              <a:off x="10433350" y="5324795"/>
              <a:ext cx="866775" cy="122237"/>
            </a:xfrm>
            <a:custGeom>
              <a:avLst/>
              <a:gdLst>
                <a:gd name="T0" fmla="*/ 613 w 627"/>
                <a:gd name="T1" fmla="*/ 0 h 89"/>
                <a:gd name="T2" fmla="*/ 613 w 627"/>
                <a:gd name="T3" fmla="*/ 56 h 89"/>
                <a:gd name="T4" fmla="*/ 599 w 627"/>
                <a:gd name="T5" fmla="*/ 71 h 89"/>
                <a:gd name="T6" fmla="*/ 0 w 627"/>
                <a:gd name="T7" fmla="*/ 71 h 89"/>
                <a:gd name="T8" fmla="*/ 1 w 627"/>
                <a:gd name="T9" fmla="*/ 89 h 89"/>
                <a:gd name="T10" fmla="*/ 613 w 627"/>
                <a:gd name="T11" fmla="*/ 89 h 89"/>
                <a:gd name="T12" fmla="*/ 627 w 627"/>
                <a:gd name="T13" fmla="*/ 75 h 89"/>
                <a:gd name="T14" fmla="*/ 627 w 627"/>
                <a:gd name="T15" fmla="*/ 15 h 89"/>
                <a:gd name="T16" fmla="*/ 613 w 627"/>
                <a:gd name="T17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7" h="89">
                  <a:moveTo>
                    <a:pt x="613" y="0"/>
                  </a:moveTo>
                  <a:cubicBezTo>
                    <a:pt x="613" y="56"/>
                    <a:pt x="613" y="56"/>
                    <a:pt x="613" y="56"/>
                  </a:cubicBezTo>
                  <a:cubicBezTo>
                    <a:pt x="613" y="64"/>
                    <a:pt x="607" y="71"/>
                    <a:pt x="599" y="71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78"/>
                    <a:pt x="1" y="84"/>
                    <a:pt x="1" y="89"/>
                  </a:cubicBezTo>
                  <a:cubicBezTo>
                    <a:pt x="613" y="89"/>
                    <a:pt x="613" y="89"/>
                    <a:pt x="613" y="89"/>
                  </a:cubicBezTo>
                  <a:cubicBezTo>
                    <a:pt x="621" y="89"/>
                    <a:pt x="627" y="83"/>
                    <a:pt x="627" y="75"/>
                  </a:cubicBezTo>
                  <a:cubicBezTo>
                    <a:pt x="627" y="15"/>
                    <a:pt x="627" y="15"/>
                    <a:pt x="627" y="15"/>
                  </a:cubicBezTo>
                  <a:cubicBezTo>
                    <a:pt x="627" y="7"/>
                    <a:pt x="621" y="1"/>
                    <a:pt x="613" y="0"/>
                  </a:cubicBezTo>
                  <a:close/>
                </a:path>
              </a:pathLst>
            </a:custGeom>
            <a:solidFill>
              <a:srgbClr val="DB9D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Freeform 84"/>
            <p:cNvSpPr>
              <a:spLocks/>
            </p:cNvSpPr>
            <p:nvPr/>
          </p:nvSpPr>
          <p:spPr bwMode="gray">
            <a:xfrm>
              <a:off x="10452400" y="5086670"/>
              <a:ext cx="203200" cy="238125"/>
            </a:xfrm>
            <a:custGeom>
              <a:avLst/>
              <a:gdLst>
                <a:gd name="T0" fmla="*/ 146 w 146"/>
                <a:gd name="T1" fmla="*/ 174 h 174"/>
                <a:gd name="T2" fmla="*/ 146 w 146"/>
                <a:gd name="T3" fmla="*/ 0 h 174"/>
                <a:gd name="T4" fmla="*/ 40 w 146"/>
                <a:gd name="T5" fmla="*/ 0 h 174"/>
                <a:gd name="T6" fmla="*/ 0 w 146"/>
                <a:gd name="T7" fmla="*/ 174 h 174"/>
                <a:gd name="T8" fmla="*/ 146 w 146"/>
                <a:gd name="T9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6" h="174">
                  <a:moveTo>
                    <a:pt x="146" y="174"/>
                  </a:moveTo>
                  <a:cubicBezTo>
                    <a:pt x="146" y="0"/>
                    <a:pt x="146" y="0"/>
                    <a:pt x="146" y="0"/>
                  </a:cubicBezTo>
                  <a:cubicBezTo>
                    <a:pt x="146" y="0"/>
                    <a:pt x="82" y="0"/>
                    <a:pt x="40" y="0"/>
                  </a:cubicBezTo>
                  <a:cubicBezTo>
                    <a:pt x="8" y="38"/>
                    <a:pt x="0" y="119"/>
                    <a:pt x="0" y="174"/>
                  </a:cubicBezTo>
                  <a:lnTo>
                    <a:pt x="146" y="17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Freeform 85"/>
            <p:cNvSpPr>
              <a:spLocks/>
            </p:cNvSpPr>
            <p:nvPr/>
          </p:nvSpPr>
          <p:spPr bwMode="gray">
            <a:xfrm>
              <a:off x="10452400" y="5086670"/>
              <a:ext cx="203200" cy="238125"/>
            </a:xfrm>
            <a:custGeom>
              <a:avLst/>
              <a:gdLst>
                <a:gd name="T0" fmla="*/ 146 w 146"/>
                <a:gd name="T1" fmla="*/ 174 h 174"/>
                <a:gd name="T2" fmla="*/ 40 w 146"/>
                <a:gd name="T3" fmla="*/ 0 h 174"/>
                <a:gd name="T4" fmla="*/ 0 w 146"/>
                <a:gd name="T5" fmla="*/ 174 h 174"/>
                <a:gd name="T6" fmla="*/ 146 w 146"/>
                <a:gd name="T7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6" h="174">
                  <a:moveTo>
                    <a:pt x="146" y="174"/>
                  </a:moveTo>
                  <a:cubicBezTo>
                    <a:pt x="146" y="174"/>
                    <a:pt x="84" y="73"/>
                    <a:pt x="40" y="0"/>
                  </a:cubicBezTo>
                  <a:cubicBezTo>
                    <a:pt x="8" y="38"/>
                    <a:pt x="0" y="119"/>
                    <a:pt x="0" y="174"/>
                  </a:cubicBezTo>
                  <a:lnTo>
                    <a:pt x="146" y="174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Oval 86"/>
            <p:cNvSpPr>
              <a:spLocks noChangeArrowheads="1"/>
            </p:cNvSpPr>
            <p:nvPr/>
          </p:nvSpPr>
          <p:spPr bwMode="gray">
            <a:xfrm>
              <a:off x="10458750" y="5353370"/>
              <a:ext cx="188913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Oval 87"/>
            <p:cNvSpPr>
              <a:spLocks noChangeArrowheads="1"/>
            </p:cNvSpPr>
            <p:nvPr/>
          </p:nvSpPr>
          <p:spPr bwMode="gray">
            <a:xfrm>
              <a:off x="10503200" y="5396233"/>
              <a:ext cx="100013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Oval 88"/>
            <p:cNvSpPr>
              <a:spLocks noChangeArrowheads="1"/>
            </p:cNvSpPr>
            <p:nvPr/>
          </p:nvSpPr>
          <p:spPr bwMode="gray">
            <a:xfrm>
              <a:off x="11041362" y="5353370"/>
              <a:ext cx="192088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Oval 89"/>
            <p:cNvSpPr>
              <a:spLocks noChangeArrowheads="1"/>
            </p:cNvSpPr>
            <p:nvPr/>
          </p:nvSpPr>
          <p:spPr bwMode="gray">
            <a:xfrm>
              <a:off x="1083975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Freeform 90"/>
            <p:cNvSpPr>
              <a:spLocks/>
            </p:cNvSpPr>
            <p:nvPr/>
          </p:nvSpPr>
          <p:spPr bwMode="gray">
            <a:xfrm>
              <a:off x="10503200" y="5412108"/>
              <a:ext cx="85725" cy="87312"/>
            </a:xfrm>
            <a:custGeom>
              <a:avLst/>
              <a:gdLst>
                <a:gd name="T0" fmla="*/ 37 w 62"/>
                <a:gd name="T1" fmla="*/ 63 h 63"/>
                <a:gd name="T2" fmla="*/ 62 w 62"/>
                <a:gd name="T3" fmla="*/ 52 h 63"/>
                <a:gd name="T4" fmla="*/ 10 w 62"/>
                <a:gd name="T5" fmla="*/ 0 h 63"/>
                <a:gd name="T6" fmla="*/ 0 w 62"/>
                <a:gd name="T7" fmla="*/ 26 h 63"/>
                <a:gd name="T8" fmla="*/ 37 w 62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63">
                  <a:moveTo>
                    <a:pt x="37" y="63"/>
                  </a:moveTo>
                  <a:cubicBezTo>
                    <a:pt x="47" y="63"/>
                    <a:pt x="56" y="59"/>
                    <a:pt x="62" y="5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6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Freeform 91"/>
            <p:cNvSpPr>
              <a:spLocks/>
            </p:cNvSpPr>
            <p:nvPr/>
          </p:nvSpPr>
          <p:spPr bwMode="gray">
            <a:xfrm>
              <a:off x="10241262" y="5359720"/>
              <a:ext cx="120650" cy="15875"/>
            </a:xfrm>
            <a:custGeom>
              <a:avLst/>
              <a:gdLst>
                <a:gd name="T0" fmla="*/ 81 w 87"/>
                <a:gd name="T1" fmla="*/ 12 h 12"/>
                <a:gd name="T2" fmla="*/ 6 w 87"/>
                <a:gd name="T3" fmla="*/ 12 h 12"/>
                <a:gd name="T4" fmla="*/ 0 w 87"/>
                <a:gd name="T5" fmla="*/ 6 h 12"/>
                <a:gd name="T6" fmla="*/ 6 w 87"/>
                <a:gd name="T7" fmla="*/ 0 h 12"/>
                <a:gd name="T8" fmla="*/ 81 w 87"/>
                <a:gd name="T9" fmla="*/ 0 h 12"/>
                <a:gd name="T10" fmla="*/ 87 w 87"/>
                <a:gd name="T11" fmla="*/ 6 h 12"/>
                <a:gd name="T12" fmla="*/ 81 w 8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2">
                  <a:moveTo>
                    <a:pt x="8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4" y="0"/>
                    <a:pt x="87" y="3"/>
                    <a:pt x="87" y="6"/>
                  </a:cubicBezTo>
                  <a:cubicBezTo>
                    <a:pt x="87" y="9"/>
                    <a:pt x="84" y="12"/>
                    <a:pt x="81" y="12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Freeform 92"/>
            <p:cNvSpPr>
              <a:spLocks/>
            </p:cNvSpPr>
            <p:nvPr/>
          </p:nvSpPr>
          <p:spPr bwMode="gray">
            <a:xfrm>
              <a:off x="10241262" y="5396233"/>
              <a:ext cx="120650" cy="17462"/>
            </a:xfrm>
            <a:custGeom>
              <a:avLst/>
              <a:gdLst>
                <a:gd name="T0" fmla="*/ 81 w 87"/>
                <a:gd name="T1" fmla="*/ 12 h 12"/>
                <a:gd name="T2" fmla="*/ 6 w 87"/>
                <a:gd name="T3" fmla="*/ 12 h 12"/>
                <a:gd name="T4" fmla="*/ 0 w 87"/>
                <a:gd name="T5" fmla="*/ 6 h 12"/>
                <a:gd name="T6" fmla="*/ 6 w 87"/>
                <a:gd name="T7" fmla="*/ 0 h 12"/>
                <a:gd name="T8" fmla="*/ 81 w 87"/>
                <a:gd name="T9" fmla="*/ 0 h 12"/>
                <a:gd name="T10" fmla="*/ 87 w 87"/>
                <a:gd name="T11" fmla="*/ 6 h 12"/>
                <a:gd name="T12" fmla="*/ 81 w 8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2">
                  <a:moveTo>
                    <a:pt x="8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4" y="0"/>
                    <a:pt x="87" y="3"/>
                    <a:pt x="87" y="6"/>
                  </a:cubicBezTo>
                  <a:cubicBezTo>
                    <a:pt x="87" y="10"/>
                    <a:pt x="84" y="12"/>
                    <a:pt x="81" y="12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8" name="Freeform 93"/>
            <p:cNvSpPr>
              <a:spLocks/>
            </p:cNvSpPr>
            <p:nvPr/>
          </p:nvSpPr>
          <p:spPr bwMode="gray">
            <a:xfrm>
              <a:off x="10209512" y="5086670"/>
              <a:ext cx="227013" cy="239712"/>
            </a:xfrm>
            <a:custGeom>
              <a:avLst/>
              <a:gdLst>
                <a:gd name="T0" fmla="*/ 31 w 164"/>
                <a:gd name="T1" fmla="*/ 0 h 175"/>
                <a:gd name="T2" fmla="*/ 0 w 164"/>
                <a:gd name="T3" fmla="*/ 175 h 175"/>
                <a:gd name="T4" fmla="*/ 133 w 164"/>
                <a:gd name="T5" fmla="*/ 175 h 175"/>
                <a:gd name="T6" fmla="*/ 164 w 164"/>
                <a:gd name="T7" fmla="*/ 0 h 175"/>
                <a:gd name="T8" fmla="*/ 31 w 164"/>
                <a:gd name="T9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4" h="175">
                  <a:moveTo>
                    <a:pt x="31" y="0"/>
                  </a:moveTo>
                  <a:cubicBezTo>
                    <a:pt x="9" y="49"/>
                    <a:pt x="1" y="119"/>
                    <a:pt x="0" y="175"/>
                  </a:cubicBezTo>
                  <a:cubicBezTo>
                    <a:pt x="133" y="175"/>
                    <a:pt x="133" y="175"/>
                    <a:pt x="133" y="175"/>
                  </a:cubicBezTo>
                  <a:cubicBezTo>
                    <a:pt x="134" y="119"/>
                    <a:pt x="142" y="49"/>
                    <a:pt x="164" y="0"/>
                  </a:cubicBezTo>
                  <a:lnTo>
                    <a:pt x="31" y="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Freeform 94"/>
            <p:cNvSpPr>
              <a:spLocks/>
            </p:cNvSpPr>
            <p:nvPr/>
          </p:nvSpPr>
          <p:spPr bwMode="gray">
            <a:xfrm>
              <a:off x="10209512" y="5086670"/>
              <a:ext cx="185738" cy="239712"/>
            </a:xfrm>
            <a:custGeom>
              <a:avLst/>
              <a:gdLst>
                <a:gd name="T0" fmla="*/ 31 w 134"/>
                <a:gd name="T1" fmla="*/ 0 h 175"/>
                <a:gd name="T2" fmla="*/ 0 w 134"/>
                <a:gd name="T3" fmla="*/ 175 h 175"/>
                <a:gd name="T4" fmla="*/ 133 w 134"/>
                <a:gd name="T5" fmla="*/ 175 h 175"/>
                <a:gd name="T6" fmla="*/ 31 w 134"/>
                <a:gd name="T7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4" h="175">
                  <a:moveTo>
                    <a:pt x="31" y="0"/>
                  </a:moveTo>
                  <a:cubicBezTo>
                    <a:pt x="9" y="49"/>
                    <a:pt x="1" y="119"/>
                    <a:pt x="0" y="175"/>
                  </a:cubicBezTo>
                  <a:cubicBezTo>
                    <a:pt x="133" y="175"/>
                    <a:pt x="133" y="175"/>
                    <a:pt x="133" y="175"/>
                  </a:cubicBezTo>
                  <a:cubicBezTo>
                    <a:pt x="134" y="119"/>
                    <a:pt x="31" y="0"/>
                    <a:pt x="31" y="0"/>
                  </a:cubicBez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Freeform 95"/>
            <p:cNvSpPr>
              <a:spLocks noEditPoints="1"/>
            </p:cNvSpPr>
            <p:nvPr/>
          </p:nvSpPr>
          <p:spPr bwMode="gray">
            <a:xfrm>
              <a:off x="9257012" y="4496120"/>
              <a:ext cx="280988" cy="279400"/>
            </a:xfrm>
            <a:custGeom>
              <a:avLst/>
              <a:gdLst>
                <a:gd name="T0" fmla="*/ 203 w 203"/>
                <a:gd name="T1" fmla="*/ 93 h 203"/>
                <a:gd name="T2" fmla="*/ 187 w 203"/>
                <a:gd name="T3" fmla="*/ 77 h 203"/>
                <a:gd name="T4" fmla="*/ 192 w 203"/>
                <a:gd name="T5" fmla="*/ 54 h 203"/>
                <a:gd name="T6" fmla="*/ 170 w 203"/>
                <a:gd name="T7" fmla="*/ 46 h 203"/>
                <a:gd name="T8" fmla="*/ 167 w 203"/>
                <a:gd name="T9" fmla="*/ 23 h 203"/>
                <a:gd name="T10" fmla="*/ 144 w 203"/>
                <a:gd name="T11" fmla="*/ 25 h 203"/>
                <a:gd name="T12" fmla="*/ 132 w 203"/>
                <a:gd name="T13" fmla="*/ 4 h 203"/>
                <a:gd name="T14" fmla="*/ 111 w 203"/>
                <a:gd name="T15" fmla="*/ 15 h 203"/>
                <a:gd name="T16" fmla="*/ 92 w 203"/>
                <a:gd name="T17" fmla="*/ 0 h 203"/>
                <a:gd name="T18" fmla="*/ 77 w 203"/>
                <a:gd name="T19" fmla="*/ 18 h 203"/>
                <a:gd name="T20" fmla="*/ 54 w 203"/>
                <a:gd name="T21" fmla="*/ 11 h 203"/>
                <a:gd name="T22" fmla="*/ 47 w 203"/>
                <a:gd name="T23" fmla="*/ 33 h 203"/>
                <a:gd name="T24" fmla="*/ 23 w 203"/>
                <a:gd name="T25" fmla="*/ 36 h 203"/>
                <a:gd name="T26" fmla="*/ 24 w 203"/>
                <a:gd name="T27" fmla="*/ 59 h 203"/>
                <a:gd name="T28" fmla="*/ 4 w 203"/>
                <a:gd name="T29" fmla="*/ 71 h 203"/>
                <a:gd name="T30" fmla="*/ 14 w 203"/>
                <a:gd name="T31" fmla="*/ 93 h 203"/>
                <a:gd name="T32" fmla="*/ 0 w 203"/>
                <a:gd name="T33" fmla="*/ 112 h 203"/>
                <a:gd name="T34" fmla="*/ 16 w 203"/>
                <a:gd name="T35" fmla="*/ 127 h 203"/>
                <a:gd name="T36" fmla="*/ 11 w 203"/>
                <a:gd name="T37" fmla="*/ 149 h 203"/>
                <a:gd name="T38" fmla="*/ 32 w 203"/>
                <a:gd name="T39" fmla="*/ 158 h 203"/>
                <a:gd name="T40" fmla="*/ 36 w 203"/>
                <a:gd name="T41" fmla="*/ 180 h 203"/>
                <a:gd name="T42" fmla="*/ 59 w 203"/>
                <a:gd name="T43" fmla="*/ 180 h 203"/>
                <a:gd name="T44" fmla="*/ 71 w 203"/>
                <a:gd name="T45" fmla="*/ 199 h 203"/>
                <a:gd name="T46" fmla="*/ 92 w 203"/>
                <a:gd name="T47" fmla="*/ 191 h 203"/>
                <a:gd name="T48" fmla="*/ 111 w 203"/>
                <a:gd name="T49" fmla="*/ 203 h 203"/>
                <a:gd name="T50" fmla="*/ 127 w 203"/>
                <a:gd name="T51" fmla="*/ 188 h 203"/>
                <a:gd name="T52" fmla="*/ 149 w 203"/>
                <a:gd name="T53" fmla="*/ 192 h 203"/>
                <a:gd name="T54" fmla="*/ 158 w 203"/>
                <a:gd name="T55" fmla="*/ 171 h 203"/>
                <a:gd name="T56" fmla="*/ 180 w 203"/>
                <a:gd name="T57" fmla="*/ 167 h 203"/>
                <a:gd name="T58" fmla="*/ 180 w 203"/>
                <a:gd name="T59" fmla="*/ 144 h 203"/>
                <a:gd name="T60" fmla="*/ 199 w 203"/>
                <a:gd name="T61" fmla="*/ 132 h 203"/>
                <a:gd name="T62" fmla="*/ 190 w 203"/>
                <a:gd name="T63" fmla="*/ 112 h 203"/>
                <a:gd name="T64" fmla="*/ 57 w 203"/>
                <a:gd name="T65" fmla="*/ 58 h 203"/>
                <a:gd name="T66" fmla="*/ 93 w 203"/>
                <a:gd name="T67" fmla="*/ 73 h 203"/>
                <a:gd name="T68" fmla="*/ 39 w 203"/>
                <a:gd name="T69" fmla="*/ 95 h 203"/>
                <a:gd name="T70" fmla="*/ 93 w 203"/>
                <a:gd name="T71" fmla="*/ 166 h 203"/>
                <a:gd name="T72" fmla="*/ 39 w 203"/>
                <a:gd name="T73" fmla="*/ 111 h 203"/>
                <a:gd name="T74" fmla="*/ 93 w 203"/>
                <a:gd name="T75" fmla="*/ 133 h 203"/>
                <a:gd name="T76" fmla="*/ 89 w 203"/>
                <a:gd name="T77" fmla="*/ 102 h 203"/>
                <a:gd name="T78" fmla="*/ 114 w 203"/>
                <a:gd name="T79" fmla="*/ 102 h 203"/>
                <a:gd name="T80" fmla="*/ 89 w 203"/>
                <a:gd name="T81" fmla="*/ 102 h 203"/>
                <a:gd name="T82" fmla="*/ 110 w 203"/>
                <a:gd name="T83" fmla="*/ 166 h 203"/>
                <a:gd name="T84" fmla="*/ 124 w 203"/>
                <a:gd name="T85" fmla="*/ 125 h 203"/>
                <a:gd name="T86" fmla="*/ 165 w 203"/>
                <a:gd name="T87" fmla="*/ 111 h 203"/>
                <a:gd name="T88" fmla="*/ 132 w 203"/>
                <a:gd name="T89" fmla="*/ 95 h 203"/>
                <a:gd name="T90" fmla="*/ 110 w 203"/>
                <a:gd name="T91" fmla="*/ 40 h 203"/>
                <a:gd name="T92" fmla="*/ 165 w 203"/>
                <a:gd name="T93" fmla="*/ 9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3" h="203">
                  <a:moveTo>
                    <a:pt x="203" y="112"/>
                  </a:moveTo>
                  <a:cubicBezTo>
                    <a:pt x="203" y="93"/>
                    <a:pt x="203" y="93"/>
                    <a:pt x="203" y="93"/>
                  </a:cubicBezTo>
                  <a:cubicBezTo>
                    <a:pt x="190" y="93"/>
                    <a:pt x="190" y="93"/>
                    <a:pt x="190" y="93"/>
                  </a:cubicBezTo>
                  <a:cubicBezTo>
                    <a:pt x="189" y="88"/>
                    <a:pt x="188" y="82"/>
                    <a:pt x="187" y="77"/>
                  </a:cubicBezTo>
                  <a:cubicBezTo>
                    <a:pt x="199" y="72"/>
                    <a:pt x="199" y="72"/>
                    <a:pt x="199" y="72"/>
                  </a:cubicBezTo>
                  <a:cubicBezTo>
                    <a:pt x="192" y="54"/>
                    <a:pt x="192" y="54"/>
                    <a:pt x="192" y="54"/>
                  </a:cubicBezTo>
                  <a:cubicBezTo>
                    <a:pt x="179" y="60"/>
                    <a:pt x="179" y="60"/>
                    <a:pt x="179" y="60"/>
                  </a:cubicBezTo>
                  <a:cubicBezTo>
                    <a:pt x="177" y="55"/>
                    <a:pt x="174" y="51"/>
                    <a:pt x="170" y="46"/>
                  </a:cubicBezTo>
                  <a:cubicBezTo>
                    <a:pt x="180" y="36"/>
                    <a:pt x="180" y="36"/>
                    <a:pt x="180" y="36"/>
                  </a:cubicBezTo>
                  <a:cubicBezTo>
                    <a:pt x="167" y="23"/>
                    <a:pt x="167" y="23"/>
                    <a:pt x="167" y="23"/>
                  </a:cubicBezTo>
                  <a:cubicBezTo>
                    <a:pt x="157" y="33"/>
                    <a:pt x="157" y="33"/>
                    <a:pt x="157" y="33"/>
                  </a:cubicBezTo>
                  <a:cubicBezTo>
                    <a:pt x="153" y="30"/>
                    <a:pt x="148" y="27"/>
                    <a:pt x="144" y="25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32" y="4"/>
                    <a:pt x="132" y="4"/>
                    <a:pt x="132" y="4"/>
                  </a:cubicBezTo>
                  <a:cubicBezTo>
                    <a:pt x="127" y="18"/>
                    <a:pt x="127" y="18"/>
                    <a:pt x="127" y="18"/>
                  </a:cubicBezTo>
                  <a:cubicBezTo>
                    <a:pt x="122" y="16"/>
                    <a:pt x="116" y="15"/>
                    <a:pt x="111" y="15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5"/>
                    <a:pt x="92" y="15"/>
                    <a:pt x="92" y="15"/>
                  </a:cubicBezTo>
                  <a:cubicBezTo>
                    <a:pt x="87" y="15"/>
                    <a:pt x="82" y="16"/>
                    <a:pt x="77" y="18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55" y="27"/>
                    <a:pt x="51" y="30"/>
                    <a:pt x="47" y="33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0" y="51"/>
                    <a:pt x="27" y="55"/>
                    <a:pt x="24" y="59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4" y="71"/>
                    <a:pt x="4" y="71"/>
                    <a:pt x="4" y="71"/>
                  </a:cubicBezTo>
                  <a:cubicBezTo>
                    <a:pt x="17" y="77"/>
                    <a:pt x="17" y="77"/>
                    <a:pt x="17" y="77"/>
                  </a:cubicBezTo>
                  <a:cubicBezTo>
                    <a:pt x="15" y="82"/>
                    <a:pt x="14" y="88"/>
                    <a:pt x="14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14" y="112"/>
                    <a:pt x="14" y="112"/>
                    <a:pt x="14" y="112"/>
                  </a:cubicBezTo>
                  <a:cubicBezTo>
                    <a:pt x="14" y="117"/>
                    <a:pt x="15" y="122"/>
                    <a:pt x="16" y="127"/>
                  </a:cubicBezTo>
                  <a:cubicBezTo>
                    <a:pt x="4" y="132"/>
                    <a:pt x="4" y="132"/>
                    <a:pt x="4" y="132"/>
                  </a:cubicBezTo>
                  <a:cubicBezTo>
                    <a:pt x="11" y="149"/>
                    <a:pt x="11" y="149"/>
                    <a:pt x="11" y="149"/>
                  </a:cubicBezTo>
                  <a:cubicBezTo>
                    <a:pt x="23" y="144"/>
                    <a:pt x="23" y="144"/>
                    <a:pt x="23" y="144"/>
                  </a:cubicBezTo>
                  <a:cubicBezTo>
                    <a:pt x="26" y="149"/>
                    <a:pt x="29" y="154"/>
                    <a:pt x="32" y="158"/>
                  </a:cubicBezTo>
                  <a:cubicBezTo>
                    <a:pt x="23" y="167"/>
                    <a:pt x="23" y="167"/>
                    <a:pt x="23" y="167"/>
                  </a:cubicBezTo>
                  <a:cubicBezTo>
                    <a:pt x="36" y="180"/>
                    <a:pt x="36" y="180"/>
                    <a:pt x="36" y="180"/>
                  </a:cubicBezTo>
                  <a:cubicBezTo>
                    <a:pt x="45" y="171"/>
                    <a:pt x="45" y="171"/>
                    <a:pt x="45" y="171"/>
                  </a:cubicBezTo>
                  <a:cubicBezTo>
                    <a:pt x="50" y="175"/>
                    <a:pt x="54" y="178"/>
                    <a:pt x="59" y="180"/>
                  </a:cubicBezTo>
                  <a:cubicBezTo>
                    <a:pt x="54" y="192"/>
                    <a:pt x="54" y="192"/>
                    <a:pt x="54" y="192"/>
                  </a:cubicBezTo>
                  <a:cubicBezTo>
                    <a:pt x="71" y="199"/>
                    <a:pt x="71" y="199"/>
                    <a:pt x="71" y="199"/>
                  </a:cubicBezTo>
                  <a:cubicBezTo>
                    <a:pt x="76" y="188"/>
                    <a:pt x="76" y="188"/>
                    <a:pt x="76" y="188"/>
                  </a:cubicBezTo>
                  <a:cubicBezTo>
                    <a:pt x="81" y="189"/>
                    <a:pt x="87" y="190"/>
                    <a:pt x="92" y="191"/>
                  </a:cubicBezTo>
                  <a:cubicBezTo>
                    <a:pt x="92" y="203"/>
                    <a:pt x="92" y="203"/>
                    <a:pt x="92" y="203"/>
                  </a:cubicBezTo>
                  <a:cubicBezTo>
                    <a:pt x="111" y="203"/>
                    <a:pt x="111" y="203"/>
                    <a:pt x="111" y="203"/>
                  </a:cubicBezTo>
                  <a:cubicBezTo>
                    <a:pt x="111" y="191"/>
                    <a:pt x="111" y="191"/>
                    <a:pt x="111" y="191"/>
                  </a:cubicBezTo>
                  <a:cubicBezTo>
                    <a:pt x="117" y="190"/>
                    <a:pt x="122" y="189"/>
                    <a:pt x="127" y="188"/>
                  </a:cubicBezTo>
                  <a:cubicBezTo>
                    <a:pt x="132" y="199"/>
                    <a:pt x="132" y="199"/>
                    <a:pt x="132" y="199"/>
                  </a:cubicBezTo>
                  <a:cubicBezTo>
                    <a:pt x="149" y="192"/>
                    <a:pt x="149" y="192"/>
                    <a:pt x="149" y="192"/>
                  </a:cubicBezTo>
                  <a:cubicBezTo>
                    <a:pt x="144" y="181"/>
                    <a:pt x="144" y="181"/>
                    <a:pt x="144" y="181"/>
                  </a:cubicBezTo>
                  <a:cubicBezTo>
                    <a:pt x="149" y="178"/>
                    <a:pt x="154" y="175"/>
                    <a:pt x="158" y="171"/>
                  </a:cubicBezTo>
                  <a:cubicBezTo>
                    <a:pt x="167" y="180"/>
                    <a:pt x="167" y="180"/>
                    <a:pt x="167" y="180"/>
                  </a:cubicBezTo>
                  <a:cubicBezTo>
                    <a:pt x="180" y="167"/>
                    <a:pt x="180" y="167"/>
                    <a:pt x="180" y="167"/>
                  </a:cubicBezTo>
                  <a:cubicBezTo>
                    <a:pt x="171" y="158"/>
                    <a:pt x="171" y="158"/>
                    <a:pt x="171" y="158"/>
                  </a:cubicBezTo>
                  <a:cubicBezTo>
                    <a:pt x="175" y="154"/>
                    <a:pt x="178" y="149"/>
                    <a:pt x="180" y="144"/>
                  </a:cubicBezTo>
                  <a:cubicBezTo>
                    <a:pt x="192" y="149"/>
                    <a:pt x="192" y="149"/>
                    <a:pt x="192" y="149"/>
                  </a:cubicBezTo>
                  <a:cubicBezTo>
                    <a:pt x="199" y="132"/>
                    <a:pt x="199" y="132"/>
                    <a:pt x="199" y="132"/>
                  </a:cubicBezTo>
                  <a:cubicBezTo>
                    <a:pt x="187" y="127"/>
                    <a:pt x="187" y="127"/>
                    <a:pt x="187" y="127"/>
                  </a:cubicBezTo>
                  <a:cubicBezTo>
                    <a:pt x="188" y="122"/>
                    <a:pt x="189" y="117"/>
                    <a:pt x="190" y="112"/>
                  </a:cubicBezTo>
                  <a:lnTo>
                    <a:pt x="203" y="112"/>
                  </a:lnTo>
                  <a:close/>
                  <a:moveTo>
                    <a:pt x="57" y="58"/>
                  </a:moveTo>
                  <a:cubicBezTo>
                    <a:pt x="67" y="48"/>
                    <a:pt x="80" y="41"/>
                    <a:pt x="93" y="40"/>
                  </a:cubicBezTo>
                  <a:cubicBezTo>
                    <a:pt x="93" y="73"/>
                    <a:pt x="93" y="73"/>
                    <a:pt x="93" y="73"/>
                  </a:cubicBezTo>
                  <a:cubicBezTo>
                    <a:pt x="83" y="76"/>
                    <a:pt x="75" y="84"/>
                    <a:pt x="72" y="95"/>
                  </a:cubicBezTo>
                  <a:cubicBezTo>
                    <a:pt x="39" y="95"/>
                    <a:pt x="39" y="95"/>
                    <a:pt x="39" y="95"/>
                  </a:cubicBezTo>
                  <a:cubicBezTo>
                    <a:pt x="40" y="81"/>
                    <a:pt x="47" y="68"/>
                    <a:pt x="57" y="58"/>
                  </a:cubicBezTo>
                  <a:close/>
                  <a:moveTo>
                    <a:pt x="93" y="166"/>
                  </a:moveTo>
                  <a:cubicBezTo>
                    <a:pt x="80" y="164"/>
                    <a:pt x="67" y="158"/>
                    <a:pt x="57" y="148"/>
                  </a:cubicBezTo>
                  <a:cubicBezTo>
                    <a:pt x="47" y="138"/>
                    <a:pt x="40" y="125"/>
                    <a:pt x="39" y="111"/>
                  </a:cubicBezTo>
                  <a:cubicBezTo>
                    <a:pt x="72" y="111"/>
                    <a:pt x="72" y="111"/>
                    <a:pt x="72" y="111"/>
                  </a:cubicBezTo>
                  <a:cubicBezTo>
                    <a:pt x="75" y="122"/>
                    <a:pt x="83" y="130"/>
                    <a:pt x="93" y="133"/>
                  </a:cubicBezTo>
                  <a:lnTo>
                    <a:pt x="93" y="166"/>
                  </a:lnTo>
                  <a:close/>
                  <a:moveTo>
                    <a:pt x="89" y="102"/>
                  </a:moveTo>
                  <a:cubicBezTo>
                    <a:pt x="89" y="95"/>
                    <a:pt x="95" y="89"/>
                    <a:pt x="102" y="89"/>
                  </a:cubicBezTo>
                  <a:cubicBezTo>
                    <a:pt x="109" y="89"/>
                    <a:pt x="114" y="95"/>
                    <a:pt x="114" y="102"/>
                  </a:cubicBezTo>
                  <a:cubicBezTo>
                    <a:pt x="114" y="109"/>
                    <a:pt x="109" y="114"/>
                    <a:pt x="102" y="114"/>
                  </a:cubicBezTo>
                  <a:cubicBezTo>
                    <a:pt x="95" y="114"/>
                    <a:pt x="89" y="109"/>
                    <a:pt x="89" y="102"/>
                  </a:cubicBezTo>
                  <a:close/>
                  <a:moveTo>
                    <a:pt x="147" y="148"/>
                  </a:moveTo>
                  <a:cubicBezTo>
                    <a:pt x="137" y="158"/>
                    <a:pt x="124" y="164"/>
                    <a:pt x="110" y="166"/>
                  </a:cubicBezTo>
                  <a:cubicBezTo>
                    <a:pt x="110" y="133"/>
                    <a:pt x="110" y="133"/>
                    <a:pt x="110" y="133"/>
                  </a:cubicBezTo>
                  <a:cubicBezTo>
                    <a:pt x="115" y="131"/>
                    <a:pt x="120" y="129"/>
                    <a:pt x="124" y="125"/>
                  </a:cubicBezTo>
                  <a:cubicBezTo>
                    <a:pt x="128" y="121"/>
                    <a:pt x="130" y="116"/>
                    <a:pt x="132" y="111"/>
                  </a:cubicBezTo>
                  <a:cubicBezTo>
                    <a:pt x="165" y="111"/>
                    <a:pt x="165" y="111"/>
                    <a:pt x="165" y="111"/>
                  </a:cubicBezTo>
                  <a:cubicBezTo>
                    <a:pt x="163" y="125"/>
                    <a:pt x="157" y="138"/>
                    <a:pt x="147" y="148"/>
                  </a:cubicBezTo>
                  <a:close/>
                  <a:moveTo>
                    <a:pt x="132" y="95"/>
                  </a:moveTo>
                  <a:cubicBezTo>
                    <a:pt x="129" y="84"/>
                    <a:pt x="121" y="76"/>
                    <a:pt x="110" y="73"/>
                  </a:cubicBezTo>
                  <a:cubicBezTo>
                    <a:pt x="110" y="40"/>
                    <a:pt x="110" y="40"/>
                    <a:pt x="110" y="40"/>
                  </a:cubicBezTo>
                  <a:cubicBezTo>
                    <a:pt x="124" y="41"/>
                    <a:pt x="137" y="48"/>
                    <a:pt x="147" y="58"/>
                  </a:cubicBezTo>
                  <a:cubicBezTo>
                    <a:pt x="157" y="68"/>
                    <a:pt x="163" y="81"/>
                    <a:pt x="165" y="95"/>
                  </a:cubicBezTo>
                  <a:lnTo>
                    <a:pt x="132" y="95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Freeform 96"/>
            <p:cNvSpPr>
              <a:spLocks noEditPoints="1"/>
            </p:cNvSpPr>
            <p:nvPr/>
          </p:nvSpPr>
          <p:spPr bwMode="gray">
            <a:xfrm>
              <a:off x="9109375" y="4723133"/>
              <a:ext cx="254000" cy="254000"/>
            </a:xfrm>
            <a:custGeom>
              <a:avLst/>
              <a:gdLst>
                <a:gd name="T0" fmla="*/ 184 w 184"/>
                <a:gd name="T1" fmla="*/ 112 h 185"/>
                <a:gd name="T2" fmla="*/ 161 w 184"/>
                <a:gd name="T3" fmla="*/ 89 h 185"/>
                <a:gd name="T4" fmla="*/ 181 w 184"/>
                <a:gd name="T5" fmla="*/ 63 h 185"/>
                <a:gd name="T6" fmla="*/ 150 w 184"/>
                <a:gd name="T7" fmla="*/ 55 h 185"/>
                <a:gd name="T8" fmla="*/ 155 w 184"/>
                <a:gd name="T9" fmla="*/ 22 h 185"/>
                <a:gd name="T10" fmla="*/ 123 w 184"/>
                <a:gd name="T11" fmla="*/ 31 h 185"/>
                <a:gd name="T12" fmla="*/ 111 w 184"/>
                <a:gd name="T13" fmla="*/ 0 h 185"/>
                <a:gd name="T14" fmla="*/ 88 w 184"/>
                <a:gd name="T15" fmla="*/ 23 h 185"/>
                <a:gd name="T16" fmla="*/ 63 w 184"/>
                <a:gd name="T17" fmla="*/ 3 h 185"/>
                <a:gd name="T18" fmla="*/ 54 w 184"/>
                <a:gd name="T19" fmla="*/ 34 h 185"/>
                <a:gd name="T20" fmla="*/ 22 w 184"/>
                <a:gd name="T21" fmla="*/ 29 h 185"/>
                <a:gd name="T22" fmla="*/ 30 w 184"/>
                <a:gd name="T23" fmla="*/ 61 h 185"/>
                <a:gd name="T24" fmla="*/ 0 w 184"/>
                <a:gd name="T25" fmla="*/ 73 h 185"/>
                <a:gd name="T26" fmla="*/ 23 w 184"/>
                <a:gd name="T27" fmla="*/ 96 h 185"/>
                <a:gd name="T28" fmla="*/ 2 w 184"/>
                <a:gd name="T29" fmla="*/ 121 h 185"/>
                <a:gd name="T30" fmla="*/ 34 w 184"/>
                <a:gd name="T31" fmla="*/ 130 h 185"/>
                <a:gd name="T32" fmla="*/ 29 w 184"/>
                <a:gd name="T33" fmla="*/ 162 h 185"/>
                <a:gd name="T34" fmla="*/ 60 w 184"/>
                <a:gd name="T35" fmla="*/ 154 h 185"/>
                <a:gd name="T36" fmla="*/ 72 w 184"/>
                <a:gd name="T37" fmla="*/ 185 h 185"/>
                <a:gd name="T38" fmla="*/ 95 w 184"/>
                <a:gd name="T39" fmla="*/ 161 h 185"/>
                <a:gd name="T40" fmla="*/ 121 w 184"/>
                <a:gd name="T41" fmla="*/ 182 h 185"/>
                <a:gd name="T42" fmla="*/ 129 w 184"/>
                <a:gd name="T43" fmla="*/ 150 h 185"/>
                <a:gd name="T44" fmla="*/ 162 w 184"/>
                <a:gd name="T45" fmla="*/ 156 h 185"/>
                <a:gd name="T46" fmla="*/ 153 w 184"/>
                <a:gd name="T47" fmla="*/ 124 h 185"/>
                <a:gd name="T48" fmla="*/ 184 w 184"/>
                <a:gd name="T49" fmla="*/ 112 h 185"/>
                <a:gd name="T50" fmla="*/ 92 w 184"/>
                <a:gd name="T51" fmla="*/ 115 h 185"/>
                <a:gd name="T52" fmla="*/ 69 w 184"/>
                <a:gd name="T53" fmla="*/ 92 h 185"/>
                <a:gd name="T54" fmla="*/ 92 w 184"/>
                <a:gd name="T55" fmla="*/ 70 h 185"/>
                <a:gd name="T56" fmla="*/ 114 w 184"/>
                <a:gd name="T57" fmla="*/ 92 h 185"/>
                <a:gd name="T58" fmla="*/ 92 w 184"/>
                <a:gd name="T59" fmla="*/ 115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84" h="185">
                  <a:moveTo>
                    <a:pt x="184" y="112"/>
                  </a:moveTo>
                  <a:cubicBezTo>
                    <a:pt x="161" y="89"/>
                    <a:pt x="161" y="89"/>
                    <a:pt x="161" y="89"/>
                  </a:cubicBezTo>
                  <a:cubicBezTo>
                    <a:pt x="181" y="63"/>
                    <a:pt x="181" y="63"/>
                    <a:pt x="181" y="63"/>
                  </a:cubicBezTo>
                  <a:cubicBezTo>
                    <a:pt x="150" y="55"/>
                    <a:pt x="150" y="55"/>
                    <a:pt x="150" y="55"/>
                  </a:cubicBezTo>
                  <a:cubicBezTo>
                    <a:pt x="155" y="22"/>
                    <a:pt x="155" y="22"/>
                    <a:pt x="155" y="22"/>
                  </a:cubicBezTo>
                  <a:cubicBezTo>
                    <a:pt x="123" y="31"/>
                    <a:pt x="123" y="31"/>
                    <a:pt x="123" y="31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88" y="23"/>
                    <a:pt x="88" y="23"/>
                    <a:pt x="88" y="23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54" y="34"/>
                    <a:pt x="54" y="34"/>
                    <a:pt x="54" y="34"/>
                  </a:cubicBezTo>
                  <a:cubicBezTo>
                    <a:pt x="22" y="29"/>
                    <a:pt x="22" y="29"/>
                    <a:pt x="22" y="29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23" y="96"/>
                    <a:pt x="23" y="96"/>
                    <a:pt x="23" y="96"/>
                  </a:cubicBezTo>
                  <a:cubicBezTo>
                    <a:pt x="2" y="121"/>
                    <a:pt x="2" y="121"/>
                    <a:pt x="2" y="121"/>
                  </a:cubicBezTo>
                  <a:cubicBezTo>
                    <a:pt x="34" y="130"/>
                    <a:pt x="34" y="130"/>
                    <a:pt x="34" y="130"/>
                  </a:cubicBezTo>
                  <a:cubicBezTo>
                    <a:pt x="29" y="162"/>
                    <a:pt x="29" y="162"/>
                    <a:pt x="29" y="162"/>
                  </a:cubicBezTo>
                  <a:cubicBezTo>
                    <a:pt x="60" y="154"/>
                    <a:pt x="60" y="154"/>
                    <a:pt x="60" y="154"/>
                  </a:cubicBezTo>
                  <a:cubicBezTo>
                    <a:pt x="72" y="185"/>
                    <a:pt x="72" y="185"/>
                    <a:pt x="72" y="185"/>
                  </a:cubicBezTo>
                  <a:cubicBezTo>
                    <a:pt x="95" y="161"/>
                    <a:pt x="95" y="161"/>
                    <a:pt x="95" y="161"/>
                  </a:cubicBezTo>
                  <a:cubicBezTo>
                    <a:pt x="121" y="182"/>
                    <a:pt x="121" y="182"/>
                    <a:pt x="121" y="182"/>
                  </a:cubicBezTo>
                  <a:cubicBezTo>
                    <a:pt x="129" y="150"/>
                    <a:pt x="129" y="150"/>
                    <a:pt x="129" y="150"/>
                  </a:cubicBezTo>
                  <a:cubicBezTo>
                    <a:pt x="162" y="156"/>
                    <a:pt x="162" y="156"/>
                    <a:pt x="162" y="156"/>
                  </a:cubicBezTo>
                  <a:cubicBezTo>
                    <a:pt x="153" y="124"/>
                    <a:pt x="153" y="124"/>
                    <a:pt x="153" y="124"/>
                  </a:cubicBezTo>
                  <a:lnTo>
                    <a:pt x="184" y="112"/>
                  </a:lnTo>
                  <a:close/>
                  <a:moveTo>
                    <a:pt x="92" y="115"/>
                  </a:moveTo>
                  <a:cubicBezTo>
                    <a:pt x="79" y="115"/>
                    <a:pt x="69" y="105"/>
                    <a:pt x="69" y="92"/>
                  </a:cubicBezTo>
                  <a:cubicBezTo>
                    <a:pt x="69" y="80"/>
                    <a:pt x="79" y="70"/>
                    <a:pt x="92" y="70"/>
                  </a:cubicBezTo>
                  <a:cubicBezTo>
                    <a:pt x="104" y="70"/>
                    <a:pt x="114" y="80"/>
                    <a:pt x="114" y="92"/>
                  </a:cubicBezTo>
                  <a:cubicBezTo>
                    <a:pt x="114" y="105"/>
                    <a:pt x="104" y="115"/>
                    <a:pt x="92" y="115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2" name="Freeform 97"/>
            <p:cNvSpPr>
              <a:spLocks noEditPoints="1"/>
            </p:cNvSpPr>
            <p:nvPr/>
          </p:nvSpPr>
          <p:spPr bwMode="gray">
            <a:xfrm>
              <a:off x="9464975" y="4650108"/>
              <a:ext cx="358775" cy="355600"/>
            </a:xfrm>
            <a:custGeom>
              <a:avLst/>
              <a:gdLst>
                <a:gd name="T0" fmla="*/ 247 w 259"/>
                <a:gd name="T1" fmla="*/ 139 h 259"/>
                <a:gd name="T2" fmla="*/ 228 w 259"/>
                <a:gd name="T3" fmla="*/ 133 h 259"/>
                <a:gd name="T4" fmla="*/ 224 w 259"/>
                <a:gd name="T5" fmla="*/ 103 h 259"/>
                <a:gd name="T6" fmla="*/ 241 w 259"/>
                <a:gd name="T7" fmla="*/ 94 h 259"/>
                <a:gd name="T8" fmla="*/ 247 w 259"/>
                <a:gd name="T9" fmla="*/ 73 h 259"/>
                <a:gd name="T10" fmla="*/ 239 w 259"/>
                <a:gd name="T11" fmla="*/ 59 h 259"/>
                <a:gd name="T12" fmla="*/ 219 w 259"/>
                <a:gd name="T13" fmla="*/ 53 h 259"/>
                <a:gd name="T14" fmla="*/ 202 w 259"/>
                <a:gd name="T15" fmla="*/ 63 h 259"/>
                <a:gd name="T16" fmla="*/ 178 w 259"/>
                <a:gd name="T17" fmla="*/ 44 h 259"/>
                <a:gd name="T18" fmla="*/ 183 w 259"/>
                <a:gd name="T19" fmla="*/ 25 h 259"/>
                <a:gd name="T20" fmla="*/ 173 w 259"/>
                <a:gd name="T21" fmla="*/ 7 h 259"/>
                <a:gd name="T22" fmla="*/ 157 w 259"/>
                <a:gd name="T23" fmla="*/ 2 h 259"/>
                <a:gd name="T24" fmla="*/ 138 w 259"/>
                <a:gd name="T25" fmla="*/ 12 h 259"/>
                <a:gd name="T26" fmla="*/ 133 w 259"/>
                <a:gd name="T27" fmla="*/ 31 h 259"/>
                <a:gd name="T28" fmla="*/ 103 w 259"/>
                <a:gd name="T29" fmla="*/ 35 h 259"/>
                <a:gd name="T30" fmla="*/ 93 w 259"/>
                <a:gd name="T31" fmla="*/ 18 h 259"/>
                <a:gd name="T32" fmla="*/ 73 w 259"/>
                <a:gd name="T33" fmla="*/ 12 h 259"/>
                <a:gd name="T34" fmla="*/ 59 w 259"/>
                <a:gd name="T35" fmla="*/ 20 h 259"/>
                <a:gd name="T36" fmla="*/ 53 w 259"/>
                <a:gd name="T37" fmla="*/ 40 h 259"/>
                <a:gd name="T38" fmla="*/ 63 w 259"/>
                <a:gd name="T39" fmla="*/ 58 h 259"/>
                <a:gd name="T40" fmla="*/ 44 w 259"/>
                <a:gd name="T41" fmla="*/ 81 h 259"/>
                <a:gd name="T42" fmla="*/ 25 w 259"/>
                <a:gd name="T43" fmla="*/ 76 h 259"/>
                <a:gd name="T44" fmla="*/ 7 w 259"/>
                <a:gd name="T45" fmla="*/ 86 h 259"/>
                <a:gd name="T46" fmla="*/ 2 w 259"/>
                <a:gd name="T47" fmla="*/ 103 h 259"/>
                <a:gd name="T48" fmla="*/ 12 w 259"/>
                <a:gd name="T49" fmla="*/ 121 h 259"/>
                <a:gd name="T50" fmla="*/ 31 w 259"/>
                <a:gd name="T51" fmla="*/ 126 h 259"/>
                <a:gd name="T52" fmla="*/ 35 w 259"/>
                <a:gd name="T53" fmla="*/ 156 h 259"/>
                <a:gd name="T54" fmla="*/ 18 w 259"/>
                <a:gd name="T55" fmla="*/ 166 h 259"/>
                <a:gd name="T56" fmla="*/ 12 w 259"/>
                <a:gd name="T57" fmla="*/ 186 h 259"/>
                <a:gd name="T58" fmla="*/ 20 w 259"/>
                <a:gd name="T59" fmla="*/ 201 h 259"/>
                <a:gd name="T60" fmla="*/ 40 w 259"/>
                <a:gd name="T61" fmla="*/ 206 h 259"/>
                <a:gd name="T62" fmla="*/ 58 w 259"/>
                <a:gd name="T63" fmla="*/ 197 h 259"/>
                <a:gd name="T64" fmla="*/ 81 w 259"/>
                <a:gd name="T65" fmla="*/ 215 h 259"/>
                <a:gd name="T66" fmla="*/ 76 w 259"/>
                <a:gd name="T67" fmla="*/ 234 h 259"/>
                <a:gd name="T68" fmla="*/ 86 w 259"/>
                <a:gd name="T69" fmla="*/ 253 h 259"/>
                <a:gd name="T70" fmla="*/ 102 w 259"/>
                <a:gd name="T71" fmla="*/ 257 h 259"/>
                <a:gd name="T72" fmla="*/ 121 w 259"/>
                <a:gd name="T73" fmla="*/ 247 h 259"/>
                <a:gd name="T74" fmla="*/ 126 w 259"/>
                <a:gd name="T75" fmla="*/ 228 h 259"/>
                <a:gd name="T76" fmla="*/ 156 w 259"/>
                <a:gd name="T77" fmla="*/ 224 h 259"/>
                <a:gd name="T78" fmla="*/ 166 w 259"/>
                <a:gd name="T79" fmla="*/ 242 h 259"/>
                <a:gd name="T80" fmla="*/ 186 w 259"/>
                <a:gd name="T81" fmla="*/ 247 h 259"/>
                <a:gd name="T82" fmla="*/ 200 w 259"/>
                <a:gd name="T83" fmla="*/ 239 h 259"/>
                <a:gd name="T84" fmla="*/ 206 w 259"/>
                <a:gd name="T85" fmla="*/ 219 h 259"/>
                <a:gd name="T86" fmla="*/ 197 w 259"/>
                <a:gd name="T87" fmla="*/ 202 h 259"/>
                <a:gd name="T88" fmla="*/ 215 w 259"/>
                <a:gd name="T89" fmla="*/ 178 h 259"/>
                <a:gd name="T90" fmla="*/ 234 w 259"/>
                <a:gd name="T91" fmla="*/ 183 h 259"/>
                <a:gd name="T92" fmla="*/ 252 w 259"/>
                <a:gd name="T93" fmla="*/ 173 h 259"/>
                <a:gd name="T94" fmla="*/ 257 w 259"/>
                <a:gd name="T95" fmla="*/ 157 h 259"/>
                <a:gd name="T96" fmla="*/ 247 w 259"/>
                <a:gd name="T97" fmla="*/ 139 h 259"/>
                <a:gd name="T98" fmla="*/ 116 w 259"/>
                <a:gd name="T99" fmla="*/ 178 h 259"/>
                <a:gd name="T100" fmla="*/ 82 w 259"/>
                <a:gd name="T101" fmla="*/ 116 h 259"/>
                <a:gd name="T102" fmla="*/ 143 w 259"/>
                <a:gd name="T103" fmla="*/ 82 h 259"/>
                <a:gd name="T104" fmla="*/ 177 w 259"/>
                <a:gd name="T105" fmla="*/ 143 h 259"/>
                <a:gd name="T106" fmla="*/ 116 w 259"/>
                <a:gd name="T107" fmla="*/ 178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59" h="259">
                  <a:moveTo>
                    <a:pt x="247" y="139"/>
                  </a:moveTo>
                  <a:cubicBezTo>
                    <a:pt x="228" y="133"/>
                    <a:pt x="228" y="133"/>
                    <a:pt x="228" y="133"/>
                  </a:cubicBezTo>
                  <a:cubicBezTo>
                    <a:pt x="228" y="123"/>
                    <a:pt x="227" y="113"/>
                    <a:pt x="224" y="103"/>
                  </a:cubicBezTo>
                  <a:cubicBezTo>
                    <a:pt x="241" y="94"/>
                    <a:pt x="241" y="94"/>
                    <a:pt x="241" y="94"/>
                  </a:cubicBezTo>
                  <a:cubicBezTo>
                    <a:pt x="249" y="90"/>
                    <a:pt x="251" y="81"/>
                    <a:pt x="247" y="73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5" y="52"/>
                    <a:pt x="226" y="49"/>
                    <a:pt x="219" y="53"/>
                  </a:cubicBezTo>
                  <a:cubicBezTo>
                    <a:pt x="202" y="63"/>
                    <a:pt x="202" y="63"/>
                    <a:pt x="202" y="63"/>
                  </a:cubicBezTo>
                  <a:cubicBezTo>
                    <a:pt x="195" y="55"/>
                    <a:pt x="187" y="49"/>
                    <a:pt x="178" y="44"/>
                  </a:cubicBezTo>
                  <a:cubicBezTo>
                    <a:pt x="183" y="25"/>
                    <a:pt x="183" y="25"/>
                    <a:pt x="183" y="25"/>
                  </a:cubicBezTo>
                  <a:cubicBezTo>
                    <a:pt x="185" y="17"/>
                    <a:pt x="181" y="9"/>
                    <a:pt x="173" y="7"/>
                  </a:cubicBezTo>
                  <a:cubicBezTo>
                    <a:pt x="157" y="2"/>
                    <a:pt x="157" y="2"/>
                    <a:pt x="157" y="2"/>
                  </a:cubicBezTo>
                  <a:cubicBezTo>
                    <a:pt x="149" y="0"/>
                    <a:pt x="141" y="5"/>
                    <a:pt x="138" y="12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23" y="31"/>
                    <a:pt x="113" y="32"/>
                    <a:pt x="103" y="35"/>
                  </a:cubicBezTo>
                  <a:cubicBezTo>
                    <a:pt x="93" y="18"/>
                    <a:pt x="93" y="18"/>
                    <a:pt x="93" y="18"/>
                  </a:cubicBezTo>
                  <a:cubicBezTo>
                    <a:pt x="90" y="11"/>
                    <a:pt x="80" y="8"/>
                    <a:pt x="73" y="12"/>
                  </a:cubicBezTo>
                  <a:cubicBezTo>
                    <a:pt x="59" y="20"/>
                    <a:pt x="59" y="20"/>
                    <a:pt x="59" y="20"/>
                  </a:cubicBezTo>
                  <a:cubicBezTo>
                    <a:pt x="51" y="24"/>
                    <a:pt x="49" y="33"/>
                    <a:pt x="53" y="40"/>
                  </a:cubicBezTo>
                  <a:cubicBezTo>
                    <a:pt x="63" y="58"/>
                    <a:pt x="63" y="58"/>
                    <a:pt x="63" y="58"/>
                  </a:cubicBezTo>
                  <a:cubicBezTo>
                    <a:pt x="55" y="64"/>
                    <a:pt x="49" y="72"/>
                    <a:pt x="44" y="81"/>
                  </a:cubicBezTo>
                  <a:cubicBezTo>
                    <a:pt x="25" y="76"/>
                    <a:pt x="25" y="76"/>
                    <a:pt x="25" y="76"/>
                  </a:cubicBezTo>
                  <a:cubicBezTo>
                    <a:pt x="17" y="74"/>
                    <a:pt x="9" y="78"/>
                    <a:pt x="7" y="86"/>
                  </a:cubicBezTo>
                  <a:cubicBezTo>
                    <a:pt x="2" y="103"/>
                    <a:pt x="2" y="103"/>
                    <a:pt x="2" y="103"/>
                  </a:cubicBezTo>
                  <a:cubicBezTo>
                    <a:pt x="0" y="110"/>
                    <a:pt x="4" y="119"/>
                    <a:pt x="12" y="121"/>
                  </a:cubicBezTo>
                  <a:cubicBezTo>
                    <a:pt x="31" y="126"/>
                    <a:pt x="31" y="126"/>
                    <a:pt x="31" y="126"/>
                  </a:cubicBezTo>
                  <a:cubicBezTo>
                    <a:pt x="31" y="136"/>
                    <a:pt x="32" y="146"/>
                    <a:pt x="35" y="156"/>
                  </a:cubicBezTo>
                  <a:cubicBezTo>
                    <a:pt x="18" y="166"/>
                    <a:pt x="18" y="166"/>
                    <a:pt x="18" y="166"/>
                  </a:cubicBezTo>
                  <a:cubicBezTo>
                    <a:pt x="11" y="170"/>
                    <a:pt x="8" y="179"/>
                    <a:pt x="12" y="186"/>
                  </a:cubicBezTo>
                  <a:cubicBezTo>
                    <a:pt x="20" y="201"/>
                    <a:pt x="20" y="201"/>
                    <a:pt x="20" y="201"/>
                  </a:cubicBezTo>
                  <a:cubicBezTo>
                    <a:pt x="24" y="208"/>
                    <a:pt x="33" y="210"/>
                    <a:pt x="40" y="206"/>
                  </a:cubicBezTo>
                  <a:cubicBezTo>
                    <a:pt x="58" y="197"/>
                    <a:pt x="58" y="197"/>
                    <a:pt x="58" y="197"/>
                  </a:cubicBezTo>
                  <a:cubicBezTo>
                    <a:pt x="64" y="204"/>
                    <a:pt x="72" y="210"/>
                    <a:pt x="81" y="215"/>
                  </a:cubicBezTo>
                  <a:cubicBezTo>
                    <a:pt x="76" y="234"/>
                    <a:pt x="76" y="234"/>
                    <a:pt x="76" y="234"/>
                  </a:cubicBezTo>
                  <a:cubicBezTo>
                    <a:pt x="74" y="242"/>
                    <a:pt x="78" y="250"/>
                    <a:pt x="86" y="253"/>
                  </a:cubicBezTo>
                  <a:cubicBezTo>
                    <a:pt x="102" y="257"/>
                    <a:pt x="102" y="257"/>
                    <a:pt x="102" y="257"/>
                  </a:cubicBezTo>
                  <a:cubicBezTo>
                    <a:pt x="110" y="259"/>
                    <a:pt x="118" y="255"/>
                    <a:pt x="121" y="247"/>
                  </a:cubicBezTo>
                  <a:cubicBezTo>
                    <a:pt x="126" y="228"/>
                    <a:pt x="126" y="228"/>
                    <a:pt x="126" y="228"/>
                  </a:cubicBezTo>
                  <a:cubicBezTo>
                    <a:pt x="136" y="228"/>
                    <a:pt x="146" y="227"/>
                    <a:pt x="156" y="224"/>
                  </a:cubicBezTo>
                  <a:cubicBezTo>
                    <a:pt x="166" y="242"/>
                    <a:pt x="166" y="242"/>
                    <a:pt x="166" y="242"/>
                  </a:cubicBezTo>
                  <a:cubicBezTo>
                    <a:pt x="170" y="249"/>
                    <a:pt x="179" y="251"/>
                    <a:pt x="186" y="247"/>
                  </a:cubicBezTo>
                  <a:cubicBezTo>
                    <a:pt x="200" y="239"/>
                    <a:pt x="200" y="239"/>
                    <a:pt x="200" y="239"/>
                  </a:cubicBezTo>
                  <a:cubicBezTo>
                    <a:pt x="208" y="235"/>
                    <a:pt x="210" y="226"/>
                    <a:pt x="206" y="219"/>
                  </a:cubicBezTo>
                  <a:cubicBezTo>
                    <a:pt x="197" y="202"/>
                    <a:pt x="197" y="202"/>
                    <a:pt x="197" y="202"/>
                  </a:cubicBezTo>
                  <a:cubicBezTo>
                    <a:pt x="204" y="195"/>
                    <a:pt x="210" y="187"/>
                    <a:pt x="215" y="178"/>
                  </a:cubicBezTo>
                  <a:cubicBezTo>
                    <a:pt x="234" y="183"/>
                    <a:pt x="234" y="183"/>
                    <a:pt x="234" y="183"/>
                  </a:cubicBezTo>
                  <a:cubicBezTo>
                    <a:pt x="242" y="185"/>
                    <a:pt x="250" y="181"/>
                    <a:pt x="252" y="173"/>
                  </a:cubicBezTo>
                  <a:cubicBezTo>
                    <a:pt x="257" y="157"/>
                    <a:pt x="257" y="157"/>
                    <a:pt x="257" y="157"/>
                  </a:cubicBezTo>
                  <a:cubicBezTo>
                    <a:pt x="259" y="149"/>
                    <a:pt x="255" y="141"/>
                    <a:pt x="247" y="139"/>
                  </a:cubicBezTo>
                  <a:close/>
                  <a:moveTo>
                    <a:pt x="116" y="178"/>
                  </a:moveTo>
                  <a:cubicBezTo>
                    <a:pt x="90" y="170"/>
                    <a:pt x="74" y="143"/>
                    <a:pt x="82" y="116"/>
                  </a:cubicBezTo>
                  <a:cubicBezTo>
                    <a:pt x="89" y="90"/>
                    <a:pt x="117" y="74"/>
                    <a:pt x="143" y="82"/>
                  </a:cubicBezTo>
                  <a:cubicBezTo>
                    <a:pt x="169" y="89"/>
                    <a:pt x="185" y="117"/>
                    <a:pt x="177" y="143"/>
                  </a:cubicBezTo>
                  <a:cubicBezTo>
                    <a:pt x="170" y="170"/>
                    <a:pt x="142" y="185"/>
                    <a:pt x="116" y="178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3" name="Freeform 98"/>
            <p:cNvSpPr>
              <a:spLocks noEditPoints="1"/>
            </p:cNvSpPr>
            <p:nvPr/>
          </p:nvSpPr>
          <p:spPr bwMode="gray">
            <a:xfrm>
              <a:off x="9818987" y="4658045"/>
              <a:ext cx="227013" cy="228600"/>
            </a:xfrm>
            <a:custGeom>
              <a:avLst/>
              <a:gdLst>
                <a:gd name="T0" fmla="*/ 165 w 165"/>
                <a:gd name="T1" fmla="*/ 75 h 166"/>
                <a:gd name="T2" fmla="*/ 165 w 165"/>
                <a:gd name="T3" fmla="*/ 75 h 166"/>
                <a:gd name="T4" fmla="*/ 151 w 165"/>
                <a:gd name="T5" fmla="*/ 63 h 166"/>
                <a:gd name="T6" fmla="*/ 156 w 165"/>
                <a:gd name="T7" fmla="*/ 44 h 166"/>
                <a:gd name="T8" fmla="*/ 138 w 165"/>
                <a:gd name="T9" fmla="*/ 38 h 166"/>
                <a:gd name="T10" fmla="*/ 136 w 165"/>
                <a:gd name="T11" fmla="*/ 19 h 166"/>
                <a:gd name="T12" fmla="*/ 117 w 165"/>
                <a:gd name="T13" fmla="*/ 20 h 166"/>
                <a:gd name="T14" fmla="*/ 107 w 165"/>
                <a:gd name="T15" fmla="*/ 3 h 166"/>
                <a:gd name="T16" fmla="*/ 90 w 165"/>
                <a:gd name="T17" fmla="*/ 12 h 166"/>
                <a:gd name="T18" fmla="*/ 90 w 165"/>
                <a:gd name="T19" fmla="*/ 0 h 166"/>
                <a:gd name="T20" fmla="*/ 75 w 165"/>
                <a:gd name="T21" fmla="*/ 0 h 166"/>
                <a:gd name="T22" fmla="*/ 62 w 165"/>
                <a:gd name="T23" fmla="*/ 14 h 166"/>
                <a:gd name="T24" fmla="*/ 44 w 165"/>
                <a:gd name="T25" fmla="*/ 9 h 166"/>
                <a:gd name="T26" fmla="*/ 36 w 165"/>
                <a:gd name="T27" fmla="*/ 27 h 166"/>
                <a:gd name="T28" fmla="*/ 18 w 165"/>
                <a:gd name="T29" fmla="*/ 30 h 166"/>
                <a:gd name="T30" fmla="*/ 19 w 165"/>
                <a:gd name="T31" fmla="*/ 48 h 166"/>
                <a:gd name="T32" fmla="*/ 3 w 165"/>
                <a:gd name="T33" fmla="*/ 58 h 166"/>
                <a:gd name="T34" fmla="*/ 10 w 165"/>
                <a:gd name="T35" fmla="*/ 75 h 166"/>
                <a:gd name="T36" fmla="*/ 0 w 165"/>
                <a:gd name="T37" fmla="*/ 75 h 166"/>
                <a:gd name="T38" fmla="*/ 0 w 165"/>
                <a:gd name="T39" fmla="*/ 80 h 166"/>
                <a:gd name="T40" fmla="*/ 0 w 165"/>
                <a:gd name="T41" fmla="*/ 90 h 166"/>
                <a:gd name="T42" fmla="*/ 10 w 165"/>
                <a:gd name="T43" fmla="*/ 90 h 166"/>
                <a:gd name="T44" fmla="*/ 3 w 165"/>
                <a:gd name="T45" fmla="*/ 107 h 166"/>
                <a:gd name="T46" fmla="*/ 18 w 165"/>
                <a:gd name="T47" fmla="*/ 118 h 166"/>
                <a:gd name="T48" fmla="*/ 18 w 165"/>
                <a:gd name="T49" fmla="*/ 136 h 166"/>
                <a:gd name="T50" fmla="*/ 36 w 165"/>
                <a:gd name="T51" fmla="*/ 140 h 166"/>
                <a:gd name="T52" fmla="*/ 44 w 165"/>
                <a:gd name="T53" fmla="*/ 156 h 166"/>
                <a:gd name="T54" fmla="*/ 62 w 165"/>
                <a:gd name="T55" fmla="*/ 153 h 166"/>
                <a:gd name="T56" fmla="*/ 75 w 165"/>
                <a:gd name="T57" fmla="*/ 166 h 166"/>
                <a:gd name="T58" fmla="*/ 90 w 165"/>
                <a:gd name="T59" fmla="*/ 166 h 166"/>
                <a:gd name="T60" fmla="*/ 90 w 165"/>
                <a:gd name="T61" fmla="*/ 155 h 166"/>
                <a:gd name="T62" fmla="*/ 107 w 165"/>
                <a:gd name="T63" fmla="*/ 162 h 166"/>
                <a:gd name="T64" fmla="*/ 117 w 165"/>
                <a:gd name="T65" fmla="*/ 146 h 166"/>
                <a:gd name="T66" fmla="*/ 135 w 165"/>
                <a:gd name="T67" fmla="*/ 147 h 166"/>
                <a:gd name="T68" fmla="*/ 138 w 165"/>
                <a:gd name="T69" fmla="*/ 129 h 166"/>
                <a:gd name="T70" fmla="*/ 156 w 165"/>
                <a:gd name="T71" fmla="*/ 122 h 166"/>
                <a:gd name="T72" fmla="*/ 151 w 165"/>
                <a:gd name="T73" fmla="*/ 103 h 166"/>
                <a:gd name="T74" fmla="*/ 165 w 165"/>
                <a:gd name="T75" fmla="*/ 90 h 166"/>
                <a:gd name="T76" fmla="*/ 133 w 165"/>
                <a:gd name="T77" fmla="*/ 75 h 166"/>
                <a:gd name="T78" fmla="*/ 104 w 165"/>
                <a:gd name="T79" fmla="*/ 71 h 166"/>
                <a:gd name="T80" fmla="*/ 113 w 165"/>
                <a:gd name="T81" fmla="*/ 42 h 166"/>
                <a:gd name="T82" fmla="*/ 90 w 165"/>
                <a:gd name="T83" fmla="*/ 59 h 166"/>
                <a:gd name="T84" fmla="*/ 113 w 165"/>
                <a:gd name="T85" fmla="*/ 42 h 166"/>
                <a:gd name="T86" fmla="*/ 75 w 165"/>
                <a:gd name="T87" fmla="*/ 90 h 166"/>
                <a:gd name="T88" fmla="*/ 90 w 165"/>
                <a:gd name="T89" fmla="*/ 76 h 166"/>
                <a:gd name="T90" fmla="*/ 75 w 165"/>
                <a:gd name="T91" fmla="*/ 32 h 166"/>
                <a:gd name="T92" fmla="*/ 69 w 165"/>
                <a:gd name="T93" fmla="*/ 61 h 166"/>
                <a:gd name="T94" fmla="*/ 75 w 165"/>
                <a:gd name="T95" fmla="*/ 32 h 166"/>
                <a:gd name="T96" fmla="*/ 60 w 165"/>
                <a:gd name="T97" fmla="*/ 71 h 166"/>
                <a:gd name="T98" fmla="*/ 31 w 165"/>
                <a:gd name="T99" fmla="*/ 75 h 166"/>
                <a:gd name="T100" fmla="*/ 41 w 165"/>
                <a:gd name="T101" fmla="*/ 115 h 166"/>
                <a:gd name="T102" fmla="*/ 57 w 165"/>
                <a:gd name="T103" fmla="*/ 90 h 166"/>
                <a:gd name="T104" fmla="*/ 41 w 165"/>
                <a:gd name="T105" fmla="*/ 115 h 166"/>
                <a:gd name="T106" fmla="*/ 69 w 165"/>
                <a:gd name="T107" fmla="*/ 106 h 166"/>
                <a:gd name="T108" fmla="*/ 75 w 165"/>
                <a:gd name="T109" fmla="*/ 135 h 166"/>
                <a:gd name="T110" fmla="*/ 90 w 165"/>
                <a:gd name="T111" fmla="*/ 135 h 166"/>
                <a:gd name="T112" fmla="*/ 94 w 165"/>
                <a:gd name="T113" fmla="*/ 106 h 166"/>
                <a:gd name="T114" fmla="*/ 90 w 165"/>
                <a:gd name="T115" fmla="*/ 135 h 166"/>
                <a:gd name="T116" fmla="*/ 104 w 165"/>
                <a:gd name="T117" fmla="*/ 96 h 166"/>
                <a:gd name="T118" fmla="*/ 133 w 165"/>
                <a:gd name="T119" fmla="*/ 9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5" h="166">
                  <a:moveTo>
                    <a:pt x="165" y="90"/>
                  </a:moveTo>
                  <a:cubicBezTo>
                    <a:pt x="165" y="75"/>
                    <a:pt x="165" y="75"/>
                    <a:pt x="165" y="75"/>
                  </a:cubicBezTo>
                  <a:cubicBezTo>
                    <a:pt x="165" y="75"/>
                    <a:pt x="165" y="75"/>
                    <a:pt x="165" y="75"/>
                  </a:cubicBezTo>
                  <a:cubicBezTo>
                    <a:pt x="165" y="75"/>
                    <a:pt x="165" y="75"/>
                    <a:pt x="165" y="75"/>
                  </a:cubicBezTo>
                  <a:cubicBezTo>
                    <a:pt x="154" y="75"/>
                    <a:pt x="154" y="75"/>
                    <a:pt x="154" y="75"/>
                  </a:cubicBezTo>
                  <a:cubicBezTo>
                    <a:pt x="153" y="71"/>
                    <a:pt x="152" y="67"/>
                    <a:pt x="151" y="63"/>
                  </a:cubicBezTo>
                  <a:cubicBezTo>
                    <a:pt x="162" y="58"/>
                    <a:pt x="162" y="58"/>
                    <a:pt x="162" y="58"/>
                  </a:cubicBezTo>
                  <a:cubicBezTo>
                    <a:pt x="156" y="44"/>
                    <a:pt x="156" y="44"/>
                    <a:pt x="156" y="44"/>
                  </a:cubicBezTo>
                  <a:cubicBezTo>
                    <a:pt x="145" y="49"/>
                    <a:pt x="145" y="49"/>
                    <a:pt x="145" y="49"/>
                  </a:cubicBezTo>
                  <a:cubicBezTo>
                    <a:pt x="143" y="45"/>
                    <a:pt x="141" y="41"/>
                    <a:pt x="138" y="38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36" y="19"/>
                    <a:pt x="136" y="19"/>
                    <a:pt x="136" y="19"/>
                  </a:cubicBezTo>
                  <a:cubicBezTo>
                    <a:pt x="127" y="27"/>
                    <a:pt x="127" y="27"/>
                    <a:pt x="127" y="27"/>
                  </a:cubicBezTo>
                  <a:cubicBezTo>
                    <a:pt x="124" y="25"/>
                    <a:pt x="120" y="22"/>
                    <a:pt x="117" y="20"/>
                  </a:cubicBezTo>
                  <a:cubicBezTo>
                    <a:pt x="121" y="9"/>
                    <a:pt x="121" y="9"/>
                    <a:pt x="121" y="9"/>
                  </a:cubicBezTo>
                  <a:cubicBezTo>
                    <a:pt x="107" y="3"/>
                    <a:pt x="107" y="3"/>
                    <a:pt x="107" y="3"/>
                  </a:cubicBezTo>
                  <a:cubicBezTo>
                    <a:pt x="103" y="14"/>
                    <a:pt x="103" y="14"/>
                    <a:pt x="103" y="14"/>
                  </a:cubicBezTo>
                  <a:cubicBezTo>
                    <a:pt x="99" y="13"/>
                    <a:pt x="94" y="12"/>
                    <a:pt x="90" y="12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5" y="12"/>
                    <a:pt x="75" y="12"/>
                    <a:pt x="75" y="12"/>
                  </a:cubicBezTo>
                  <a:cubicBezTo>
                    <a:pt x="71" y="12"/>
                    <a:pt x="66" y="13"/>
                    <a:pt x="62" y="14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44" y="22"/>
                    <a:pt x="40" y="24"/>
                    <a:pt x="36" y="27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3" y="41"/>
                    <a:pt x="21" y="45"/>
                    <a:pt x="19" y="48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11" y="66"/>
                    <a:pt x="11" y="71"/>
                    <a:pt x="1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0" y="95"/>
                    <a:pt x="11" y="99"/>
                    <a:pt x="12" y="103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9" y="121"/>
                    <a:pt x="9" y="121"/>
                    <a:pt x="9" y="121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20" y="122"/>
                    <a:pt x="23" y="125"/>
                    <a:pt x="26" y="129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29" y="147"/>
                    <a:pt x="29" y="147"/>
                    <a:pt x="29" y="147"/>
                  </a:cubicBezTo>
                  <a:cubicBezTo>
                    <a:pt x="36" y="140"/>
                    <a:pt x="36" y="140"/>
                    <a:pt x="36" y="140"/>
                  </a:cubicBezTo>
                  <a:cubicBezTo>
                    <a:pt x="40" y="142"/>
                    <a:pt x="44" y="145"/>
                    <a:pt x="48" y="147"/>
                  </a:cubicBezTo>
                  <a:cubicBezTo>
                    <a:pt x="44" y="156"/>
                    <a:pt x="44" y="156"/>
                    <a:pt x="44" y="156"/>
                  </a:cubicBezTo>
                  <a:cubicBezTo>
                    <a:pt x="58" y="162"/>
                    <a:pt x="58" y="162"/>
                    <a:pt x="58" y="162"/>
                  </a:cubicBezTo>
                  <a:cubicBezTo>
                    <a:pt x="62" y="153"/>
                    <a:pt x="62" y="153"/>
                    <a:pt x="62" y="153"/>
                  </a:cubicBezTo>
                  <a:cubicBezTo>
                    <a:pt x="66" y="154"/>
                    <a:pt x="70" y="155"/>
                    <a:pt x="75" y="155"/>
                  </a:cubicBezTo>
                  <a:cubicBezTo>
                    <a:pt x="75" y="166"/>
                    <a:pt x="75" y="166"/>
                    <a:pt x="75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55"/>
                    <a:pt x="90" y="155"/>
                    <a:pt x="90" y="155"/>
                  </a:cubicBezTo>
                  <a:cubicBezTo>
                    <a:pt x="94" y="155"/>
                    <a:pt x="99" y="154"/>
                    <a:pt x="103" y="152"/>
                  </a:cubicBezTo>
                  <a:cubicBezTo>
                    <a:pt x="107" y="162"/>
                    <a:pt x="107" y="162"/>
                    <a:pt x="107" y="162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17" y="146"/>
                    <a:pt x="117" y="146"/>
                    <a:pt x="117" y="146"/>
                  </a:cubicBezTo>
                  <a:cubicBezTo>
                    <a:pt x="121" y="144"/>
                    <a:pt x="124" y="142"/>
                    <a:pt x="127" y="140"/>
                  </a:cubicBezTo>
                  <a:cubicBezTo>
                    <a:pt x="135" y="147"/>
                    <a:pt x="135" y="147"/>
                    <a:pt x="135" y="147"/>
                  </a:cubicBezTo>
                  <a:cubicBezTo>
                    <a:pt x="146" y="137"/>
                    <a:pt x="146" y="137"/>
                    <a:pt x="146" y="137"/>
                  </a:cubicBezTo>
                  <a:cubicBezTo>
                    <a:pt x="138" y="129"/>
                    <a:pt x="138" y="129"/>
                    <a:pt x="138" y="129"/>
                  </a:cubicBezTo>
                  <a:cubicBezTo>
                    <a:pt x="141" y="125"/>
                    <a:pt x="143" y="121"/>
                    <a:pt x="146" y="117"/>
                  </a:cubicBezTo>
                  <a:cubicBezTo>
                    <a:pt x="156" y="122"/>
                    <a:pt x="156" y="122"/>
                    <a:pt x="156" y="122"/>
                  </a:cubicBezTo>
                  <a:cubicBezTo>
                    <a:pt x="162" y="108"/>
                    <a:pt x="162" y="108"/>
                    <a:pt x="162" y="108"/>
                  </a:cubicBezTo>
                  <a:cubicBezTo>
                    <a:pt x="151" y="103"/>
                    <a:pt x="151" y="103"/>
                    <a:pt x="151" y="103"/>
                  </a:cubicBezTo>
                  <a:cubicBezTo>
                    <a:pt x="152" y="99"/>
                    <a:pt x="153" y="95"/>
                    <a:pt x="154" y="90"/>
                  </a:cubicBezTo>
                  <a:lnTo>
                    <a:pt x="165" y="90"/>
                  </a:lnTo>
                  <a:close/>
                  <a:moveTo>
                    <a:pt x="123" y="52"/>
                  </a:moveTo>
                  <a:cubicBezTo>
                    <a:pt x="128" y="59"/>
                    <a:pt x="132" y="67"/>
                    <a:pt x="133" y="75"/>
                  </a:cubicBezTo>
                  <a:cubicBezTo>
                    <a:pt x="106" y="75"/>
                    <a:pt x="106" y="75"/>
                    <a:pt x="106" y="75"/>
                  </a:cubicBezTo>
                  <a:cubicBezTo>
                    <a:pt x="105" y="74"/>
                    <a:pt x="105" y="72"/>
                    <a:pt x="104" y="71"/>
                  </a:cubicBezTo>
                  <a:lnTo>
                    <a:pt x="123" y="52"/>
                  </a:lnTo>
                  <a:close/>
                  <a:moveTo>
                    <a:pt x="113" y="42"/>
                  </a:moveTo>
                  <a:cubicBezTo>
                    <a:pt x="94" y="61"/>
                    <a:pt x="94" y="61"/>
                    <a:pt x="94" y="61"/>
                  </a:cubicBezTo>
                  <a:cubicBezTo>
                    <a:pt x="93" y="61"/>
                    <a:pt x="92" y="60"/>
                    <a:pt x="90" y="59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9" y="34"/>
                    <a:pt x="107" y="37"/>
                    <a:pt x="113" y="42"/>
                  </a:cubicBezTo>
                  <a:close/>
                  <a:moveTo>
                    <a:pt x="90" y="90"/>
                  </a:moveTo>
                  <a:cubicBezTo>
                    <a:pt x="86" y="94"/>
                    <a:pt x="79" y="94"/>
                    <a:pt x="75" y="90"/>
                  </a:cubicBezTo>
                  <a:cubicBezTo>
                    <a:pt x="71" y="86"/>
                    <a:pt x="71" y="80"/>
                    <a:pt x="75" y="76"/>
                  </a:cubicBezTo>
                  <a:cubicBezTo>
                    <a:pt x="79" y="72"/>
                    <a:pt x="86" y="72"/>
                    <a:pt x="90" y="76"/>
                  </a:cubicBezTo>
                  <a:cubicBezTo>
                    <a:pt x="94" y="80"/>
                    <a:pt x="94" y="86"/>
                    <a:pt x="90" y="90"/>
                  </a:cubicBezTo>
                  <a:close/>
                  <a:moveTo>
                    <a:pt x="75" y="32"/>
                  </a:moveTo>
                  <a:cubicBezTo>
                    <a:pt x="75" y="59"/>
                    <a:pt x="75" y="59"/>
                    <a:pt x="75" y="59"/>
                  </a:cubicBezTo>
                  <a:cubicBezTo>
                    <a:pt x="73" y="60"/>
                    <a:pt x="71" y="60"/>
                    <a:pt x="69" y="61"/>
                  </a:cubicBezTo>
                  <a:cubicBezTo>
                    <a:pt x="50" y="42"/>
                    <a:pt x="50" y="42"/>
                    <a:pt x="50" y="42"/>
                  </a:cubicBezTo>
                  <a:cubicBezTo>
                    <a:pt x="57" y="37"/>
                    <a:pt x="66" y="33"/>
                    <a:pt x="75" y="32"/>
                  </a:cubicBezTo>
                  <a:close/>
                  <a:moveTo>
                    <a:pt x="41" y="52"/>
                  </a:moveTo>
                  <a:cubicBezTo>
                    <a:pt x="60" y="71"/>
                    <a:pt x="60" y="71"/>
                    <a:pt x="60" y="71"/>
                  </a:cubicBezTo>
                  <a:cubicBezTo>
                    <a:pt x="59" y="72"/>
                    <a:pt x="58" y="74"/>
                    <a:pt x="58" y="75"/>
                  </a:cubicBezTo>
                  <a:cubicBezTo>
                    <a:pt x="31" y="75"/>
                    <a:pt x="31" y="75"/>
                    <a:pt x="31" y="75"/>
                  </a:cubicBezTo>
                  <a:cubicBezTo>
                    <a:pt x="32" y="67"/>
                    <a:pt x="35" y="59"/>
                    <a:pt x="41" y="52"/>
                  </a:cubicBezTo>
                  <a:close/>
                  <a:moveTo>
                    <a:pt x="41" y="115"/>
                  </a:moveTo>
                  <a:cubicBezTo>
                    <a:pt x="35" y="108"/>
                    <a:pt x="32" y="99"/>
                    <a:pt x="30" y="9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8" y="92"/>
                    <a:pt x="59" y="94"/>
                    <a:pt x="60" y="96"/>
                  </a:cubicBezTo>
                  <a:lnTo>
                    <a:pt x="41" y="115"/>
                  </a:lnTo>
                  <a:close/>
                  <a:moveTo>
                    <a:pt x="50" y="125"/>
                  </a:moveTo>
                  <a:cubicBezTo>
                    <a:pt x="69" y="106"/>
                    <a:pt x="69" y="106"/>
                    <a:pt x="69" y="106"/>
                  </a:cubicBezTo>
                  <a:cubicBezTo>
                    <a:pt x="71" y="107"/>
                    <a:pt x="73" y="107"/>
                    <a:pt x="75" y="108"/>
                  </a:cubicBezTo>
                  <a:cubicBezTo>
                    <a:pt x="75" y="135"/>
                    <a:pt x="75" y="135"/>
                    <a:pt x="75" y="135"/>
                  </a:cubicBezTo>
                  <a:cubicBezTo>
                    <a:pt x="66" y="134"/>
                    <a:pt x="57" y="130"/>
                    <a:pt x="50" y="125"/>
                  </a:cubicBezTo>
                  <a:close/>
                  <a:moveTo>
                    <a:pt x="90" y="135"/>
                  </a:moveTo>
                  <a:cubicBezTo>
                    <a:pt x="90" y="107"/>
                    <a:pt x="90" y="107"/>
                    <a:pt x="90" y="107"/>
                  </a:cubicBezTo>
                  <a:cubicBezTo>
                    <a:pt x="92" y="107"/>
                    <a:pt x="93" y="106"/>
                    <a:pt x="94" y="106"/>
                  </a:cubicBezTo>
                  <a:cubicBezTo>
                    <a:pt x="113" y="125"/>
                    <a:pt x="113" y="125"/>
                    <a:pt x="113" y="125"/>
                  </a:cubicBezTo>
                  <a:cubicBezTo>
                    <a:pt x="107" y="130"/>
                    <a:pt x="99" y="133"/>
                    <a:pt x="90" y="135"/>
                  </a:cubicBezTo>
                  <a:close/>
                  <a:moveTo>
                    <a:pt x="123" y="115"/>
                  </a:moveTo>
                  <a:cubicBezTo>
                    <a:pt x="104" y="96"/>
                    <a:pt x="104" y="96"/>
                    <a:pt x="104" y="96"/>
                  </a:cubicBezTo>
                  <a:cubicBezTo>
                    <a:pt x="105" y="94"/>
                    <a:pt x="106" y="92"/>
                    <a:pt x="106" y="90"/>
                  </a:cubicBezTo>
                  <a:cubicBezTo>
                    <a:pt x="133" y="90"/>
                    <a:pt x="133" y="90"/>
                    <a:pt x="133" y="90"/>
                  </a:cubicBezTo>
                  <a:cubicBezTo>
                    <a:pt x="132" y="99"/>
                    <a:pt x="129" y="108"/>
                    <a:pt x="123" y="115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4" name="Freeform 99"/>
            <p:cNvSpPr>
              <a:spLocks/>
            </p:cNvSpPr>
            <p:nvPr/>
          </p:nvSpPr>
          <p:spPr bwMode="gray">
            <a:xfrm>
              <a:off x="9061750" y="4907283"/>
              <a:ext cx="1035050" cy="211137"/>
            </a:xfrm>
            <a:custGeom>
              <a:avLst/>
              <a:gdLst>
                <a:gd name="T0" fmla="*/ 3 w 748"/>
                <a:gd name="T1" fmla="*/ 0 h 153"/>
                <a:gd name="T2" fmla="*/ 0 w 748"/>
                <a:gd name="T3" fmla="*/ 26 h 153"/>
                <a:gd name="T4" fmla="*/ 127 w 748"/>
                <a:gd name="T5" fmla="*/ 153 h 153"/>
                <a:gd name="T6" fmla="*/ 621 w 748"/>
                <a:gd name="T7" fmla="*/ 153 h 153"/>
                <a:gd name="T8" fmla="*/ 748 w 748"/>
                <a:gd name="T9" fmla="*/ 26 h 153"/>
                <a:gd name="T10" fmla="*/ 745 w 748"/>
                <a:gd name="T11" fmla="*/ 0 h 153"/>
                <a:gd name="T12" fmla="*/ 3 w 748"/>
                <a:gd name="T13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8" h="153">
                  <a:moveTo>
                    <a:pt x="3" y="0"/>
                  </a:moveTo>
                  <a:cubicBezTo>
                    <a:pt x="1" y="9"/>
                    <a:pt x="0" y="17"/>
                    <a:pt x="0" y="26"/>
                  </a:cubicBezTo>
                  <a:cubicBezTo>
                    <a:pt x="0" y="96"/>
                    <a:pt x="57" y="153"/>
                    <a:pt x="127" y="153"/>
                  </a:cubicBezTo>
                  <a:cubicBezTo>
                    <a:pt x="621" y="153"/>
                    <a:pt x="621" y="153"/>
                    <a:pt x="621" y="153"/>
                  </a:cubicBezTo>
                  <a:cubicBezTo>
                    <a:pt x="691" y="153"/>
                    <a:pt x="748" y="96"/>
                    <a:pt x="748" y="26"/>
                  </a:cubicBezTo>
                  <a:cubicBezTo>
                    <a:pt x="748" y="17"/>
                    <a:pt x="747" y="9"/>
                    <a:pt x="745" y="0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5" name="Freeform 100"/>
            <p:cNvSpPr>
              <a:spLocks/>
            </p:cNvSpPr>
            <p:nvPr/>
          </p:nvSpPr>
          <p:spPr bwMode="gray">
            <a:xfrm>
              <a:off x="9101437" y="4907283"/>
              <a:ext cx="995363" cy="211137"/>
            </a:xfrm>
            <a:custGeom>
              <a:avLst/>
              <a:gdLst>
                <a:gd name="T0" fmla="*/ 716 w 719"/>
                <a:gd name="T1" fmla="*/ 0 h 153"/>
                <a:gd name="T2" fmla="*/ 700 w 719"/>
                <a:gd name="T3" fmla="*/ 0 h 153"/>
                <a:gd name="T4" fmla="*/ 701 w 719"/>
                <a:gd name="T5" fmla="*/ 8 h 153"/>
                <a:gd name="T6" fmla="*/ 573 w 719"/>
                <a:gd name="T7" fmla="*/ 135 h 153"/>
                <a:gd name="T8" fmla="*/ 80 w 719"/>
                <a:gd name="T9" fmla="*/ 135 h 153"/>
                <a:gd name="T10" fmla="*/ 0 w 719"/>
                <a:gd name="T11" fmla="*/ 106 h 153"/>
                <a:gd name="T12" fmla="*/ 98 w 719"/>
                <a:gd name="T13" fmla="*/ 153 h 153"/>
                <a:gd name="T14" fmla="*/ 592 w 719"/>
                <a:gd name="T15" fmla="*/ 153 h 153"/>
                <a:gd name="T16" fmla="*/ 719 w 719"/>
                <a:gd name="T17" fmla="*/ 26 h 153"/>
                <a:gd name="T18" fmla="*/ 716 w 719"/>
                <a:gd name="T19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19" h="153">
                  <a:moveTo>
                    <a:pt x="716" y="0"/>
                  </a:moveTo>
                  <a:cubicBezTo>
                    <a:pt x="700" y="0"/>
                    <a:pt x="700" y="0"/>
                    <a:pt x="700" y="0"/>
                  </a:cubicBezTo>
                  <a:cubicBezTo>
                    <a:pt x="701" y="3"/>
                    <a:pt x="701" y="5"/>
                    <a:pt x="701" y="8"/>
                  </a:cubicBezTo>
                  <a:cubicBezTo>
                    <a:pt x="701" y="78"/>
                    <a:pt x="644" y="135"/>
                    <a:pt x="573" y="135"/>
                  </a:cubicBezTo>
                  <a:cubicBezTo>
                    <a:pt x="80" y="135"/>
                    <a:pt x="80" y="135"/>
                    <a:pt x="80" y="135"/>
                  </a:cubicBezTo>
                  <a:cubicBezTo>
                    <a:pt x="50" y="135"/>
                    <a:pt x="22" y="124"/>
                    <a:pt x="0" y="106"/>
                  </a:cubicBezTo>
                  <a:cubicBezTo>
                    <a:pt x="23" y="135"/>
                    <a:pt x="59" y="153"/>
                    <a:pt x="98" y="153"/>
                  </a:cubicBezTo>
                  <a:cubicBezTo>
                    <a:pt x="592" y="153"/>
                    <a:pt x="592" y="153"/>
                    <a:pt x="592" y="153"/>
                  </a:cubicBezTo>
                  <a:cubicBezTo>
                    <a:pt x="662" y="153"/>
                    <a:pt x="719" y="96"/>
                    <a:pt x="719" y="26"/>
                  </a:cubicBezTo>
                  <a:cubicBezTo>
                    <a:pt x="719" y="17"/>
                    <a:pt x="718" y="9"/>
                    <a:pt x="716" y="0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6" name="Freeform 101"/>
            <p:cNvSpPr>
              <a:spLocks/>
            </p:cNvSpPr>
            <p:nvPr/>
          </p:nvSpPr>
          <p:spPr bwMode="gray">
            <a:xfrm>
              <a:off x="9064925" y="4192908"/>
              <a:ext cx="1028700" cy="377825"/>
            </a:xfrm>
            <a:custGeom>
              <a:avLst/>
              <a:gdLst>
                <a:gd name="T0" fmla="*/ 744 w 744"/>
                <a:gd name="T1" fmla="*/ 274 h 274"/>
                <a:gd name="T2" fmla="*/ 621 w 744"/>
                <a:gd name="T3" fmla="*/ 173 h 274"/>
                <a:gd name="T4" fmla="*/ 581 w 744"/>
                <a:gd name="T5" fmla="*/ 179 h 274"/>
                <a:gd name="T6" fmla="*/ 457 w 744"/>
                <a:gd name="T7" fmla="*/ 68 h 274"/>
                <a:gd name="T8" fmla="*/ 372 w 744"/>
                <a:gd name="T9" fmla="*/ 101 h 274"/>
                <a:gd name="T10" fmla="*/ 249 w 744"/>
                <a:gd name="T11" fmla="*/ 0 h 274"/>
                <a:gd name="T12" fmla="*/ 123 w 744"/>
                <a:gd name="T13" fmla="*/ 125 h 274"/>
                <a:gd name="T14" fmla="*/ 133 w 744"/>
                <a:gd name="T15" fmla="*/ 173 h 274"/>
                <a:gd name="T16" fmla="*/ 123 w 744"/>
                <a:gd name="T17" fmla="*/ 173 h 274"/>
                <a:gd name="T18" fmla="*/ 0 w 744"/>
                <a:gd name="T19" fmla="*/ 274 h 274"/>
                <a:gd name="T20" fmla="*/ 744 w 744"/>
                <a:gd name="T21" fmla="*/ 27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44" h="274">
                  <a:moveTo>
                    <a:pt x="744" y="274"/>
                  </a:moveTo>
                  <a:cubicBezTo>
                    <a:pt x="733" y="217"/>
                    <a:pt x="682" y="173"/>
                    <a:pt x="621" y="173"/>
                  </a:cubicBezTo>
                  <a:cubicBezTo>
                    <a:pt x="607" y="173"/>
                    <a:pt x="594" y="175"/>
                    <a:pt x="581" y="179"/>
                  </a:cubicBezTo>
                  <a:cubicBezTo>
                    <a:pt x="574" y="117"/>
                    <a:pt x="521" y="68"/>
                    <a:pt x="457" y="68"/>
                  </a:cubicBezTo>
                  <a:cubicBezTo>
                    <a:pt x="424" y="68"/>
                    <a:pt x="394" y="81"/>
                    <a:pt x="372" y="101"/>
                  </a:cubicBezTo>
                  <a:cubicBezTo>
                    <a:pt x="361" y="44"/>
                    <a:pt x="310" y="0"/>
                    <a:pt x="249" y="0"/>
                  </a:cubicBezTo>
                  <a:cubicBezTo>
                    <a:pt x="179" y="0"/>
                    <a:pt x="123" y="56"/>
                    <a:pt x="123" y="125"/>
                  </a:cubicBezTo>
                  <a:cubicBezTo>
                    <a:pt x="123" y="142"/>
                    <a:pt x="127" y="159"/>
                    <a:pt x="133" y="173"/>
                  </a:cubicBezTo>
                  <a:cubicBezTo>
                    <a:pt x="130" y="173"/>
                    <a:pt x="127" y="173"/>
                    <a:pt x="123" y="173"/>
                  </a:cubicBezTo>
                  <a:cubicBezTo>
                    <a:pt x="62" y="173"/>
                    <a:pt x="12" y="217"/>
                    <a:pt x="0" y="274"/>
                  </a:cubicBezTo>
                  <a:lnTo>
                    <a:pt x="744" y="2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Freeform 102"/>
            <p:cNvSpPr>
              <a:spLocks/>
            </p:cNvSpPr>
            <p:nvPr/>
          </p:nvSpPr>
          <p:spPr bwMode="gray">
            <a:xfrm>
              <a:off x="9268125" y="4192908"/>
              <a:ext cx="825500" cy="377825"/>
            </a:xfrm>
            <a:custGeom>
              <a:avLst/>
              <a:gdLst>
                <a:gd name="T0" fmla="*/ 80 w 597"/>
                <a:gd name="T1" fmla="*/ 23 h 274"/>
                <a:gd name="T2" fmla="*/ 203 w 597"/>
                <a:gd name="T3" fmla="*/ 125 h 274"/>
                <a:gd name="T4" fmla="*/ 288 w 597"/>
                <a:gd name="T5" fmla="*/ 91 h 274"/>
                <a:gd name="T6" fmla="*/ 413 w 597"/>
                <a:gd name="T7" fmla="*/ 203 h 274"/>
                <a:gd name="T8" fmla="*/ 452 w 597"/>
                <a:gd name="T9" fmla="*/ 196 h 274"/>
                <a:gd name="T10" fmla="*/ 568 w 597"/>
                <a:gd name="T11" fmla="*/ 274 h 274"/>
                <a:gd name="T12" fmla="*/ 597 w 597"/>
                <a:gd name="T13" fmla="*/ 274 h 274"/>
                <a:gd name="T14" fmla="*/ 474 w 597"/>
                <a:gd name="T15" fmla="*/ 173 h 274"/>
                <a:gd name="T16" fmla="*/ 434 w 597"/>
                <a:gd name="T17" fmla="*/ 179 h 274"/>
                <a:gd name="T18" fmla="*/ 310 w 597"/>
                <a:gd name="T19" fmla="*/ 68 h 274"/>
                <a:gd name="T20" fmla="*/ 225 w 597"/>
                <a:gd name="T21" fmla="*/ 101 h 274"/>
                <a:gd name="T22" fmla="*/ 102 w 597"/>
                <a:gd name="T23" fmla="*/ 0 h 274"/>
                <a:gd name="T24" fmla="*/ 0 w 597"/>
                <a:gd name="T25" fmla="*/ 52 h 274"/>
                <a:gd name="T26" fmla="*/ 80 w 597"/>
                <a:gd name="T27" fmla="*/ 23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97" h="274">
                  <a:moveTo>
                    <a:pt x="80" y="23"/>
                  </a:moveTo>
                  <a:cubicBezTo>
                    <a:pt x="141" y="23"/>
                    <a:pt x="192" y="67"/>
                    <a:pt x="203" y="125"/>
                  </a:cubicBezTo>
                  <a:cubicBezTo>
                    <a:pt x="225" y="104"/>
                    <a:pt x="255" y="91"/>
                    <a:pt x="288" y="91"/>
                  </a:cubicBezTo>
                  <a:cubicBezTo>
                    <a:pt x="353" y="91"/>
                    <a:pt x="406" y="140"/>
                    <a:pt x="413" y="203"/>
                  </a:cubicBezTo>
                  <a:cubicBezTo>
                    <a:pt x="425" y="199"/>
                    <a:pt x="438" y="196"/>
                    <a:pt x="452" y="196"/>
                  </a:cubicBezTo>
                  <a:cubicBezTo>
                    <a:pt x="505" y="196"/>
                    <a:pt x="549" y="229"/>
                    <a:pt x="568" y="274"/>
                  </a:cubicBezTo>
                  <a:cubicBezTo>
                    <a:pt x="597" y="274"/>
                    <a:pt x="597" y="274"/>
                    <a:pt x="597" y="274"/>
                  </a:cubicBezTo>
                  <a:cubicBezTo>
                    <a:pt x="586" y="217"/>
                    <a:pt x="535" y="173"/>
                    <a:pt x="474" y="173"/>
                  </a:cubicBezTo>
                  <a:cubicBezTo>
                    <a:pt x="460" y="173"/>
                    <a:pt x="447" y="175"/>
                    <a:pt x="434" y="179"/>
                  </a:cubicBezTo>
                  <a:cubicBezTo>
                    <a:pt x="427" y="117"/>
                    <a:pt x="374" y="68"/>
                    <a:pt x="310" y="68"/>
                  </a:cubicBezTo>
                  <a:cubicBezTo>
                    <a:pt x="277" y="68"/>
                    <a:pt x="247" y="81"/>
                    <a:pt x="225" y="101"/>
                  </a:cubicBezTo>
                  <a:cubicBezTo>
                    <a:pt x="214" y="44"/>
                    <a:pt x="163" y="0"/>
                    <a:pt x="102" y="0"/>
                  </a:cubicBezTo>
                  <a:cubicBezTo>
                    <a:pt x="60" y="0"/>
                    <a:pt x="23" y="20"/>
                    <a:pt x="0" y="52"/>
                  </a:cubicBezTo>
                  <a:cubicBezTo>
                    <a:pt x="22" y="34"/>
                    <a:pt x="49" y="23"/>
                    <a:pt x="80" y="23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8" name="Oval 103"/>
            <p:cNvSpPr>
              <a:spLocks noChangeArrowheads="1"/>
            </p:cNvSpPr>
            <p:nvPr/>
          </p:nvSpPr>
          <p:spPr bwMode="gray">
            <a:xfrm>
              <a:off x="11085812" y="5396233"/>
              <a:ext cx="103188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9" name="Oval 104"/>
            <p:cNvSpPr>
              <a:spLocks noChangeArrowheads="1"/>
            </p:cNvSpPr>
            <p:nvPr/>
          </p:nvSpPr>
          <p:spPr bwMode="gray">
            <a:xfrm>
              <a:off x="10884200" y="5396233"/>
              <a:ext cx="101600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0" name="Freeform 105"/>
            <p:cNvSpPr>
              <a:spLocks/>
            </p:cNvSpPr>
            <p:nvPr/>
          </p:nvSpPr>
          <p:spPr bwMode="gray">
            <a:xfrm>
              <a:off x="10884200" y="5412108"/>
              <a:ext cx="85725" cy="87312"/>
            </a:xfrm>
            <a:custGeom>
              <a:avLst/>
              <a:gdLst>
                <a:gd name="T0" fmla="*/ 37 w 62"/>
                <a:gd name="T1" fmla="*/ 63 h 63"/>
                <a:gd name="T2" fmla="*/ 62 w 62"/>
                <a:gd name="T3" fmla="*/ 52 h 63"/>
                <a:gd name="T4" fmla="*/ 11 w 62"/>
                <a:gd name="T5" fmla="*/ 0 h 63"/>
                <a:gd name="T6" fmla="*/ 0 w 62"/>
                <a:gd name="T7" fmla="*/ 26 h 63"/>
                <a:gd name="T8" fmla="*/ 37 w 62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63">
                  <a:moveTo>
                    <a:pt x="37" y="63"/>
                  </a:moveTo>
                  <a:cubicBezTo>
                    <a:pt x="47" y="63"/>
                    <a:pt x="56" y="59"/>
                    <a:pt x="62" y="5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6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1" name="Freeform 106"/>
            <p:cNvSpPr>
              <a:spLocks/>
            </p:cNvSpPr>
            <p:nvPr/>
          </p:nvSpPr>
          <p:spPr bwMode="gray">
            <a:xfrm>
              <a:off x="11085812" y="5412108"/>
              <a:ext cx="87313" cy="87312"/>
            </a:xfrm>
            <a:custGeom>
              <a:avLst/>
              <a:gdLst>
                <a:gd name="T0" fmla="*/ 37 w 63"/>
                <a:gd name="T1" fmla="*/ 63 h 63"/>
                <a:gd name="T2" fmla="*/ 63 w 63"/>
                <a:gd name="T3" fmla="*/ 52 h 63"/>
                <a:gd name="T4" fmla="*/ 11 w 63"/>
                <a:gd name="T5" fmla="*/ 0 h 63"/>
                <a:gd name="T6" fmla="*/ 0 w 63"/>
                <a:gd name="T7" fmla="*/ 26 h 63"/>
                <a:gd name="T8" fmla="*/ 37 w 63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63">
                  <a:moveTo>
                    <a:pt x="37" y="63"/>
                  </a:moveTo>
                  <a:cubicBezTo>
                    <a:pt x="47" y="63"/>
                    <a:pt x="56" y="59"/>
                    <a:pt x="63" y="5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7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9140419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308324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01319586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702" y="1211287"/>
            <a:ext cx="11888787" cy="5484813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85784415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3000" b="0">
                <a:latin typeface="+mn-lt"/>
              </a:defRPr>
            </a:lvl1pPr>
            <a:lvl2pPr marL="255588" indent="0">
              <a:buFont typeface="Wingdings" panose="05000000000000000000" pitchFamily="2" charset="2"/>
              <a:buNone/>
              <a:defRPr sz="2400" b="0"/>
            </a:lvl2pPr>
            <a:lvl3pPr marL="450850" indent="0">
              <a:buFont typeface="Wingdings" panose="05000000000000000000" pitchFamily="2" charset="2"/>
              <a:buNone/>
              <a:tabLst/>
              <a:defRPr sz="2200" b="0"/>
            </a:lvl3pPr>
            <a:lvl4pPr marL="652462" indent="0">
              <a:buFont typeface="Wingdings" panose="05000000000000000000" pitchFamily="2" charset="2"/>
              <a:buNone/>
              <a:defRPr sz="2200" b="0"/>
            </a:lvl4pPr>
            <a:lvl5pPr marL="854075" indent="0">
              <a:buFont typeface="Wingdings" panose="05000000000000000000" pitchFamily="2" charset="2"/>
              <a:buNone/>
              <a:tabLst/>
              <a:defRPr sz="22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5588" indent="0">
              <a:buFont typeface="Arial" panose="020B0604020202020204" pitchFamily="34" charset="0"/>
              <a:buNone/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0850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52462" indent="0">
              <a:buFont typeface="Arial" panose="020B0604020202020204" pitchFamily="34" charset="0"/>
              <a:buNone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54075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14350" marR="0" lvl="0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 dirty="0"/>
              <a:t>Click to edit Master text styles</a:t>
            </a:r>
          </a:p>
          <a:p>
            <a:pPr marL="712788" marR="0" lvl="1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Second level</a:t>
            </a:r>
          </a:p>
          <a:p>
            <a:pPr marL="908050" marR="0" lvl="2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Third level</a:t>
            </a:r>
          </a:p>
          <a:p>
            <a:pPr marL="1109662" marR="0" lvl="3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ourth level</a:t>
            </a:r>
          </a:p>
          <a:p>
            <a:pPr marL="1311275" marR="0" lvl="4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86365969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3000" b="0">
                <a:latin typeface="+mn-lt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4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2200" b="0"/>
            </a:lvl3pPr>
            <a:lvl4pPr marL="828675" indent="-176213">
              <a:buFont typeface="Wingdings" panose="05000000000000000000" pitchFamily="2" charset="2"/>
              <a:buChar char=""/>
              <a:defRPr sz="22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22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98488" indent="-342900"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93750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95362" indent="-342900"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96975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31775" marR="0" lvl="0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Click to edit Master text styles</a:t>
            </a:r>
          </a:p>
          <a:p>
            <a:pPr marL="427038" marR="0" lvl="1" indent="-17145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Second level</a:t>
            </a:r>
          </a:p>
          <a:p>
            <a:pPr marL="639763" marR="0" lvl="2" indent="-18891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Third level</a:t>
            </a:r>
          </a:p>
          <a:p>
            <a:pPr marL="828675" marR="0" lvl="3" indent="-17621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Fourth level</a:t>
            </a:r>
          </a:p>
          <a:p>
            <a:pPr marL="1023938" marR="0" lvl="4" indent="-16986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91931630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9252056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10058401" cy="7386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5919933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gray">
          <a:xfrm>
            <a:off x="5441950" y="0"/>
            <a:ext cx="6994525" cy="699452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6" name="Freeform: Shape 105"/>
          <p:cNvSpPr>
            <a:spLocks/>
          </p:cNvSpPr>
          <p:nvPr userDrawn="1"/>
        </p:nvSpPr>
        <p:spPr bwMode="gray">
          <a:xfrm>
            <a:off x="5441950" y="4251325"/>
            <a:ext cx="6994525" cy="2743200"/>
          </a:xfrm>
          <a:custGeom>
            <a:avLst/>
            <a:gdLst>
              <a:gd name="connsiteX0" fmla="*/ 237491 w 7007806"/>
              <a:gd name="connsiteY0" fmla="*/ 0 h 2048448"/>
              <a:gd name="connsiteX1" fmla="*/ 966532 w 7007806"/>
              <a:gd name="connsiteY1" fmla="*/ 0 h 2048448"/>
              <a:gd name="connsiteX2" fmla="*/ 966532 w 7007806"/>
              <a:gd name="connsiteY2" fmla="*/ 578198 h 2048448"/>
              <a:gd name="connsiteX3" fmla="*/ 1425492 w 7007806"/>
              <a:gd name="connsiteY3" fmla="*/ 606386 h 2048448"/>
              <a:gd name="connsiteX4" fmla="*/ 1677037 w 7007806"/>
              <a:gd name="connsiteY4" fmla="*/ 606386 h 2048448"/>
              <a:gd name="connsiteX5" fmla="*/ 1677037 w 7007806"/>
              <a:gd name="connsiteY5" fmla="*/ 483901 h 2048448"/>
              <a:gd name="connsiteX6" fmla="*/ 1686642 w 7007806"/>
              <a:gd name="connsiteY6" fmla="*/ 483901 h 2048448"/>
              <a:gd name="connsiteX7" fmla="*/ 1686642 w 7007806"/>
              <a:gd name="connsiteY7" fmla="*/ 225552 h 2048448"/>
              <a:gd name="connsiteX8" fmla="*/ 2059578 w 7007806"/>
              <a:gd name="connsiteY8" fmla="*/ 225552 h 2048448"/>
              <a:gd name="connsiteX9" fmla="*/ 2059578 w 7007806"/>
              <a:gd name="connsiteY9" fmla="*/ 339268 h 2048448"/>
              <a:gd name="connsiteX10" fmla="*/ 2098045 w 7007806"/>
              <a:gd name="connsiteY10" fmla="*/ 339268 h 2048448"/>
              <a:gd name="connsiteX11" fmla="*/ 2098045 w 7007806"/>
              <a:gd name="connsiteY11" fmla="*/ 483901 h 2048448"/>
              <a:gd name="connsiteX12" fmla="*/ 2204842 w 7007806"/>
              <a:gd name="connsiteY12" fmla="*/ 483901 h 2048448"/>
              <a:gd name="connsiteX13" fmla="*/ 2204842 w 7007806"/>
              <a:gd name="connsiteY13" fmla="*/ 643969 h 2048448"/>
              <a:gd name="connsiteX14" fmla="*/ 2602307 w 7007806"/>
              <a:gd name="connsiteY14" fmla="*/ 643969 h 2048448"/>
              <a:gd name="connsiteX15" fmla="*/ 2602307 w 7007806"/>
              <a:gd name="connsiteY15" fmla="*/ 744644 h 2048448"/>
              <a:gd name="connsiteX16" fmla="*/ 3055683 w 7007806"/>
              <a:gd name="connsiteY16" fmla="*/ 744644 h 2048448"/>
              <a:gd name="connsiteX17" fmla="*/ 3055683 w 7007806"/>
              <a:gd name="connsiteY17" fmla="*/ 777377 h 2048448"/>
              <a:gd name="connsiteX18" fmla="*/ 3075299 w 7007806"/>
              <a:gd name="connsiteY18" fmla="*/ 777377 h 2048448"/>
              <a:gd name="connsiteX19" fmla="*/ 3075299 w 7007806"/>
              <a:gd name="connsiteY19" fmla="*/ 965361 h 2048448"/>
              <a:gd name="connsiteX20" fmla="*/ 3423979 w 7007806"/>
              <a:gd name="connsiteY20" fmla="*/ 965361 h 2048448"/>
              <a:gd name="connsiteX21" fmla="*/ 3423979 w 7007806"/>
              <a:gd name="connsiteY21" fmla="*/ 525721 h 2048448"/>
              <a:gd name="connsiteX22" fmla="*/ 3527067 w 7007806"/>
              <a:gd name="connsiteY22" fmla="*/ 525721 h 2048448"/>
              <a:gd name="connsiteX23" fmla="*/ 3527067 w 7007806"/>
              <a:gd name="connsiteY23" fmla="*/ 386248 h 2048448"/>
              <a:gd name="connsiteX24" fmla="*/ 3830268 w 7007806"/>
              <a:gd name="connsiteY24" fmla="*/ 386248 h 2048448"/>
              <a:gd name="connsiteX25" fmla="*/ 3830268 w 7007806"/>
              <a:gd name="connsiteY25" fmla="*/ 525721 h 2048448"/>
              <a:gd name="connsiteX26" fmla="*/ 3927292 w 7007806"/>
              <a:gd name="connsiteY26" fmla="*/ 525721 h 2048448"/>
              <a:gd name="connsiteX27" fmla="*/ 3927292 w 7007806"/>
              <a:gd name="connsiteY27" fmla="*/ 58792 h 2048448"/>
              <a:gd name="connsiteX28" fmla="*/ 4630716 w 7007806"/>
              <a:gd name="connsiteY28" fmla="*/ 58792 h 2048448"/>
              <a:gd name="connsiteX29" fmla="*/ 4630716 w 7007806"/>
              <a:gd name="connsiteY29" fmla="*/ 616681 h 2048448"/>
              <a:gd name="connsiteX30" fmla="*/ 5073388 w 7007806"/>
              <a:gd name="connsiteY30" fmla="*/ 255872 h 2048448"/>
              <a:gd name="connsiteX31" fmla="*/ 5073388 w 7007806"/>
              <a:gd name="connsiteY31" fmla="*/ 643969 h 2048448"/>
              <a:gd name="connsiteX32" fmla="*/ 5315948 w 7007806"/>
              <a:gd name="connsiteY32" fmla="*/ 643969 h 2048448"/>
              <a:gd name="connsiteX33" fmla="*/ 5315948 w 7007806"/>
              <a:gd name="connsiteY33" fmla="*/ 525721 h 2048448"/>
              <a:gd name="connsiteX34" fmla="*/ 5419036 w 7007806"/>
              <a:gd name="connsiteY34" fmla="*/ 525721 h 2048448"/>
              <a:gd name="connsiteX35" fmla="*/ 5419036 w 7007806"/>
              <a:gd name="connsiteY35" fmla="*/ 386248 h 2048448"/>
              <a:gd name="connsiteX36" fmla="*/ 5722237 w 7007806"/>
              <a:gd name="connsiteY36" fmla="*/ 386248 h 2048448"/>
              <a:gd name="connsiteX37" fmla="*/ 5722237 w 7007806"/>
              <a:gd name="connsiteY37" fmla="*/ 525721 h 2048448"/>
              <a:gd name="connsiteX38" fmla="*/ 5825325 w 7007806"/>
              <a:gd name="connsiteY38" fmla="*/ 525721 h 2048448"/>
              <a:gd name="connsiteX39" fmla="*/ 5825325 w 7007806"/>
              <a:gd name="connsiteY39" fmla="*/ 965361 h 2048448"/>
              <a:gd name="connsiteX40" fmla="*/ 6170974 w 7007806"/>
              <a:gd name="connsiteY40" fmla="*/ 965361 h 2048448"/>
              <a:gd name="connsiteX41" fmla="*/ 6170974 w 7007806"/>
              <a:gd name="connsiteY41" fmla="*/ 777377 h 2048448"/>
              <a:gd name="connsiteX42" fmla="*/ 6646998 w 7007806"/>
              <a:gd name="connsiteY42" fmla="*/ 777377 h 2048448"/>
              <a:gd name="connsiteX43" fmla="*/ 6646998 w 7007806"/>
              <a:gd name="connsiteY43" fmla="*/ 1374681 h 2048448"/>
              <a:gd name="connsiteX44" fmla="*/ 7007806 w 7007806"/>
              <a:gd name="connsiteY44" fmla="*/ 1374681 h 2048448"/>
              <a:gd name="connsiteX45" fmla="*/ 7007806 w 7007806"/>
              <a:gd name="connsiteY45" fmla="*/ 1677881 h 2048448"/>
              <a:gd name="connsiteX46" fmla="*/ 6995117 w 7007806"/>
              <a:gd name="connsiteY46" fmla="*/ 1677881 h 2048448"/>
              <a:gd name="connsiteX47" fmla="*/ 6995117 w 7007806"/>
              <a:gd name="connsiteY47" fmla="*/ 2048448 h 2048448"/>
              <a:gd name="connsiteX48" fmla="*/ 0 w 7007806"/>
              <a:gd name="connsiteY48" fmla="*/ 2048448 h 2048448"/>
              <a:gd name="connsiteX49" fmla="*/ 0 w 7007806"/>
              <a:gd name="connsiteY49" fmla="*/ 339268 h 2048448"/>
              <a:gd name="connsiteX50" fmla="*/ 136873 w 7007806"/>
              <a:gd name="connsiteY50" fmla="*/ 339268 h 2048448"/>
              <a:gd name="connsiteX51" fmla="*/ 136873 w 7007806"/>
              <a:gd name="connsiteY51" fmla="*/ 483901 h 2048448"/>
              <a:gd name="connsiteX52" fmla="*/ 237491 w 7007806"/>
              <a:gd name="connsiteY52" fmla="*/ 483901 h 2048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7007806" h="2048448">
                <a:moveTo>
                  <a:pt x="237491" y="0"/>
                </a:moveTo>
                <a:lnTo>
                  <a:pt x="966532" y="0"/>
                </a:lnTo>
                <a:lnTo>
                  <a:pt x="966532" y="578198"/>
                </a:lnTo>
                <a:lnTo>
                  <a:pt x="1425492" y="606386"/>
                </a:lnTo>
                <a:lnTo>
                  <a:pt x="1677037" y="606386"/>
                </a:lnTo>
                <a:lnTo>
                  <a:pt x="1677037" y="483901"/>
                </a:lnTo>
                <a:lnTo>
                  <a:pt x="1686642" y="483901"/>
                </a:lnTo>
                <a:lnTo>
                  <a:pt x="1686642" y="225552"/>
                </a:lnTo>
                <a:lnTo>
                  <a:pt x="2059578" y="225552"/>
                </a:lnTo>
                <a:lnTo>
                  <a:pt x="2059578" y="339268"/>
                </a:lnTo>
                <a:lnTo>
                  <a:pt x="2098045" y="339268"/>
                </a:lnTo>
                <a:lnTo>
                  <a:pt x="2098045" y="483901"/>
                </a:lnTo>
                <a:lnTo>
                  <a:pt x="2204842" y="483901"/>
                </a:lnTo>
                <a:lnTo>
                  <a:pt x="2204842" y="643969"/>
                </a:lnTo>
                <a:lnTo>
                  <a:pt x="2602307" y="643969"/>
                </a:lnTo>
                <a:lnTo>
                  <a:pt x="2602307" y="744644"/>
                </a:lnTo>
                <a:lnTo>
                  <a:pt x="3055683" y="744644"/>
                </a:lnTo>
                <a:lnTo>
                  <a:pt x="3055683" y="777377"/>
                </a:lnTo>
                <a:lnTo>
                  <a:pt x="3075299" y="777377"/>
                </a:lnTo>
                <a:lnTo>
                  <a:pt x="3075299" y="965361"/>
                </a:lnTo>
                <a:lnTo>
                  <a:pt x="3423979" y="965361"/>
                </a:lnTo>
                <a:lnTo>
                  <a:pt x="3423979" y="525721"/>
                </a:lnTo>
                <a:lnTo>
                  <a:pt x="3527067" y="525721"/>
                </a:lnTo>
                <a:lnTo>
                  <a:pt x="3527067" y="386248"/>
                </a:lnTo>
                <a:lnTo>
                  <a:pt x="3830268" y="386248"/>
                </a:lnTo>
                <a:lnTo>
                  <a:pt x="3830268" y="525721"/>
                </a:lnTo>
                <a:lnTo>
                  <a:pt x="3927292" y="525721"/>
                </a:lnTo>
                <a:lnTo>
                  <a:pt x="3927292" y="58792"/>
                </a:lnTo>
                <a:lnTo>
                  <a:pt x="4630716" y="58792"/>
                </a:lnTo>
                <a:lnTo>
                  <a:pt x="4630716" y="616681"/>
                </a:lnTo>
                <a:lnTo>
                  <a:pt x="5073388" y="255872"/>
                </a:lnTo>
                <a:lnTo>
                  <a:pt x="5073388" y="643969"/>
                </a:lnTo>
                <a:lnTo>
                  <a:pt x="5315948" y="643969"/>
                </a:lnTo>
                <a:lnTo>
                  <a:pt x="5315948" y="525721"/>
                </a:lnTo>
                <a:lnTo>
                  <a:pt x="5419036" y="525721"/>
                </a:lnTo>
                <a:lnTo>
                  <a:pt x="5419036" y="386248"/>
                </a:lnTo>
                <a:lnTo>
                  <a:pt x="5722237" y="386248"/>
                </a:lnTo>
                <a:lnTo>
                  <a:pt x="5722237" y="525721"/>
                </a:lnTo>
                <a:lnTo>
                  <a:pt x="5825325" y="525721"/>
                </a:lnTo>
                <a:lnTo>
                  <a:pt x="5825325" y="965361"/>
                </a:lnTo>
                <a:lnTo>
                  <a:pt x="6170974" y="965361"/>
                </a:lnTo>
                <a:lnTo>
                  <a:pt x="6170974" y="777377"/>
                </a:lnTo>
                <a:lnTo>
                  <a:pt x="6646998" y="777377"/>
                </a:lnTo>
                <a:lnTo>
                  <a:pt x="6646998" y="1374681"/>
                </a:lnTo>
                <a:lnTo>
                  <a:pt x="7007806" y="1374681"/>
                </a:lnTo>
                <a:lnTo>
                  <a:pt x="7007806" y="1677881"/>
                </a:lnTo>
                <a:lnTo>
                  <a:pt x="6995117" y="1677881"/>
                </a:lnTo>
                <a:lnTo>
                  <a:pt x="6995117" y="2048448"/>
                </a:lnTo>
                <a:lnTo>
                  <a:pt x="0" y="2048448"/>
                </a:lnTo>
                <a:lnTo>
                  <a:pt x="0" y="339268"/>
                </a:lnTo>
                <a:lnTo>
                  <a:pt x="136873" y="339268"/>
                </a:lnTo>
                <a:lnTo>
                  <a:pt x="136873" y="483901"/>
                </a:lnTo>
                <a:lnTo>
                  <a:pt x="237491" y="483901"/>
                </a:lnTo>
                <a:close/>
              </a:path>
            </a:pathLst>
          </a:custGeom>
          <a:solidFill>
            <a:srgbClr val="409AE1">
              <a:alpha val="4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4702" y="2119178"/>
            <a:ext cx="4937760" cy="1835285"/>
          </a:xfrm>
          <a:noFill/>
        </p:spPr>
        <p:txBody>
          <a:bodyPr lIns="146304" tIns="91440" rIns="146304" bIns="91440" anchor="t" anchorCtr="0"/>
          <a:lstStyle>
            <a:lvl1pPr>
              <a:defRPr sz="4800" spc="-100" baseline="0">
                <a:gradFill>
                  <a:gsLst>
                    <a:gs pos="74359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3050" y="3954463"/>
            <a:ext cx="4937760" cy="731528"/>
          </a:xfrm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lang="en-US" sz="3200" kern="1200" spc="0" baseline="0" dirty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Speaker name</a:t>
            </a:r>
          </a:p>
        </p:txBody>
      </p:sp>
      <p:pic>
        <p:nvPicPr>
          <p:cNvPr id="142" name="MS logo gray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63116" y="479425"/>
            <a:ext cx="1451843" cy="310896"/>
          </a:xfrm>
          <a:prstGeom prst="rect">
            <a:avLst/>
          </a:prstGeom>
        </p:spPr>
      </p:pic>
      <p:grpSp>
        <p:nvGrpSpPr>
          <p:cNvPr id="143" name="Group 142"/>
          <p:cNvGrpSpPr>
            <a:grpSpLocks noChangeAspect="1"/>
          </p:cNvGrpSpPr>
          <p:nvPr userDrawn="1"/>
        </p:nvGrpSpPr>
        <p:grpSpPr bwMode="gray">
          <a:xfrm>
            <a:off x="7462446" y="3200401"/>
            <a:ext cx="4577461" cy="3539940"/>
            <a:chOff x="8496600" y="3495586"/>
            <a:chExt cx="3009906" cy="2327684"/>
          </a:xfrm>
        </p:grpSpPr>
        <p:sp>
          <p:nvSpPr>
            <p:cNvPr id="144" name="Freeform 9"/>
            <p:cNvSpPr>
              <a:spLocks/>
            </p:cNvSpPr>
            <p:nvPr/>
          </p:nvSpPr>
          <p:spPr bwMode="gray">
            <a:xfrm>
              <a:off x="8496600" y="5501008"/>
              <a:ext cx="646113" cy="82550"/>
            </a:xfrm>
            <a:custGeom>
              <a:avLst/>
              <a:gdLst>
                <a:gd name="T0" fmla="*/ 437 w 467"/>
                <a:gd name="T1" fmla="*/ 60 h 60"/>
                <a:gd name="T2" fmla="*/ 30 w 467"/>
                <a:gd name="T3" fmla="*/ 60 h 60"/>
                <a:gd name="T4" fmla="*/ 0 w 467"/>
                <a:gd name="T5" fmla="*/ 30 h 60"/>
                <a:gd name="T6" fmla="*/ 30 w 467"/>
                <a:gd name="T7" fmla="*/ 0 h 60"/>
                <a:gd name="T8" fmla="*/ 437 w 467"/>
                <a:gd name="T9" fmla="*/ 0 h 60"/>
                <a:gd name="T10" fmla="*/ 467 w 467"/>
                <a:gd name="T11" fmla="*/ 30 h 60"/>
                <a:gd name="T12" fmla="*/ 437 w 467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7" h="60">
                  <a:moveTo>
                    <a:pt x="437" y="60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13" y="60"/>
                    <a:pt x="0" y="46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37" y="0"/>
                    <a:pt x="437" y="0"/>
                    <a:pt x="437" y="0"/>
                  </a:cubicBezTo>
                  <a:cubicBezTo>
                    <a:pt x="453" y="0"/>
                    <a:pt x="467" y="13"/>
                    <a:pt x="467" y="30"/>
                  </a:cubicBezTo>
                  <a:cubicBezTo>
                    <a:pt x="467" y="46"/>
                    <a:pt x="453" y="60"/>
                    <a:pt x="437" y="6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10"/>
            <p:cNvSpPr>
              <a:spLocks/>
            </p:cNvSpPr>
            <p:nvPr/>
          </p:nvSpPr>
          <p:spPr bwMode="gray">
            <a:xfrm>
              <a:off x="10804831" y="3495586"/>
              <a:ext cx="701675" cy="371475"/>
            </a:xfrm>
            <a:custGeom>
              <a:avLst/>
              <a:gdLst>
                <a:gd name="T0" fmla="*/ 440 w 507"/>
                <a:gd name="T1" fmla="*/ 127 h 271"/>
                <a:gd name="T2" fmla="*/ 306 w 507"/>
                <a:gd name="T3" fmla="*/ 0 h 271"/>
                <a:gd name="T4" fmla="*/ 174 w 507"/>
                <a:gd name="T5" fmla="*/ 106 h 271"/>
                <a:gd name="T6" fmla="*/ 99 w 507"/>
                <a:gd name="T7" fmla="*/ 72 h 271"/>
                <a:gd name="T8" fmla="*/ 0 w 507"/>
                <a:gd name="T9" fmla="*/ 171 h 271"/>
                <a:gd name="T10" fmla="*/ 99 w 507"/>
                <a:gd name="T11" fmla="*/ 271 h 271"/>
                <a:gd name="T12" fmla="*/ 435 w 507"/>
                <a:gd name="T13" fmla="*/ 271 h 271"/>
                <a:gd name="T14" fmla="*/ 507 w 507"/>
                <a:gd name="T15" fmla="*/ 199 h 271"/>
                <a:gd name="T16" fmla="*/ 440 w 507"/>
                <a:gd name="T17" fmla="*/ 127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7" h="271">
                  <a:moveTo>
                    <a:pt x="440" y="127"/>
                  </a:moveTo>
                  <a:cubicBezTo>
                    <a:pt x="436" y="56"/>
                    <a:pt x="378" y="0"/>
                    <a:pt x="306" y="0"/>
                  </a:cubicBezTo>
                  <a:cubicBezTo>
                    <a:pt x="241" y="0"/>
                    <a:pt x="187" y="46"/>
                    <a:pt x="174" y="106"/>
                  </a:cubicBezTo>
                  <a:cubicBezTo>
                    <a:pt x="156" y="85"/>
                    <a:pt x="129" y="72"/>
                    <a:pt x="99" y="72"/>
                  </a:cubicBezTo>
                  <a:cubicBezTo>
                    <a:pt x="44" y="72"/>
                    <a:pt x="0" y="116"/>
                    <a:pt x="0" y="171"/>
                  </a:cubicBezTo>
                  <a:cubicBezTo>
                    <a:pt x="0" y="226"/>
                    <a:pt x="44" y="271"/>
                    <a:pt x="99" y="271"/>
                  </a:cubicBezTo>
                  <a:cubicBezTo>
                    <a:pt x="99" y="271"/>
                    <a:pt x="434" y="271"/>
                    <a:pt x="435" y="271"/>
                  </a:cubicBezTo>
                  <a:cubicBezTo>
                    <a:pt x="475" y="271"/>
                    <a:pt x="507" y="238"/>
                    <a:pt x="507" y="199"/>
                  </a:cubicBezTo>
                  <a:cubicBezTo>
                    <a:pt x="507" y="161"/>
                    <a:pt x="478" y="130"/>
                    <a:pt x="440" y="1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11"/>
            <p:cNvSpPr>
              <a:spLocks/>
            </p:cNvSpPr>
            <p:nvPr/>
          </p:nvSpPr>
          <p:spPr bwMode="gray">
            <a:xfrm>
              <a:off x="10001550" y="5497833"/>
              <a:ext cx="1504950" cy="82550"/>
            </a:xfrm>
            <a:custGeom>
              <a:avLst/>
              <a:gdLst>
                <a:gd name="T0" fmla="*/ 1059 w 1089"/>
                <a:gd name="T1" fmla="*/ 60 h 60"/>
                <a:gd name="T2" fmla="*/ 30 w 1089"/>
                <a:gd name="T3" fmla="*/ 60 h 60"/>
                <a:gd name="T4" fmla="*/ 0 w 1089"/>
                <a:gd name="T5" fmla="*/ 30 h 60"/>
                <a:gd name="T6" fmla="*/ 30 w 1089"/>
                <a:gd name="T7" fmla="*/ 0 h 60"/>
                <a:gd name="T8" fmla="*/ 1059 w 1089"/>
                <a:gd name="T9" fmla="*/ 0 h 60"/>
                <a:gd name="T10" fmla="*/ 1089 w 1089"/>
                <a:gd name="T11" fmla="*/ 30 h 60"/>
                <a:gd name="T12" fmla="*/ 1059 w 1089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9" h="60">
                  <a:moveTo>
                    <a:pt x="1059" y="60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14" y="60"/>
                    <a:pt x="0" y="46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1059" y="0"/>
                    <a:pt x="1059" y="0"/>
                    <a:pt x="1059" y="0"/>
                  </a:cubicBezTo>
                  <a:cubicBezTo>
                    <a:pt x="1076" y="0"/>
                    <a:pt x="1089" y="13"/>
                    <a:pt x="1089" y="30"/>
                  </a:cubicBezTo>
                  <a:cubicBezTo>
                    <a:pt x="1089" y="46"/>
                    <a:pt x="1076" y="60"/>
                    <a:pt x="1059" y="6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12"/>
            <p:cNvSpPr>
              <a:spLocks/>
            </p:cNvSpPr>
            <p:nvPr/>
          </p:nvSpPr>
          <p:spPr bwMode="gray">
            <a:xfrm>
              <a:off x="9110962" y="5713733"/>
              <a:ext cx="1012825" cy="109537"/>
            </a:xfrm>
            <a:custGeom>
              <a:avLst/>
              <a:gdLst>
                <a:gd name="T0" fmla="*/ 692 w 732"/>
                <a:gd name="T1" fmla="*/ 80 h 80"/>
                <a:gd name="T2" fmla="*/ 40 w 732"/>
                <a:gd name="T3" fmla="*/ 80 h 80"/>
                <a:gd name="T4" fmla="*/ 0 w 732"/>
                <a:gd name="T5" fmla="*/ 40 h 80"/>
                <a:gd name="T6" fmla="*/ 40 w 732"/>
                <a:gd name="T7" fmla="*/ 0 h 80"/>
                <a:gd name="T8" fmla="*/ 692 w 732"/>
                <a:gd name="T9" fmla="*/ 0 h 80"/>
                <a:gd name="T10" fmla="*/ 732 w 732"/>
                <a:gd name="T11" fmla="*/ 40 h 80"/>
                <a:gd name="T12" fmla="*/ 692 w 732"/>
                <a:gd name="T13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2" h="80">
                  <a:moveTo>
                    <a:pt x="692" y="80"/>
                  </a:moveTo>
                  <a:cubicBezTo>
                    <a:pt x="40" y="80"/>
                    <a:pt x="40" y="80"/>
                    <a:pt x="40" y="80"/>
                  </a:cubicBezTo>
                  <a:cubicBezTo>
                    <a:pt x="18" y="80"/>
                    <a:pt x="0" y="62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692" y="0"/>
                    <a:pt x="692" y="0"/>
                    <a:pt x="692" y="0"/>
                  </a:cubicBezTo>
                  <a:cubicBezTo>
                    <a:pt x="714" y="0"/>
                    <a:pt x="732" y="18"/>
                    <a:pt x="732" y="40"/>
                  </a:cubicBezTo>
                  <a:cubicBezTo>
                    <a:pt x="732" y="62"/>
                    <a:pt x="714" y="80"/>
                    <a:pt x="692" y="8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13"/>
            <p:cNvSpPr>
              <a:spLocks/>
            </p:cNvSpPr>
            <p:nvPr/>
          </p:nvSpPr>
          <p:spPr bwMode="gray">
            <a:xfrm>
              <a:off x="8910937" y="4935858"/>
              <a:ext cx="33338" cy="77787"/>
            </a:xfrm>
            <a:custGeom>
              <a:avLst/>
              <a:gdLst>
                <a:gd name="T0" fmla="*/ 0 w 21"/>
                <a:gd name="T1" fmla="*/ 0 h 49"/>
                <a:gd name="T2" fmla="*/ 1 w 21"/>
                <a:gd name="T3" fmla="*/ 10 h 49"/>
                <a:gd name="T4" fmla="*/ 0 w 21"/>
                <a:gd name="T5" fmla="*/ 49 h 49"/>
                <a:gd name="T6" fmla="*/ 12 w 21"/>
                <a:gd name="T7" fmla="*/ 49 h 49"/>
                <a:gd name="T8" fmla="*/ 21 w 21"/>
                <a:gd name="T9" fmla="*/ 11 h 49"/>
                <a:gd name="T10" fmla="*/ 21 w 21"/>
                <a:gd name="T11" fmla="*/ 0 h 49"/>
                <a:gd name="T12" fmla="*/ 0 w 21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49">
                  <a:moveTo>
                    <a:pt x="0" y="0"/>
                  </a:moveTo>
                  <a:lnTo>
                    <a:pt x="1" y="10"/>
                  </a:lnTo>
                  <a:lnTo>
                    <a:pt x="0" y="49"/>
                  </a:lnTo>
                  <a:lnTo>
                    <a:pt x="12" y="49"/>
                  </a:lnTo>
                  <a:lnTo>
                    <a:pt x="21" y="11"/>
                  </a:lnTo>
                  <a:lnTo>
                    <a:pt x="2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14"/>
            <p:cNvSpPr>
              <a:spLocks/>
            </p:cNvSpPr>
            <p:nvPr/>
          </p:nvSpPr>
          <p:spPr bwMode="gray">
            <a:xfrm>
              <a:off x="8929987" y="4935858"/>
              <a:ext cx="14288" cy="77787"/>
            </a:xfrm>
            <a:custGeom>
              <a:avLst/>
              <a:gdLst>
                <a:gd name="T0" fmla="*/ 5 w 9"/>
                <a:gd name="T1" fmla="*/ 0 h 49"/>
                <a:gd name="T2" fmla="*/ 5 w 9"/>
                <a:gd name="T3" fmla="*/ 11 h 49"/>
                <a:gd name="T4" fmla="*/ 0 w 9"/>
                <a:gd name="T5" fmla="*/ 49 h 49"/>
                <a:gd name="T6" fmla="*/ 9 w 9"/>
                <a:gd name="T7" fmla="*/ 11 h 49"/>
                <a:gd name="T8" fmla="*/ 9 w 9"/>
                <a:gd name="T9" fmla="*/ 0 h 49"/>
                <a:gd name="T10" fmla="*/ 5 w 9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49">
                  <a:moveTo>
                    <a:pt x="5" y="0"/>
                  </a:moveTo>
                  <a:lnTo>
                    <a:pt x="5" y="11"/>
                  </a:lnTo>
                  <a:lnTo>
                    <a:pt x="0" y="49"/>
                  </a:lnTo>
                  <a:lnTo>
                    <a:pt x="9" y="11"/>
                  </a:lnTo>
                  <a:lnTo>
                    <a:pt x="9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99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15"/>
            <p:cNvSpPr>
              <a:spLocks/>
            </p:cNvSpPr>
            <p:nvPr/>
          </p:nvSpPr>
          <p:spPr bwMode="gray">
            <a:xfrm>
              <a:off x="8910937" y="4935858"/>
              <a:ext cx="6350" cy="77787"/>
            </a:xfrm>
            <a:custGeom>
              <a:avLst/>
              <a:gdLst>
                <a:gd name="T0" fmla="*/ 0 w 4"/>
                <a:gd name="T1" fmla="*/ 0 h 49"/>
                <a:gd name="T2" fmla="*/ 1 w 4"/>
                <a:gd name="T3" fmla="*/ 10 h 49"/>
                <a:gd name="T4" fmla="*/ 0 w 4"/>
                <a:gd name="T5" fmla="*/ 49 h 49"/>
                <a:gd name="T6" fmla="*/ 4 w 4"/>
                <a:gd name="T7" fmla="*/ 10 h 49"/>
                <a:gd name="T8" fmla="*/ 4 w 4"/>
                <a:gd name="T9" fmla="*/ 0 h 49"/>
                <a:gd name="T10" fmla="*/ 0 w 4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9">
                  <a:moveTo>
                    <a:pt x="0" y="0"/>
                  </a:moveTo>
                  <a:lnTo>
                    <a:pt x="1" y="10"/>
                  </a:lnTo>
                  <a:lnTo>
                    <a:pt x="0" y="49"/>
                  </a:lnTo>
                  <a:lnTo>
                    <a:pt x="4" y="1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16"/>
            <p:cNvSpPr>
              <a:spLocks/>
            </p:cNvSpPr>
            <p:nvPr/>
          </p:nvSpPr>
          <p:spPr bwMode="gray">
            <a:xfrm>
              <a:off x="8912525" y="4997770"/>
              <a:ext cx="33338" cy="47625"/>
            </a:xfrm>
            <a:custGeom>
              <a:avLst/>
              <a:gdLst>
                <a:gd name="T0" fmla="*/ 0 w 24"/>
                <a:gd name="T1" fmla="*/ 0 h 34"/>
                <a:gd name="T2" fmla="*/ 0 w 24"/>
                <a:gd name="T3" fmla="*/ 34 h 34"/>
                <a:gd name="T4" fmla="*/ 22 w 24"/>
                <a:gd name="T5" fmla="*/ 34 h 34"/>
                <a:gd name="T6" fmla="*/ 24 w 24"/>
                <a:gd name="T7" fmla="*/ 32 h 34"/>
                <a:gd name="T8" fmla="*/ 24 w 24"/>
                <a:gd name="T9" fmla="*/ 27 h 34"/>
                <a:gd name="T10" fmla="*/ 22 w 24"/>
                <a:gd name="T11" fmla="*/ 24 h 34"/>
                <a:gd name="T12" fmla="*/ 15 w 24"/>
                <a:gd name="T13" fmla="*/ 16 h 34"/>
                <a:gd name="T14" fmla="*/ 15 w 24"/>
                <a:gd name="T15" fmla="*/ 0 h 34"/>
                <a:gd name="T16" fmla="*/ 0 w 24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34">
                  <a:moveTo>
                    <a:pt x="0" y="0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4" y="34"/>
                    <a:pt x="24" y="32"/>
                  </a:cubicBezTo>
                  <a:cubicBezTo>
                    <a:pt x="24" y="30"/>
                    <a:pt x="24" y="27"/>
                    <a:pt x="24" y="27"/>
                  </a:cubicBezTo>
                  <a:cubicBezTo>
                    <a:pt x="24" y="27"/>
                    <a:pt x="24" y="26"/>
                    <a:pt x="22" y="24"/>
                  </a:cubicBezTo>
                  <a:cubicBezTo>
                    <a:pt x="20" y="23"/>
                    <a:pt x="16" y="18"/>
                    <a:pt x="15" y="16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17"/>
            <p:cNvSpPr>
              <a:spLocks/>
            </p:cNvSpPr>
            <p:nvPr/>
          </p:nvSpPr>
          <p:spPr bwMode="gray">
            <a:xfrm>
              <a:off x="8912525" y="5042220"/>
              <a:ext cx="33338" cy="4762"/>
            </a:xfrm>
            <a:custGeom>
              <a:avLst/>
              <a:gdLst>
                <a:gd name="T0" fmla="*/ 24 w 24"/>
                <a:gd name="T1" fmla="*/ 0 h 4"/>
                <a:gd name="T2" fmla="*/ 24 w 24"/>
                <a:gd name="T3" fmla="*/ 2 h 4"/>
                <a:gd name="T4" fmla="*/ 22 w 24"/>
                <a:gd name="T5" fmla="*/ 4 h 4"/>
                <a:gd name="T6" fmla="*/ 0 w 24"/>
                <a:gd name="T7" fmla="*/ 4 h 4"/>
                <a:gd name="T8" fmla="*/ 0 w 24"/>
                <a:gd name="T9" fmla="*/ 2 h 4"/>
                <a:gd name="T10" fmla="*/ 22 w 24"/>
                <a:gd name="T11" fmla="*/ 2 h 4"/>
                <a:gd name="T12" fmla="*/ 24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4" y="0"/>
                  </a:moveTo>
                  <a:cubicBezTo>
                    <a:pt x="24" y="0"/>
                    <a:pt x="24" y="1"/>
                    <a:pt x="24" y="2"/>
                  </a:cubicBezTo>
                  <a:cubicBezTo>
                    <a:pt x="24" y="4"/>
                    <a:pt x="22" y="4"/>
                    <a:pt x="22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2"/>
                    <a:pt x="24" y="2"/>
                    <a:pt x="24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18"/>
            <p:cNvSpPr>
              <a:spLocks/>
            </p:cNvSpPr>
            <p:nvPr/>
          </p:nvSpPr>
          <p:spPr bwMode="gray">
            <a:xfrm>
              <a:off x="8933162" y="5019995"/>
              <a:ext cx="12700" cy="25400"/>
            </a:xfrm>
            <a:custGeom>
              <a:avLst/>
              <a:gdLst>
                <a:gd name="T0" fmla="*/ 7 w 9"/>
                <a:gd name="T1" fmla="*/ 18 h 18"/>
                <a:gd name="T2" fmla="*/ 9 w 9"/>
                <a:gd name="T3" fmla="*/ 16 h 18"/>
                <a:gd name="T4" fmla="*/ 9 w 9"/>
                <a:gd name="T5" fmla="*/ 11 h 18"/>
                <a:gd name="T6" fmla="*/ 7 w 9"/>
                <a:gd name="T7" fmla="*/ 8 h 18"/>
                <a:gd name="T8" fmla="*/ 0 w 9"/>
                <a:gd name="T9" fmla="*/ 0 h 18"/>
                <a:gd name="T10" fmla="*/ 0 w 9"/>
                <a:gd name="T11" fmla="*/ 18 h 18"/>
                <a:gd name="T12" fmla="*/ 7 w 9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8">
                  <a:moveTo>
                    <a:pt x="7" y="18"/>
                  </a:moveTo>
                  <a:cubicBezTo>
                    <a:pt x="7" y="18"/>
                    <a:pt x="9" y="18"/>
                    <a:pt x="9" y="16"/>
                  </a:cubicBezTo>
                  <a:cubicBezTo>
                    <a:pt x="9" y="14"/>
                    <a:pt x="9" y="11"/>
                    <a:pt x="9" y="11"/>
                  </a:cubicBezTo>
                  <a:cubicBezTo>
                    <a:pt x="9" y="11"/>
                    <a:pt x="9" y="10"/>
                    <a:pt x="7" y="8"/>
                  </a:cubicBezTo>
                  <a:cubicBezTo>
                    <a:pt x="5" y="7"/>
                    <a:pt x="1" y="2"/>
                    <a:pt x="0" y="0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7" y="18"/>
                  </a:lnTo>
                  <a:close/>
                </a:path>
              </a:pathLst>
            </a:custGeom>
            <a:solidFill>
              <a:srgbClr val="3131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9"/>
            <p:cNvSpPr>
              <a:spLocks/>
            </p:cNvSpPr>
            <p:nvPr/>
          </p:nvSpPr>
          <p:spPr bwMode="gray">
            <a:xfrm>
              <a:off x="8874425" y="4935858"/>
              <a:ext cx="33338" cy="77787"/>
            </a:xfrm>
            <a:custGeom>
              <a:avLst/>
              <a:gdLst>
                <a:gd name="T0" fmla="*/ 0 w 21"/>
                <a:gd name="T1" fmla="*/ 0 h 49"/>
                <a:gd name="T2" fmla="*/ 0 w 21"/>
                <a:gd name="T3" fmla="*/ 10 h 49"/>
                <a:gd name="T4" fmla="*/ 0 w 21"/>
                <a:gd name="T5" fmla="*/ 49 h 49"/>
                <a:gd name="T6" fmla="*/ 13 w 21"/>
                <a:gd name="T7" fmla="*/ 49 h 49"/>
                <a:gd name="T8" fmla="*/ 21 w 21"/>
                <a:gd name="T9" fmla="*/ 11 h 49"/>
                <a:gd name="T10" fmla="*/ 21 w 21"/>
                <a:gd name="T11" fmla="*/ 0 h 49"/>
                <a:gd name="T12" fmla="*/ 0 w 21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49">
                  <a:moveTo>
                    <a:pt x="0" y="0"/>
                  </a:moveTo>
                  <a:lnTo>
                    <a:pt x="0" y="10"/>
                  </a:lnTo>
                  <a:lnTo>
                    <a:pt x="0" y="49"/>
                  </a:lnTo>
                  <a:lnTo>
                    <a:pt x="13" y="49"/>
                  </a:lnTo>
                  <a:lnTo>
                    <a:pt x="21" y="11"/>
                  </a:lnTo>
                  <a:lnTo>
                    <a:pt x="2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20"/>
            <p:cNvSpPr>
              <a:spLocks/>
            </p:cNvSpPr>
            <p:nvPr/>
          </p:nvSpPr>
          <p:spPr bwMode="gray">
            <a:xfrm>
              <a:off x="8895062" y="4935858"/>
              <a:ext cx="12700" cy="77787"/>
            </a:xfrm>
            <a:custGeom>
              <a:avLst/>
              <a:gdLst>
                <a:gd name="T0" fmla="*/ 4 w 8"/>
                <a:gd name="T1" fmla="*/ 0 h 49"/>
                <a:gd name="T2" fmla="*/ 4 w 8"/>
                <a:gd name="T3" fmla="*/ 11 h 49"/>
                <a:gd name="T4" fmla="*/ 0 w 8"/>
                <a:gd name="T5" fmla="*/ 49 h 49"/>
                <a:gd name="T6" fmla="*/ 8 w 8"/>
                <a:gd name="T7" fmla="*/ 11 h 49"/>
                <a:gd name="T8" fmla="*/ 8 w 8"/>
                <a:gd name="T9" fmla="*/ 0 h 49"/>
                <a:gd name="T10" fmla="*/ 4 w 8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49">
                  <a:moveTo>
                    <a:pt x="4" y="0"/>
                  </a:moveTo>
                  <a:lnTo>
                    <a:pt x="4" y="11"/>
                  </a:lnTo>
                  <a:lnTo>
                    <a:pt x="0" y="49"/>
                  </a:lnTo>
                  <a:lnTo>
                    <a:pt x="8" y="11"/>
                  </a:lnTo>
                  <a:lnTo>
                    <a:pt x="8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99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21"/>
            <p:cNvSpPr>
              <a:spLocks/>
            </p:cNvSpPr>
            <p:nvPr/>
          </p:nvSpPr>
          <p:spPr bwMode="gray">
            <a:xfrm>
              <a:off x="8874425" y="4935858"/>
              <a:ext cx="6350" cy="77787"/>
            </a:xfrm>
            <a:custGeom>
              <a:avLst/>
              <a:gdLst>
                <a:gd name="T0" fmla="*/ 0 w 4"/>
                <a:gd name="T1" fmla="*/ 0 h 49"/>
                <a:gd name="T2" fmla="*/ 0 w 4"/>
                <a:gd name="T3" fmla="*/ 10 h 49"/>
                <a:gd name="T4" fmla="*/ 0 w 4"/>
                <a:gd name="T5" fmla="*/ 49 h 49"/>
                <a:gd name="T6" fmla="*/ 4 w 4"/>
                <a:gd name="T7" fmla="*/ 10 h 49"/>
                <a:gd name="T8" fmla="*/ 4 w 4"/>
                <a:gd name="T9" fmla="*/ 0 h 49"/>
                <a:gd name="T10" fmla="*/ 0 w 4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9">
                  <a:moveTo>
                    <a:pt x="0" y="0"/>
                  </a:moveTo>
                  <a:lnTo>
                    <a:pt x="0" y="10"/>
                  </a:lnTo>
                  <a:lnTo>
                    <a:pt x="0" y="49"/>
                  </a:lnTo>
                  <a:lnTo>
                    <a:pt x="4" y="1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22"/>
            <p:cNvSpPr>
              <a:spLocks/>
            </p:cNvSpPr>
            <p:nvPr/>
          </p:nvSpPr>
          <p:spPr bwMode="gray">
            <a:xfrm>
              <a:off x="8874425" y="4997770"/>
              <a:ext cx="34925" cy="47625"/>
            </a:xfrm>
            <a:custGeom>
              <a:avLst/>
              <a:gdLst>
                <a:gd name="T0" fmla="*/ 0 w 25"/>
                <a:gd name="T1" fmla="*/ 0 h 34"/>
                <a:gd name="T2" fmla="*/ 0 w 25"/>
                <a:gd name="T3" fmla="*/ 34 h 34"/>
                <a:gd name="T4" fmla="*/ 23 w 25"/>
                <a:gd name="T5" fmla="*/ 34 h 34"/>
                <a:gd name="T6" fmla="*/ 24 w 25"/>
                <a:gd name="T7" fmla="*/ 32 h 34"/>
                <a:gd name="T8" fmla="*/ 24 w 25"/>
                <a:gd name="T9" fmla="*/ 27 h 34"/>
                <a:gd name="T10" fmla="*/ 22 w 25"/>
                <a:gd name="T11" fmla="*/ 24 h 34"/>
                <a:gd name="T12" fmla="*/ 16 w 25"/>
                <a:gd name="T13" fmla="*/ 16 h 34"/>
                <a:gd name="T14" fmla="*/ 16 w 25"/>
                <a:gd name="T15" fmla="*/ 0 h 34"/>
                <a:gd name="T16" fmla="*/ 0 w 25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34">
                  <a:moveTo>
                    <a:pt x="0" y="0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23" y="34"/>
                    <a:pt x="24" y="34"/>
                    <a:pt x="24" y="32"/>
                  </a:cubicBezTo>
                  <a:cubicBezTo>
                    <a:pt x="24" y="30"/>
                    <a:pt x="24" y="27"/>
                    <a:pt x="24" y="27"/>
                  </a:cubicBezTo>
                  <a:cubicBezTo>
                    <a:pt x="24" y="27"/>
                    <a:pt x="25" y="26"/>
                    <a:pt x="22" y="24"/>
                  </a:cubicBezTo>
                  <a:cubicBezTo>
                    <a:pt x="20" y="23"/>
                    <a:pt x="16" y="18"/>
                    <a:pt x="16" y="16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23"/>
            <p:cNvSpPr>
              <a:spLocks/>
            </p:cNvSpPr>
            <p:nvPr/>
          </p:nvSpPr>
          <p:spPr bwMode="gray">
            <a:xfrm>
              <a:off x="8874425" y="5042220"/>
              <a:ext cx="33338" cy="4762"/>
            </a:xfrm>
            <a:custGeom>
              <a:avLst/>
              <a:gdLst>
                <a:gd name="T0" fmla="*/ 24 w 24"/>
                <a:gd name="T1" fmla="*/ 0 h 4"/>
                <a:gd name="T2" fmla="*/ 24 w 24"/>
                <a:gd name="T3" fmla="*/ 2 h 4"/>
                <a:gd name="T4" fmla="*/ 23 w 24"/>
                <a:gd name="T5" fmla="*/ 4 h 4"/>
                <a:gd name="T6" fmla="*/ 0 w 24"/>
                <a:gd name="T7" fmla="*/ 4 h 4"/>
                <a:gd name="T8" fmla="*/ 0 w 24"/>
                <a:gd name="T9" fmla="*/ 2 h 4"/>
                <a:gd name="T10" fmla="*/ 23 w 24"/>
                <a:gd name="T11" fmla="*/ 2 h 4"/>
                <a:gd name="T12" fmla="*/ 24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4" y="0"/>
                  </a:moveTo>
                  <a:cubicBezTo>
                    <a:pt x="24" y="0"/>
                    <a:pt x="24" y="1"/>
                    <a:pt x="24" y="2"/>
                  </a:cubicBezTo>
                  <a:cubicBezTo>
                    <a:pt x="24" y="4"/>
                    <a:pt x="23" y="4"/>
                    <a:pt x="23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3" y="2"/>
                    <a:pt x="24" y="2"/>
                    <a:pt x="24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24"/>
            <p:cNvSpPr>
              <a:spLocks/>
            </p:cNvSpPr>
            <p:nvPr/>
          </p:nvSpPr>
          <p:spPr bwMode="gray">
            <a:xfrm>
              <a:off x="8896650" y="5019995"/>
              <a:ext cx="11113" cy="25400"/>
            </a:xfrm>
            <a:custGeom>
              <a:avLst/>
              <a:gdLst>
                <a:gd name="T0" fmla="*/ 0 w 8"/>
                <a:gd name="T1" fmla="*/ 0 h 18"/>
                <a:gd name="T2" fmla="*/ 0 w 8"/>
                <a:gd name="T3" fmla="*/ 18 h 18"/>
                <a:gd name="T4" fmla="*/ 7 w 8"/>
                <a:gd name="T5" fmla="*/ 18 h 18"/>
                <a:gd name="T6" fmla="*/ 8 w 8"/>
                <a:gd name="T7" fmla="*/ 16 h 18"/>
                <a:gd name="T8" fmla="*/ 8 w 8"/>
                <a:gd name="T9" fmla="*/ 11 h 18"/>
                <a:gd name="T10" fmla="*/ 8 w 8"/>
                <a:gd name="T11" fmla="*/ 11 h 18"/>
                <a:gd name="T12" fmla="*/ 8 w 8"/>
                <a:gd name="T13" fmla="*/ 11 h 18"/>
                <a:gd name="T14" fmla="*/ 8 w 8"/>
                <a:gd name="T15" fmla="*/ 11 h 18"/>
                <a:gd name="T16" fmla="*/ 6 w 8"/>
                <a:gd name="T17" fmla="*/ 8 h 18"/>
                <a:gd name="T18" fmla="*/ 0 w 8"/>
                <a:gd name="T1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18">
                  <a:moveTo>
                    <a:pt x="0" y="0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7" y="18"/>
                    <a:pt x="8" y="18"/>
                    <a:pt x="8" y="16"/>
                  </a:cubicBezTo>
                  <a:cubicBezTo>
                    <a:pt x="8" y="14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0"/>
                    <a:pt x="8" y="9"/>
                    <a:pt x="6" y="8"/>
                  </a:cubicBezTo>
                  <a:cubicBezTo>
                    <a:pt x="4" y="7"/>
                    <a:pt x="0" y="2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25"/>
            <p:cNvSpPr>
              <a:spLocks/>
            </p:cNvSpPr>
            <p:nvPr/>
          </p:nvSpPr>
          <p:spPr bwMode="gray">
            <a:xfrm>
              <a:off x="8929987" y="4756470"/>
              <a:ext cx="9525" cy="1587"/>
            </a:xfrm>
            <a:custGeom>
              <a:avLst/>
              <a:gdLst>
                <a:gd name="T0" fmla="*/ 0 w 6"/>
                <a:gd name="T1" fmla="*/ 0 h 1"/>
                <a:gd name="T2" fmla="*/ 6 w 6"/>
                <a:gd name="T3" fmla="*/ 1 h 1"/>
                <a:gd name="T4" fmla="*/ 6 w 6"/>
                <a:gd name="T5" fmla="*/ 1 h 1"/>
                <a:gd name="T6" fmla="*/ 0 w 6"/>
                <a:gd name="T7" fmla="*/ 0 h 1"/>
                <a:gd name="T8" fmla="*/ 0 w 6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">
                  <a:moveTo>
                    <a:pt x="0" y="0"/>
                  </a:moveTo>
                  <a:lnTo>
                    <a:pt x="6" y="1"/>
                  </a:lnTo>
                  <a:lnTo>
                    <a:pt x="6" y="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BD9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26"/>
            <p:cNvSpPr>
              <a:spLocks/>
            </p:cNvSpPr>
            <p:nvPr/>
          </p:nvSpPr>
          <p:spPr bwMode="gray">
            <a:xfrm>
              <a:off x="8917287" y="4731070"/>
              <a:ext cx="0" cy="1587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F6CA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27"/>
            <p:cNvSpPr>
              <a:spLocks/>
            </p:cNvSpPr>
            <p:nvPr/>
          </p:nvSpPr>
          <p:spPr bwMode="gray">
            <a:xfrm>
              <a:off x="8899825" y="4724720"/>
              <a:ext cx="50800" cy="57150"/>
            </a:xfrm>
            <a:custGeom>
              <a:avLst/>
              <a:gdLst>
                <a:gd name="T0" fmla="*/ 33 w 36"/>
                <a:gd name="T1" fmla="*/ 16 h 42"/>
                <a:gd name="T2" fmla="*/ 28 w 36"/>
                <a:gd name="T3" fmla="*/ 7 h 42"/>
                <a:gd name="T4" fmla="*/ 27 w 36"/>
                <a:gd name="T5" fmla="*/ 5 h 42"/>
                <a:gd name="T6" fmla="*/ 27 w 36"/>
                <a:gd name="T7" fmla="*/ 5 h 42"/>
                <a:gd name="T8" fmla="*/ 17 w 36"/>
                <a:gd name="T9" fmla="*/ 4 h 42"/>
                <a:gd name="T10" fmla="*/ 13 w 36"/>
                <a:gd name="T11" fmla="*/ 0 h 42"/>
                <a:gd name="T12" fmla="*/ 13 w 36"/>
                <a:gd name="T13" fmla="*/ 0 h 42"/>
                <a:gd name="T14" fmla="*/ 13 w 36"/>
                <a:gd name="T15" fmla="*/ 5 h 42"/>
                <a:gd name="T16" fmla="*/ 13 w 36"/>
                <a:gd name="T17" fmla="*/ 6 h 42"/>
                <a:gd name="T18" fmla="*/ 13 w 36"/>
                <a:gd name="T19" fmla="*/ 11 h 42"/>
                <a:gd name="T20" fmla="*/ 14 w 36"/>
                <a:gd name="T21" fmla="*/ 14 h 42"/>
                <a:gd name="T22" fmla="*/ 11 w 36"/>
                <a:gd name="T23" fmla="*/ 14 h 42"/>
                <a:gd name="T24" fmla="*/ 6 w 36"/>
                <a:gd name="T25" fmla="*/ 11 h 42"/>
                <a:gd name="T26" fmla="*/ 3 w 36"/>
                <a:gd name="T27" fmla="*/ 12 h 42"/>
                <a:gd name="T28" fmla="*/ 4 w 36"/>
                <a:gd name="T29" fmla="*/ 17 h 42"/>
                <a:gd name="T30" fmla="*/ 5 w 36"/>
                <a:gd name="T31" fmla="*/ 20 h 42"/>
                <a:gd name="T32" fmla="*/ 6 w 36"/>
                <a:gd name="T33" fmla="*/ 22 h 42"/>
                <a:gd name="T34" fmla="*/ 6 w 36"/>
                <a:gd name="T35" fmla="*/ 22 h 42"/>
                <a:gd name="T36" fmla="*/ 6 w 36"/>
                <a:gd name="T37" fmla="*/ 22 h 42"/>
                <a:gd name="T38" fmla="*/ 2 w 36"/>
                <a:gd name="T39" fmla="*/ 31 h 42"/>
                <a:gd name="T40" fmla="*/ 0 w 36"/>
                <a:gd name="T41" fmla="*/ 30 h 42"/>
                <a:gd name="T42" fmla="*/ 2 w 36"/>
                <a:gd name="T43" fmla="*/ 41 h 42"/>
                <a:gd name="T44" fmla="*/ 19 w 36"/>
                <a:gd name="T45" fmla="*/ 42 h 42"/>
                <a:gd name="T46" fmla="*/ 18 w 36"/>
                <a:gd name="T47" fmla="*/ 36 h 42"/>
                <a:gd name="T48" fmla="*/ 23 w 36"/>
                <a:gd name="T49" fmla="*/ 37 h 42"/>
                <a:gd name="T50" fmla="*/ 28 w 36"/>
                <a:gd name="T51" fmla="*/ 34 h 42"/>
                <a:gd name="T52" fmla="*/ 29 w 36"/>
                <a:gd name="T53" fmla="*/ 29 h 42"/>
                <a:gd name="T54" fmla="*/ 29 w 36"/>
                <a:gd name="T55" fmla="*/ 24 h 42"/>
                <a:gd name="T56" fmla="*/ 30 w 36"/>
                <a:gd name="T57" fmla="*/ 20 h 42"/>
                <a:gd name="T58" fmla="*/ 33 w 36"/>
                <a:gd name="T59" fmla="*/ 1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6" h="42">
                  <a:moveTo>
                    <a:pt x="33" y="16"/>
                  </a:moveTo>
                  <a:cubicBezTo>
                    <a:pt x="33" y="16"/>
                    <a:pt x="28" y="8"/>
                    <a:pt x="28" y="7"/>
                  </a:cubicBezTo>
                  <a:cubicBezTo>
                    <a:pt x="27" y="6"/>
                    <a:pt x="27" y="5"/>
                    <a:pt x="27" y="5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3" y="6"/>
                    <a:pt x="20" y="5"/>
                    <a:pt x="17" y="4"/>
                  </a:cubicBezTo>
                  <a:cubicBezTo>
                    <a:pt x="15" y="2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13" y="9"/>
                    <a:pt x="13" y="11"/>
                  </a:cubicBezTo>
                  <a:cubicBezTo>
                    <a:pt x="14" y="12"/>
                    <a:pt x="14" y="14"/>
                    <a:pt x="14" y="14"/>
                  </a:cubicBezTo>
                  <a:cubicBezTo>
                    <a:pt x="14" y="16"/>
                    <a:pt x="11" y="14"/>
                    <a:pt x="11" y="14"/>
                  </a:cubicBezTo>
                  <a:cubicBezTo>
                    <a:pt x="11" y="14"/>
                    <a:pt x="9" y="12"/>
                    <a:pt x="6" y="11"/>
                  </a:cubicBezTo>
                  <a:cubicBezTo>
                    <a:pt x="5" y="11"/>
                    <a:pt x="4" y="11"/>
                    <a:pt x="3" y="12"/>
                  </a:cubicBezTo>
                  <a:cubicBezTo>
                    <a:pt x="3" y="13"/>
                    <a:pt x="3" y="15"/>
                    <a:pt x="4" y="17"/>
                  </a:cubicBezTo>
                  <a:cubicBezTo>
                    <a:pt x="4" y="18"/>
                    <a:pt x="4" y="20"/>
                    <a:pt x="5" y="20"/>
                  </a:cubicBezTo>
                  <a:cubicBezTo>
                    <a:pt x="5" y="21"/>
                    <a:pt x="6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6" y="28"/>
                    <a:pt x="2" y="31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20" y="37"/>
                    <a:pt x="21" y="37"/>
                    <a:pt x="23" y="37"/>
                  </a:cubicBezTo>
                  <a:cubicBezTo>
                    <a:pt x="28" y="37"/>
                    <a:pt x="28" y="34"/>
                    <a:pt x="28" y="34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6" y="19"/>
                    <a:pt x="34" y="17"/>
                    <a:pt x="33" y="16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8"/>
            <p:cNvSpPr>
              <a:spLocks/>
            </p:cNvSpPr>
            <p:nvPr/>
          </p:nvSpPr>
          <p:spPr bwMode="gray">
            <a:xfrm>
              <a:off x="8907762" y="4772345"/>
              <a:ext cx="17463" cy="4762"/>
            </a:xfrm>
            <a:custGeom>
              <a:avLst/>
              <a:gdLst>
                <a:gd name="T0" fmla="*/ 0 w 12"/>
                <a:gd name="T1" fmla="*/ 0 h 3"/>
                <a:gd name="T2" fmla="*/ 12 w 12"/>
                <a:gd name="T3" fmla="*/ 3 h 3"/>
                <a:gd name="T4" fmla="*/ 12 w 12"/>
                <a:gd name="T5" fmla="*/ 1 h 3"/>
                <a:gd name="T6" fmla="*/ 0 w 1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3">
                  <a:moveTo>
                    <a:pt x="0" y="0"/>
                  </a:moveTo>
                  <a:cubicBezTo>
                    <a:pt x="1" y="1"/>
                    <a:pt x="4" y="3"/>
                    <a:pt x="12" y="3"/>
                  </a:cubicBezTo>
                  <a:cubicBezTo>
                    <a:pt x="12" y="2"/>
                    <a:pt x="12" y="2"/>
                    <a:pt x="12" y="1"/>
                  </a:cubicBezTo>
                  <a:cubicBezTo>
                    <a:pt x="8" y="1"/>
                    <a:pt x="4" y="1"/>
                    <a:pt x="0" y="0"/>
                  </a:cubicBezTo>
                  <a:close/>
                </a:path>
              </a:pathLst>
            </a:custGeom>
            <a:solidFill>
              <a:srgbClr val="8054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9"/>
            <p:cNvSpPr>
              <a:spLocks/>
            </p:cNvSpPr>
            <p:nvPr/>
          </p:nvSpPr>
          <p:spPr bwMode="gray">
            <a:xfrm>
              <a:off x="8934750" y="4758058"/>
              <a:ext cx="4763" cy="4762"/>
            </a:xfrm>
            <a:custGeom>
              <a:avLst/>
              <a:gdLst>
                <a:gd name="T0" fmla="*/ 4 w 4"/>
                <a:gd name="T1" fmla="*/ 3 h 4"/>
                <a:gd name="T2" fmla="*/ 2 w 4"/>
                <a:gd name="T3" fmla="*/ 0 h 4"/>
                <a:gd name="T4" fmla="*/ 0 w 4"/>
                <a:gd name="T5" fmla="*/ 0 h 4"/>
                <a:gd name="T6" fmla="*/ 4 w 4"/>
                <a:gd name="T7" fmla="*/ 4 h 4"/>
                <a:gd name="T8" fmla="*/ 4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4" y="3"/>
                  </a:moveTo>
                  <a:cubicBezTo>
                    <a:pt x="3" y="2"/>
                    <a:pt x="2" y="1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2" y="2"/>
                    <a:pt x="4" y="4"/>
                  </a:cubicBezTo>
                  <a:lnTo>
                    <a:pt x="4" y="3"/>
                  </a:lnTo>
                  <a:close/>
                </a:path>
              </a:pathLst>
            </a:custGeom>
            <a:solidFill>
              <a:srgbClr val="8054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30"/>
            <p:cNvSpPr>
              <a:spLocks/>
            </p:cNvSpPr>
            <p:nvPr/>
          </p:nvSpPr>
          <p:spPr bwMode="gray">
            <a:xfrm>
              <a:off x="8937925" y="4758058"/>
              <a:ext cx="1588" cy="3175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0 h 3"/>
                <a:gd name="T4" fmla="*/ 2 w 2"/>
                <a:gd name="T5" fmla="*/ 3 h 3"/>
                <a:gd name="T6" fmla="*/ 2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2"/>
                    <a:pt x="2" y="3"/>
                  </a:cubicBezTo>
                  <a:lnTo>
                    <a:pt x="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31"/>
            <p:cNvSpPr>
              <a:spLocks/>
            </p:cNvSpPr>
            <p:nvPr/>
          </p:nvSpPr>
          <p:spPr bwMode="gray">
            <a:xfrm>
              <a:off x="8934750" y="4739008"/>
              <a:ext cx="4763" cy="3175"/>
            </a:xfrm>
            <a:custGeom>
              <a:avLst/>
              <a:gdLst>
                <a:gd name="T0" fmla="*/ 3 w 3"/>
                <a:gd name="T1" fmla="*/ 1 h 3"/>
                <a:gd name="T2" fmla="*/ 1 w 3"/>
                <a:gd name="T3" fmla="*/ 3 h 3"/>
                <a:gd name="T4" fmla="*/ 0 w 3"/>
                <a:gd name="T5" fmla="*/ 2 h 3"/>
                <a:gd name="T6" fmla="*/ 1 w 3"/>
                <a:gd name="T7" fmla="*/ 0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3" y="2"/>
                    <a:pt x="2" y="3"/>
                    <a:pt x="1" y="3"/>
                  </a:cubicBezTo>
                  <a:cubicBezTo>
                    <a:pt x="1" y="3"/>
                    <a:pt x="0" y="3"/>
                    <a:pt x="0" y="2"/>
                  </a:cubicBezTo>
                  <a:cubicBezTo>
                    <a:pt x="0" y="1"/>
                    <a:pt x="0" y="1"/>
                    <a:pt x="1" y="0"/>
                  </a:cubicBezTo>
                  <a:cubicBezTo>
                    <a:pt x="2" y="0"/>
                    <a:pt x="2" y="1"/>
                    <a:pt x="3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32"/>
            <p:cNvSpPr>
              <a:spLocks/>
            </p:cNvSpPr>
            <p:nvPr/>
          </p:nvSpPr>
          <p:spPr bwMode="gray">
            <a:xfrm>
              <a:off x="8893475" y="4772345"/>
              <a:ext cx="34925" cy="22225"/>
            </a:xfrm>
            <a:custGeom>
              <a:avLst/>
              <a:gdLst>
                <a:gd name="T0" fmla="*/ 0 w 22"/>
                <a:gd name="T1" fmla="*/ 8 h 14"/>
                <a:gd name="T2" fmla="*/ 2 w 22"/>
                <a:gd name="T3" fmla="*/ 0 h 14"/>
                <a:gd name="T4" fmla="*/ 22 w 22"/>
                <a:gd name="T5" fmla="*/ 4 h 14"/>
                <a:gd name="T6" fmla="*/ 22 w 22"/>
                <a:gd name="T7" fmla="*/ 14 h 14"/>
                <a:gd name="T8" fmla="*/ 0 w 22"/>
                <a:gd name="T9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4">
                  <a:moveTo>
                    <a:pt x="0" y="8"/>
                  </a:moveTo>
                  <a:lnTo>
                    <a:pt x="2" y="0"/>
                  </a:lnTo>
                  <a:lnTo>
                    <a:pt x="22" y="4"/>
                  </a:lnTo>
                  <a:lnTo>
                    <a:pt x="22" y="14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33"/>
            <p:cNvSpPr>
              <a:spLocks/>
            </p:cNvSpPr>
            <p:nvPr/>
          </p:nvSpPr>
          <p:spPr bwMode="gray">
            <a:xfrm>
              <a:off x="8855375" y="4777108"/>
              <a:ext cx="103188" cy="166687"/>
            </a:xfrm>
            <a:custGeom>
              <a:avLst/>
              <a:gdLst>
                <a:gd name="T0" fmla="*/ 31 w 74"/>
                <a:gd name="T1" fmla="*/ 4 h 121"/>
                <a:gd name="T2" fmla="*/ 14 w 74"/>
                <a:gd name="T3" fmla="*/ 24 h 121"/>
                <a:gd name="T4" fmla="*/ 0 w 74"/>
                <a:gd name="T5" fmla="*/ 119 h 121"/>
                <a:gd name="T6" fmla="*/ 68 w 74"/>
                <a:gd name="T7" fmla="*/ 115 h 121"/>
                <a:gd name="T8" fmla="*/ 62 w 74"/>
                <a:gd name="T9" fmla="*/ 16 h 121"/>
                <a:gd name="T10" fmla="*/ 31 w 74"/>
                <a:gd name="T11" fmla="*/ 4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121">
                  <a:moveTo>
                    <a:pt x="31" y="4"/>
                  </a:moveTo>
                  <a:cubicBezTo>
                    <a:pt x="17" y="5"/>
                    <a:pt x="14" y="22"/>
                    <a:pt x="14" y="24"/>
                  </a:cubicBezTo>
                  <a:cubicBezTo>
                    <a:pt x="13" y="49"/>
                    <a:pt x="11" y="118"/>
                    <a:pt x="0" y="119"/>
                  </a:cubicBezTo>
                  <a:cubicBezTo>
                    <a:pt x="60" y="119"/>
                    <a:pt x="62" y="121"/>
                    <a:pt x="68" y="115"/>
                  </a:cubicBezTo>
                  <a:cubicBezTo>
                    <a:pt x="74" y="109"/>
                    <a:pt x="62" y="16"/>
                    <a:pt x="62" y="16"/>
                  </a:cubicBezTo>
                  <a:cubicBezTo>
                    <a:pt x="61" y="0"/>
                    <a:pt x="48" y="3"/>
                    <a:pt x="31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34"/>
            <p:cNvSpPr>
              <a:spLocks/>
            </p:cNvSpPr>
            <p:nvPr/>
          </p:nvSpPr>
          <p:spPr bwMode="gray">
            <a:xfrm>
              <a:off x="8855375" y="4780283"/>
              <a:ext cx="69850" cy="160337"/>
            </a:xfrm>
            <a:custGeom>
              <a:avLst/>
              <a:gdLst>
                <a:gd name="T0" fmla="*/ 31 w 50"/>
                <a:gd name="T1" fmla="*/ 1 h 116"/>
                <a:gd name="T2" fmla="*/ 14 w 50"/>
                <a:gd name="T3" fmla="*/ 21 h 116"/>
                <a:gd name="T4" fmla="*/ 0 w 50"/>
                <a:gd name="T5" fmla="*/ 116 h 116"/>
                <a:gd name="T6" fmla="*/ 9 w 50"/>
                <a:gd name="T7" fmla="*/ 116 h 116"/>
                <a:gd name="T8" fmla="*/ 8 w 50"/>
                <a:gd name="T9" fmla="*/ 116 h 116"/>
                <a:gd name="T10" fmla="*/ 22 w 50"/>
                <a:gd name="T11" fmla="*/ 31 h 116"/>
                <a:gd name="T12" fmla="*/ 40 w 50"/>
                <a:gd name="T13" fmla="*/ 2 h 116"/>
                <a:gd name="T14" fmla="*/ 49 w 50"/>
                <a:gd name="T15" fmla="*/ 0 h 116"/>
                <a:gd name="T16" fmla="*/ 31 w 50"/>
                <a:gd name="T17" fmla="*/ 1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" h="116">
                  <a:moveTo>
                    <a:pt x="31" y="1"/>
                  </a:moveTo>
                  <a:cubicBezTo>
                    <a:pt x="17" y="2"/>
                    <a:pt x="14" y="19"/>
                    <a:pt x="14" y="21"/>
                  </a:cubicBezTo>
                  <a:cubicBezTo>
                    <a:pt x="13" y="46"/>
                    <a:pt x="11" y="115"/>
                    <a:pt x="0" y="116"/>
                  </a:cubicBezTo>
                  <a:cubicBezTo>
                    <a:pt x="3" y="116"/>
                    <a:pt x="6" y="116"/>
                    <a:pt x="9" y="116"/>
                  </a:cubicBezTo>
                  <a:cubicBezTo>
                    <a:pt x="8" y="116"/>
                    <a:pt x="8" y="116"/>
                    <a:pt x="8" y="116"/>
                  </a:cubicBezTo>
                  <a:cubicBezTo>
                    <a:pt x="20" y="115"/>
                    <a:pt x="21" y="55"/>
                    <a:pt x="22" y="31"/>
                  </a:cubicBezTo>
                  <a:cubicBezTo>
                    <a:pt x="22" y="29"/>
                    <a:pt x="26" y="3"/>
                    <a:pt x="40" y="2"/>
                  </a:cubicBezTo>
                  <a:cubicBezTo>
                    <a:pt x="43" y="2"/>
                    <a:pt x="50" y="1"/>
                    <a:pt x="49" y="0"/>
                  </a:cubicBezTo>
                  <a:cubicBezTo>
                    <a:pt x="44" y="0"/>
                    <a:pt x="38" y="0"/>
                    <a:pt x="31" y="1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35"/>
            <p:cNvSpPr>
              <a:spLocks/>
            </p:cNvSpPr>
            <p:nvPr/>
          </p:nvSpPr>
          <p:spPr bwMode="gray">
            <a:xfrm>
              <a:off x="8890300" y="4850133"/>
              <a:ext cx="87313" cy="55562"/>
            </a:xfrm>
            <a:custGeom>
              <a:avLst/>
              <a:gdLst>
                <a:gd name="T0" fmla="*/ 63 w 63"/>
                <a:gd name="T1" fmla="*/ 36 h 41"/>
                <a:gd name="T2" fmla="*/ 57 w 63"/>
                <a:gd name="T3" fmla="*/ 41 h 41"/>
                <a:gd name="T4" fmla="*/ 6 w 63"/>
                <a:gd name="T5" fmla="*/ 41 h 41"/>
                <a:gd name="T6" fmla="*/ 0 w 63"/>
                <a:gd name="T7" fmla="*/ 36 h 41"/>
                <a:gd name="T8" fmla="*/ 0 w 63"/>
                <a:gd name="T9" fmla="*/ 6 h 41"/>
                <a:gd name="T10" fmla="*/ 6 w 63"/>
                <a:gd name="T11" fmla="*/ 0 h 41"/>
                <a:gd name="T12" fmla="*/ 57 w 63"/>
                <a:gd name="T13" fmla="*/ 0 h 41"/>
                <a:gd name="T14" fmla="*/ 63 w 63"/>
                <a:gd name="T15" fmla="*/ 6 h 41"/>
                <a:gd name="T16" fmla="*/ 63 w 63"/>
                <a:gd name="T17" fmla="*/ 3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3" h="41">
                  <a:moveTo>
                    <a:pt x="63" y="36"/>
                  </a:moveTo>
                  <a:cubicBezTo>
                    <a:pt x="63" y="39"/>
                    <a:pt x="60" y="41"/>
                    <a:pt x="57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3" y="41"/>
                    <a:pt x="0" y="39"/>
                    <a:pt x="0" y="3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60" y="0"/>
                    <a:pt x="63" y="3"/>
                    <a:pt x="63" y="6"/>
                  </a:cubicBezTo>
                  <a:lnTo>
                    <a:pt x="63" y="36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36"/>
            <p:cNvSpPr>
              <a:spLocks/>
            </p:cNvSpPr>
            <p:nvPr/>
          </p:nvSpPr>
          <p:spPr bwMode="gray">
            <a:xfrm>
              <a:off x="8960150" y="4897758"/>
              <a:ext cx="19050" cy="20637"/>
            </a:xfrm>
            <a:custGeom>
              <a:avLst/>
              <a:gdLst>
                <a:gd name="T0" fmla="*/ 0 w 14"/>
                <a:gd name="T1" fmla="*/ 10 h 15"/>
                <a:gd name="T2" fmla="*/ 0 w 14"/>
                <a:gd name="T3" fmla="*/ 10 h 15"/>
                <a:gd name="T4" fmla="*/ 1 w 14"/>
                <a:gd name="T5" fmla="*/ 12 h 15"/>
                <a:gd name="T6" fmla="*/ 6 w 14"/>
                <a:gd name="T7" fmla="*/ 15 h 15"/>
                <a:gd name="T8" fmla="*/ 8 w 14"/>
                <a:gd name="T9" fmla="*/ 14 h 15"/>
                <a:gd name="T10" fmla="*/ 9 w 14"/>
                <a:gd name="T11" fmla="*/ 13 h 15"/>
                <a:gd name="T12" fmla="*/ 11 w 14"/>
                <a:gd name="T13" fmla="*/ 12 h 15"/>
                <a:gd name="T14" fmla="*/ 11 w 14"/>
                <a:gd name="T15" fmla="*/ 10 h 15"/>
                <a:gd name="T16" fmla="*/ 13 w 14"/>
                <a:gd name="T17" fmla="*/ 9 h 15"/>
                <a:gd name="T18" fmla="*/ 12 w 14"/>
                <a:gd name="T19" fmla="*/ 6 h 15"/>
                <a:gd name="T20" fmla="*/ 11 w 14"/>
                <a:gd name="T21" fmla="*/ 6 h 15"/>
                <a:gd name="T22" fmla="*/ 13 w 14"/>
                <a:gd name="T23" fmla="*/ 5 h 15"/>
                <a:gd name="T24" fmla="*/ 13 w 14"/>
                <a:gd name="T25" fmla="*/ 3 h 15"/>
                <a:gd name="T26" fmla="*/ 8 w 14"/>
                <a:gd name="T27" fmla="*/ 0 h 15"/>
                <a:gd name="T28" fmla="*/ 6 w 14"/>
                <a:gd name="T29" fmla="*/ 0 h 15"/>
                <a:gd name="T30" fmla="*/ 0 w 14"/>
                <a:gd name="T31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" h="15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1" y="12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5"/>
                    <a:pt x="8" y="15"/>
                    <a:pt x="8" y="14"/>
                  </a:cubicBezTo>
                  <a:cubicBezTo>
                    <a:pt x="9" y="14"/>
                    <a:pt x="9" y="13"/>
                    <a:pt x="9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1" y="11"/>
                    <a:pt x="11" y="10"/>
                    <a:pt x="11" y="10"/>
                  </a:cubicBezTo>
                  <a:cubicBezTo>
                    <a:pt x="11" y="10"/>
                    <a:pt x="12" y="10"/>
                    <a:pt x="13" y="9"/>
                  </a:cubicBezTo>
                  <a:cubicBezTo>
                    <a:pt x="13" y="8"/>
                    <a:pt x="13" y="7"/>
                    <a:pt x="1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3" y="6"/>
                    <a:pt x="13" y="5"/>
                  </a:cubicBezTo>
                  <a:cubicBezTo>
                    <a:pt x="14" y="4"/>
                    <a:pt x="14" y="3"/>
                    <a:pt x="13" y="3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2" y="2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37"/>
            <p:cNvSpPr>
              <a:spLocks/>
            </p:cNvSpPr>
            <p:nvPr/>
          </p:nvSpPr>
          <p:spPr bwMode="gray">
            <a:xfrm>
              <a:off x="8960150" y="4892995"/>
              <a:ext cx="15875" cy="6350"/>
            </a:xfrm>
            <a:custGeom>
              <a:avLst/>
              <a:gdLst>
                <a:gd name="T0" fmla="*/ 0 w 11"/>
                <a:gd name="T1" fmla="*/ 2 h 4"/>
                <a:gd name="T2" fmla="*/ 2 w 11"/>
                <a:gd name="T3" fmla="*/ 0 h 4"/>
                <a:gd name="T4" fmla="*/ 10 w 11"/>
                <a:gd name="T5" fmla="*/ 0 h 4"/>
                <a:gd name="T6" fmla="*/ 11 w 11"/>
                <a:gd name="T7" fmla="*/ 2 h 4"/>
                <a:gd name="T8" fmla="*/ 11 w 11"/>
                <a:gd name="T9" fmla="*/ 2 h 4"/>
                <a:gd name="T10" fmla="*/ 10 w 11"/>
                <a:gd name="T11" fmla="*/ 4 h 4"/>
                <a:gd name="T12" fmla="*/ 2 w 11"/>
                <a:gd name="T13" fmla="*/ 4 h 4"/>
                <a:gd name="T14" fmla="*/ 0 w 11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4"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1" y="1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0" y="4"/>
                    <a:pt x="10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8"/>
            <p:cNvSpPr>
              <a:spLocks/>
            </p:cNvSpPr>
            <p:nvPr/>
          </p:nvSpPr>
          <p:spPr bwMode="gray">
            <a:xfrm>
              <a:off x="8893475" y="4797745"/>
              <a:ext cx="77788" cy="115887"/>
            </a:xfrm>
            <a:custGeom>
              <a:avLst/>
              <a:gdLst>
                <a:gd name="T0" fmla="*/ 48 w 57"/>
                <a:gd name="T1" fmla="*/ 84 h 84"/>
                <a:gd name="T2" fmla="*/ 42 w 57"/>
                <a:gd name="T3" fmla="*/ 82 h 84"/>
                <a:gd name="T4" fmla="*/ 18 w 57"/>
                <a:gd name="T5" fmla="*/ 59 h 84"/>
                <a:gd name="T6" fmla="*/ 1 w 57"/>
                <a:gd name="T7" fmla="*/ 11 h 84"/>
                <a:gd name="T8" fmla="*/ 6 w 57"/>
                <a:gd name="T9" fmla="*/ 1 h 84"/>
                <a:gd name="T10" fmla="*/ 16 w 57"/>
                <a:gd name="T11" fmla="*/ 6 h 84"/>
                <a:gd name="T12" fmla="*/ 32 w 57"/>
                <a:gd name="T13" fmla="*/ 50 h 84"/>
                <a:gd name="T14" fmla="*/ 53 w 57"/>
                <a:gd name="T15" fmla="*/ 70 h 84"/>
                <a:gd name="T16" fmla="*/ 54 w 57"/>
                <a:gd name="T17" fmla="*/ 81 h 84"/>
                <a:gd name="T18" fmla="*/ 48 w 57"/>
                <a:gd name="T1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84">
                  <a:moveTo>
                    <a:pt x="48" y="84"/>
                  </a:moveTo>
                  <a:cubicBezTo>
                    <a:pt x="46" y="84"/>
                    <a:pt x="44" y="83"/>
                    <a:pt x="42" y="82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7"/>
                    <a:pt x="2" y="2"/>
                    <a:pt x="6" y="1"/>
                  </a:cubicBezTo>
                  <a:cubicBezTo>
                    <a:pt x="10" y="0"/>
                    <a:pt x="15" y="2"/>
                    <a:pt x="16" y="6"/>
                  </a:cubicBezTo>
                  <a:cubicBezTo>
                    <a:pt x="32" y="50"/>
                    <a:pt x="32" y="50"/>
                    <a:pt x="32" y="50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57" y="73"/>
                    <a:pt x="57" y="78"/>
                    <a:pt x="54" y="81"/>
                  </a:cubicBezTo>
                  <a:cubicBezTo>
                    <a:pt x="52" y="83"/>
                    <a:pt x="50" y="84"/>
                    <a:pt x="48" y="8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9"/>
            <p:cNvSpPr>
              <a:spLocks/>
            </p:cNvSpPr>
            <p:nvPr/>
          </p:nvSpPr>
          <p:spPr bwMode="gray">
            <a:xfrm>
              <a:off x="8893475" y="4799333"/>
              <a:ext cx="69850" cy="114300"/>
            </a:xfrm>
            <a:custGeom>
              <a:avLst/>
              <a:gdLst>
                <a:gd name="T0" fmla="*/ 48 w 51"/>
                <a:gd name="T1" fmla="*/ 76 h 82"/>
                <a:gd name="T2" fmla="*/ 23 w 51"/>
                <a:gd name="T3" fmla="*/ 53 h 82"/>
                <a:gd name="T4" fmla="*/ 5 w 51"/>
                <a:gd name="T5" fmla="*/ 2 h 82"/>
                <a:gd name="T6" fmla="*/ 4 w 51"/>
                <a:gd name="T7" fmla="*/ 0 h 82"/>
                <a:gd name="T8" fmla="*/ 1 w 51"/>
                <a:gd name="T9" fmla="*/ 9 h 82"/>
                <a:gd name="T10" fmla="*/ 18 w 51"/>
                <a:gd name="T11" fmla="*/ 57 h 82"/>
                <a:gd name="T12" fmla="*/ 42 w 51"/>
                <a:gd name="T13" fmla="*/ 80 h 82"/>
                <a:gd name="T14" fmla="*/ 48 w 51"/>
                <a:gd name="T15" fmla="*/ 82 h 82"/>
                <a:gd name="T16" fmla="*/ 51 w 51"/>
                <a:gd name="T17" fmla="*/ 81 h 82"/>
                <a:gd name="T18" fmla="*/ 48 w 51"/>
                <a:gd name="T19" fmla="*/ 76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82">
                  <a:moveTo>
                    <a:pt x="48" y="76"/>
                  </a:moveTo>
                  <a:cubicBezTo>
                    <a:pt x="23" y="53"/>
                    <a:pt x="23" y="53"/>
                    <a:pt x="23" y="53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1"/>
                    <a:pt x="5" y="1"/>
                    <a:pt x="4" y="0"/>
                  </a:cubicBezTo>
                  <a:cubicBezTo>
                    <a:pt x="1" y="2"/>
                    <a:pt x="0" y="6"/>
                    <a:pt x="1" y="9"/>
                  </a:cubicBezTo>
                  <a:cubicBezTo>
                    <a:pt x="18" y="57"/>
                    <a:pt x="18" y="57"/>
                    <a:pt x="18" y="57"/>
                  </a:cubicBezTo>
                  <a:cubicBezTo>
                    <a:pt x="42" y="80"/>
                    <a:pt x="42" y="80"/>
                    <a:pt x="42" y="80"/>
                  </a:cubicBezTo>
                  <a:cubicBezTo>
                    <a:pt x="44" y="81"/>
                    <a:pt x="46" y="82"/>
                    <a:pt x="48" y="82"/>
                  </a:cubicBezTo>
                  <a:cubicBezTo>
                    <a:pt x="49" y="82"/>
                    <a:pt x="50" y="82"/>
                    <a:pt x="51" y="81"/>
                  </a:cubicBezTo>
                  <a:cubicBezTo>
                    <a:pt x="51" y="79"/>
                    <a:pt x="50" y="78"/>
                    <a:pt x="48" y="76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40"/>
            <p:cNvSpPr>
              <a:spLocks/>
            </p:cNvSpPr>
            <p:nvPr/>
          </p:nvSpPr>
          <p:spPr bwMode="gray">
            <a:xfrm>
              <a:off x="8869662" y="4696145"/>
              <a:ext cx="73025" cy="73025"/>
            </a:xfrm>
            <a:custGeom>
              <a:avLst/>
              <a:gdLst>
                <a:gd name="T0" fmla="*/ 49 w 53"/>
                <a:gd name="T1" fmla="*/ 11 h 53"/>
                <a:gd name="T2" fmla="*/ 42 w 53"/>
                <a:gd name="T3" fmla="*/ 6 h 53"/>
                <a:gd name="T4" fmla="*/ 40 w 53"/>
                <a:gd name="T5" fmla="*/ 6 h 53"/>
                <a:gd name="T6" fmla="*/ 33 w 53"/>
                <a:gd name="T7" fmla="*/ 1 h 53"/>
                <a:gd name="T8" fmla="*/ 29 w 53"/>
                <a:gd name="T9" fmla="*/ 3 h 53"/>
                <a:gd name="T10" fmla="*/ 23 w 53"/>
                <a:gd name="T11" fmla="*/ 0 h 53"/>
                <a:gd name="T12" fmla="*/ 15 w 53"/>
                <a:gd name="T13" fmla="*/ 4 h 53"/>
                <a:gd name="T14" fmla="*/ 14 w 53"/>
                <a:gd name="T15" fmla="*/ 4 h 53"/>
                <a:gd name="T16" fmla="*/ 6 w 53"/>
                <a:gd name="T17" fmla="*/ 12 h 53"/>
                <a:gd name="T18" fmla="*/ 6 w 53"/>
                <a:gd name="T19" fmla="*/ 13 h 53"/>
                <a:gd name="T20" fmla="*/ 0 w 53"/>
                <a:gd name="T21" fmla="*/ 21 h 53"/>
                <a:gd name="T22" fmla="*/ 1 w 53"/>
                <a:gd name="T23" fmla="*/ 25 h 53"/>
                <a:gd name="T24" fmla="*/ 0 w 53"/>
                <a:gd name="T25" fmla="*/ 30 h 53"/>
                <a:gd name="T26" fmla="*/ 4 w 53"/>
                <a:gd name="T27" fmla="*/ 37 h 53"/>
                <a:gd name="T28" fmla="*/ 4 w 53"/>
                <a:gd name="T29" fmla="*/ 38 h 53"/>
                <a:gd name="T30" fmla="*/ 3 w 53"/>
                <a:gd name="T31" fmla="*/ 39 h 53"/>
                <a:gd name="T32" fmla="*/ 11 w 53"/>
                <a:gd name="T33" fmla="*/ 48 h 53"/>
                <a:gd name="T34" fmla="*/ 11 w 53"/>
                <a:gd name="T35" fmla="*/ 48 h 53"/>
                <a:gd name="T36" fmla="*/ 16 w 53"/>
                <a:gd name="T37" fmla="*/ 52 h 53"/>
                <a:gd name="T38" fmla="*/ 19 w 53"/>
                <a:gd name="T39" fmla="*/ 52 h 53"/>
                <a:gd name="T40" fmla="*/ 22 w 53"/>
                <a:gd name="T41" fmla="*/ 53 h 53"/>
                <a:gd name="T42" fmla="*/ 22 w 53"/>
                <a:gd name="T43" fmla="*/ 53 h 53"/>
                <a:gd name="T44" fmla="*/ 22 w 53"/>
                <a:gd name="T45" fmla="*/ 53 h 53"/>
                <a:gd name="T46" fmla="*/ 26 w 53"/>
                <a:gd name="T47" fmla="*/ 50 h 53"/>
                <a:gd name="T48" fmla="*/ 31 w 53"/>
                <a:gd name="T49" fmla="*/ 49 h 53"/>
                <a:gd name="T50" fmla="*/ 31 w 53"/>
                <a:gd name="T51" fmla="*/ 40 h 53"/>
                <a:gd name="T52" fmla="*/ 38 w 53"/>
                <a:gd name="T53" fmla="*/ 39 h 53"/>
                <a:gd name="T54" fmla="*/ 38 w 53"/>
                <a:gd name="T55" fmla="*/ 31 h 53"/>
                <a:gd name="T56" fmla="*/ 43 w 53"/>
                <a:gd name="T57" fmla="*/ 30 h 53"/>
                <a:gd name="T58" fmla="*/ 45 w 53"/>
                <a:gd name="T59" fmla="*/ 26 h 53"/>
                <a:gd name="T60" fmla="*/ 49 w 53"/>
                <a:gd name="T61" fmla="*/ 26 h 53"/>
                <a:gd name="T62" fmla="*/ 49 w 53"/>
                <a:gd name="T63" fmla="*/ 26 h 53"/>
                <a:gd name="T64" fmla="*/ 53 w 53"/>
                <a:gd name="T65" fmla="*/ 17 h 53"/>
                <a:gd name="T66" fmla="*/ 49 w 53"/>
                <a:gd name="T67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3" h="53">
                  <a:moveTo>
                    <a:pt x="49" y="11"/>
                  </a:moveTo>
                  <a:cubicBezTo>
                    <a:pt x="48" y="8"/>
                    <a:pt x="45" y="6"/>
                    <a:pt x="42" y="6"/>
                  </a:cubicBezTo>
                  <a:cubicBezTo>
                    <a:pt x="41" y="6"/>
                    <a:pt x="41" y="6"/>
                    <a:pt x="40" y="6"/>
                  </a:cubicBezTo>
                  <a:cubicBezTo>
                    <a:pt x="39" y="3"/>
                    <a:pt x="36" y="1"/>
                    <a:pt x="33" y="1"/>
                  </a:cubicBezTo>
                  <a:cubicBezTo>
                    <a:pt x="32" y="1"/>
                    <a:pt x="30" y="2"/>
                    <a:pt x="29" y="3"/>
                  </a:cubicBezTo>
                  <a:cubicBezTo>
                    <a:pt x="27" y="1"/>
                    <a:pt x="25" y="0"/>
                    <a:pt x="23" y="0"/>
                  </a:cubicBezTo>
                  <a:cubicBezTo>
                    <a:pt x="19" y="0"/>
                    <a:pt x="16" y="2"/>
                    <a:pt x="15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0" y="4"/>
                    <a:pt x="6" y="8"/>
                    <a:pt x="6" y="12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3" y="14"/>
                    <a:pt x="0" y="17"/>
                    <a:pt x="0" y="21"/>
                  </a:cubicBezTo>
                  <a:cubicBezTo>
                    <a:pt x="0" y="22"/>
                    <a:pt x="1" y="24"/>
                    <a:pt x="1" y="25"/>
                  </a:cubicBezTo>
                  <a:cubicBezTo>
                    <a:pt x="0" y="26"/>
                    <a:pt x="0" y="28"/>
                    <a:pt x="0" y="30"/>
                  </a:cubicBezTo>
                  <a:cubicBezTo>
                    <a:pt x="0" y="33"/>
                    <a:pt x="1" y="36"/>
                    <a:pt x="4" y="37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3" y="38"/>
                    <a:pt x="3" y="39"/>
                    <a:pt x="3" y="39"/>
                  </a:cubicBezTo>
                  <a:cubicBezTo>
                    <a:pt x="3" y="44"/>
                    <a:pt x="7" y="47"/>
                    <a:pt x="11" y="48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50"/>
                    <a:pt x="14" y="52"/>
                    <a:pt x="16" y="52"/>
                  </a:cubicBezTo>
                  <a:cubicBezTo>
                    <a:pt x="17" y="52"/>
                    <a:pt x="18" y="52"/>
                    <a:pt x="19" y="52"/>
                  </a:cubicBezTo>
                  <a:cubicBezTo>
                    <a:pt x="20" y="52"/>
                    <a:pt x="21" y="53"/>
                    <a:pt x="22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4" y="52"/>
                    <a:pt x="25" y="51"/>
                    <a:pt x="26" y="50"/>
                  </a:cubicBezTo>
                  <a:cubicBezTo>
                    <a:pt x="27" y="50"/>
                    <a:pt x="29" y="50"/>
                    <a:pt x="31" y="49"/>
                  </a:cubicBezTo>
                  <a:cubicBezTo>
                    <a:pt x="39" y="46"/>
                    <a:pt x="32" y="45"/>
                    <a:pt x="31" y="40"/>
                  </a:cubicBezTo>
                  <a:cubicBezTo>
                    <a:pt x="31" y="35"/>
                    <a:pt x="36" y="40"/>
                    <a:pt x="38" y="39"/>
                  </a:cubicBezTo>
                  <a:cubicBezTo>
                    <a:pt x="40" y="39"/>
                    <a:pt x="38" y="35"/>
                    <a:pt x="38" y="31"/>
                  </a:cubicBezTo>
                  <a:cubicBezTo>
                    <a:pt x="37" y="27"/>
                    <a:pt x="39" y="30"/>
                    <a:pt x="43" y="30"/>
                  </a:cubicBezTo>
                  <a:cubicBezTo>
                    <a:pt x="46" y="29"/>
                    <a:pt x="46" y="28"/>
                    <a:pt x="45" y="26"/>
                  </a:cubicBezTo>
                  <a:cubicBezTo>
                    <a:pt x="47" y="26"/>
                    <a:pt x="48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52" y="24"/>
                    <a:pt x="53" y="20"/>
                    <a:pt x="53" y="17"/>
                  </a:cubicBezTo>
                  <a:cubicBezTo>
                    <a:pt x="52" y="14"/>
                    <a:pt x="51" y="13"/>
                    <a:pt x="49" y="1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41"/>
            <p:cNvSpPr>
              <a:spLocks/>
            </p:cNvSpPr>
            <p:nvPr/>
          </p:nvSpPr>
          <p:spPr bwMode="gray">
            <a:xfrm>
              <a:off x="8861725" y="4683445"/>
              <a:ext cx="82550" cy="65087"/>
            </a:xfrm>
            <a:custGeom>
              <a:avLst/>
              <a:gdLst>
                <a:gd name="T0" fmla="*/ 60 w 60"/>
                <a:gd name="T1" fmla="*/ 26 h 47"/>
                <a:gd name="T2" fmla="*/ 59 w 60"/>
                <a:gd name="T3" fmla="*/ 21 h 47"/>
                <a:gd name="T4" fmla="*/ 22 w 60"/>
                <a:gd name="T5" fmla="*/ 6 h 47"/>
                <a:gd name="T6" fmla="*/ 6 w 60"/>
                <a:gd name="T7" fmla="*/ 43 h 47"/>
                <a:gd name="T8" fmla="*/ 8 w 60"/>
                <a:gd name="T9" fmla="*/ 47 h 47"/>
                <a:gd name="T10" fmla="*/ 60 w 60"/>
                <a:gd name="T11" fmla="*/ 2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47">
                  <a:moveTo>
                    <a:pt x="60" y="26"/>
                  </a:moveTo>
                  <a:cubicBezTo>
                    <a:pt x="60" y="24"/>
                    <a:pt x="59" y="23"/>
                    <a:pt x="59" y="21"/>
                  </a:cubicBezTo>
                  <a:cubicBezTo>
                    <a:pt x="53" y="7"/>
                    <a:pt x="36" y="0"/>
                    <a:pt x="22" y="6"/>
                  </a:cubicBezTo>
                  <a:cubicBezTo>
                    <a:pt x="7" y="12"/>
                    <a:pt x="0" y="29"/>
                    <a:pt x="6" y="43"/>
                  </a:cubicBezTo>
                  <a:cubicBezTo>
                    <a:pt x="7" y="44"/>
                    <a:pt x="7" y="46"/>
                    <a:pt x="8" y="47"/>
                  </a:cubicBezTo>
                  <a:lnTo>
                    <a:pt x="60" y="26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42"/>
            <p:cNvSpPr>
              <a:spLocks/>
            </p:cNvSpPr>
            <p:nvPr/>
          </p:nvSpPr>
          <p:spPr bwMode="gray">
            <a:xfrm>
              <a:off x="8885537" y="4683445"/>
              <a:ext cx="58738" cy="38100"/>
            </a:xfrm>
            <a:custGeom>
              <a:avLst/>
              <a:gdLst>
                <a:gd name="T0" fmla="*/ 34 w 42"/>
                <a:gd name="T1" fmla="*/ 24 h 28"/>
                <a:gd name="T2" fmla="*/ 35 w 42"/>
                <a:gd name="T3" fmla="*/ 28 h 28"/>
                <a:gd name="T4" fmla="*/ 42 w 42"/>
                <a:gd name="T5" fmla="*/ 26 h 28"/>
                <a:gd name="T6" fmla="*/ 41 w 42"/>
                <a:gd name="T7" fmla="*/ 21 h 28"/>
                <a:gd name="T8" fmla="*/ 4 w 42"/>
                <a:gd name="T9" fmla="*/ 6 h 28"/>
                <a:gd name="T10" fmla="*/ 0 w 42"/>
                <a:gd name="T11" fmla="*/ 8 h 28"/>
                <a:gd name="T12" fmla="*/ 34 w 42"/>
                <a:gd name="T13" fmla="*/ 2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28">
                  <a:moveTo>
                    <a:pt x="34" y="24"/>
                  </a:moveTo>
                  <a:cubicBezTo>
                    <a:pt x="34" y="26"/>
                    <a:pt x="34" y="27"/>
                    <a:pt x="35" y="28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2" y="24"/>
                    <a:pt x="41" y="23"/>
                    <a:pt x="41" y="21"/>
                  </a:cubicBezTo>
                  <a:cubicBezTo>
                    <a:pt x="35" y="7"/>
                    <a:pt x="18" y="0"/>
                    <a:pt x="4" y="6"/>
                  </a:cubicBezTo>
                  <a:cubicBezTo>
                    <a:pt x="2" y="7"/>
                    <a:pt x="1" y="7"/>
                    <a:pt x="0" y="8"/>
                  </a:cubicBezTo>
                  <a:cubicBezTo>
                    <a:pt x="14" y="4"/>
                    <a:pt x="28" y="11"/>
                    <a:pt x="34" y="24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43"/>
            <p:cNvSpPr>
              <a:spLocks/>
            </p:cNvSpPr>
            <p:nvPr/>
          </p:nvSpPr>
          <p:spPr bwMode="gray">
            <a:xfrm>
              <a:off x="8864900" y="4692970"/>
              <a:ext cx="26988" cy="55562"/>
            </a:xfrm>
            <a:custGeom>
              <a:avLst/>
              <a:gdLst>
                <a:gd name="T0" fmla="*/ 20 w 20"/>
                <a:gd name="T1" fmla="*/ 0 h 40"/>
                <a:gd name="T2" fmla="*/ 16 w 20"/>
                <a:gd name="T3" fmla="*/ 1 h 40"/>
                <a:gd name="T4" fmla="*/ 3 w 20"/>
                <a:gd name="T5" fmla="*/ 30 h 40"/>
                <a:gd name="T6" fmla="*/ 3 w 20"/>
                <a:gd name="T7" fmla="*/ 30 h 40"/>
                <a:gd name="T8" fmla="*/ 3 w 20"/>
                <a:gd name="T9" fmla="*/ 31 h 40"/>
                <a:gd name="T10" fmla="*/ 4 w 20"/>
                <a:gd name="T11" fmla="*/ 36 h 40"/>
                <a:gd name="T12" fmla="*/ 6 w 20"/>
                <a:gd name="T13" fmla="*/ 40 h 40"/>
                <a:gd name="T14" fmla="*/ 10 w 20"/>
                <a:gd name="T15" fmla="*/ 38 h 40"/>
                <a:gd name="T16" fmla="*/ 13 w 20"/>
                <a:gd name="T17" fmla="*/ 37 h 40"/>
                <a:gd name="T18" fmla="*/ 11 w 20"/>
                <a:gd name="T19" fmla="*/ 33 h 40"/>
                <a:gd name="T20" fmla="*/ 20 w 20"/>
                <a:gd name="T2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0">
                  <a:moveTo>
                    <a:pt x="20" y="0"/>
                  </a:moveTo>
                  <a:cubicBezTo>
                    <a:pt x="18" y="0"/>
                    <a:pt x="17" y="1"/>
                    <a:pt x="16" y="1"/>
                  </a:cubicBezTo>
                  <a:cubicBezTo>
                    <a:pt x="6" y="7"/>
                    <a:pt x="0" y="19"/>
                    <a:pt x="3" y="30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3" y="33"/>
                    <a:pt x="4" y="34"/>
                    <a:pt x="4" y="36"/>
                  </a:cubicBezTo>
                  <a:cubicBezTo>
                    <a:pt x="5" y="37"/>
                    <a:pt x="6" y="39"/>
                    <a:pt x="6" y="40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36"/>
                    <a:pt x="12" y="34"/>
                    <a:pt x="11" y="33"/>
                  </a:cubicBezTo>
                  <a:cubicBezTo>
                    <a:pt x="6" y="21"/>
                    <a:pt x="10" y="8"/>
                    <a:pt x="20" y="0"/>
                  </a:cubicBez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44"/>
            <p:cNvSpPr>
              <a:spLocks/>
            </p:cNvSpPr>
            <p:nvPr/>
          </p:nvSpPr>
          <p:spPr bwMode="gray">
            <a:xfrm>
              <a:off x="8864900" y="4708845"/>
              <a:ext cx="84138" cy="39687"/>
            </a:xfrm>
            <a:custGeom>
              <a:avLst/>
              <a:gdLst>
                <a:gd name="T0" fmla="*/ 58 w 61"/>
                <a:gd name="T1" fmla="*/ 0 h 29"/>
                <a:gd name="T2" fmla="*/ 1 w 61"/>
                <a:gd name="T3" fmla="*/ 23 h 29"/>
                <a:gd name="T4" fmla="*/ 1 w 61"/>
                <a:gd name="T5" fmla="*/ 27 h 29"/>
                <a:gd name="T6" fmla="*/ 3 w 61"/>
                <a:gd name="T7" fmla="*/ 29 h 29"/>
                <a:gd name="T8" fmla="*/ 61 w 61"/>
                <a:gd name="T9" fmla="*/ 5 h 29"/>
                <a:gd name="T10" fmla="*/ 61 w 61"/>
                <a:gd name="T11" fmla="*/ 2 h 29"/>
                <a:gd name="T12" fmla="*/ 58 w 61"/>
                <a:gd name="T13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29">
                  <a:moveTo>
                    <a:pt x="58" y="0"/>
                  </a:move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0" y="25"/>
                    <a:pt x="1" y="27"/>
                  </a:cubicBezTo>
                  <a:cubicBezTo>
                    <a:pt x="2" y="28"/>
                    <a:pt x="3" y="29"/>
                    <a:pt x="3" y="29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5"/>
                    <a:pt x="61" y="4"/>
                    <a:pt x="61" y="2"/>
                  </a:cubicBezTo>
                  <a:cubicBezTo>
                    <a:pt x="60" y="0"/>
                    <a:pt x="58" y="0"/>
                    <a:pt x="58" y="0"/>
                  </a:cubicBez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45"/>
            <p:cNvSpPr>
              <a:spLocks noEditPoints="1"/>
            </p:cNvSpPr>
            <p:nvPr/>
          </p:nvSpPr>
          <p:spPr bwMode="gray">
            <a:xfrm>
              <a:off x="8693450" y="5112070"/>
              <a:ext cx="246063" cy="301625"/>
            </a:xfrm>
            <a:custGeom>
              <a:avLst/>
              <a:gdLst>
                <a:gd name="T0" fmla="*/ 100 w 178"/>
                <a:gd name="T1" fmla="*/ 161 h 219"/>
                <a:gd name="T2" fmla="*/ 175 w 178"/>
                <a:gd name="T3" fmla="*/ 114 h 219"/>
                <a:gd name="T4" fmla="*/ 176 w 178"/>
                <a:gd name="T5" fmla="*/ 113 h 219"/>
                <a:gd name="T6" fmla="*/ 176 w 178"/>
                <a:gd name="T7" fmla="*/ 113 h 219"/>
                <a:gd name="T8" fmla="*/ 177 w 178"/>
                <a:gd name="T9" fmla="*/ 112 h 219"/>
                <a:gd name="T10" fmla="*/ 177 w 178"/>
                <a:gd name="T11" fmla="*/ 110 h 219"/>
                <a:gd name="T12" fmla="*/ 177 w 178"/>
                <a:gd name="T13" fmla="*/ 109 h 219"/>
                <a:gd name="T14" fmla="*/ 177 w 178"/>
                <a:gd name="T15" fmla="*/ 108 h 219"/>
                <a:gd name="T16" fmla="*/ 176 w 178"/>
                <a:gd name="T17" fmla="*/ 107 h 219"/>
                <a:gd name="T18" fmla="*/ 176 w 178"/>
                <a:gd name="T19" fmla="*/ 107 h 219"/>
                <a:gd name="T20" fmla="*/ 175 w 178"/>
                <a:gd name="T21" fmla="*/ 106 h 219"/>
                <a:gd name="T22" fmla="*/ 174 w 178"/>
                <a:gd name="T23" fmla="*/ 105 h 219"/>
                <a:gd name="T24" fmla="*/ 100 w 178"/>
                <a:gd name="T25" fmla="*/ 58 h 219"/>
                <a:gd name="T26" fmla="*/ 176 w 178"/>
                <a:gd name="T27" fmla="*/ 3 h 219"/>
                <a:gd name="T28" fmla="*/ 89 w 178"/>
                <a:gd name="T29" fmla="*/ 51 h 219"/>
                <a:gd name="T30" fmla="*/ 2 w 178"/>
                <a:gd name="T31" fmla="*/ 3 h 219"/>
                <a:gd name="T32" fmla="*/ 78 w 178"/>
                <a:gd name="T33" fmla="*/ 58 h 219"/>
                <a:gd name="T34" fmla="*/ 3 w 178"/>
                <a:gd name="T35" fmla="*/ 105 h 219"/>
                <a:gd name="T36" fmla="*/ 2 w 178"/>
                <a:gd name="T37" fmla="*/ 106 h 219"/>
                <a:gd name="T38" fmla="*/ 2 w 178"/>
                <a:gd name="T39" fmla="*/ 107 h 219"/>
                <a:gd name="T40" fmla="*/ 2 w 178"/>
                <a:gd name="T41" fmla="*/ 107 h 219"/>
                <a:gd name="T42" fmla="*/ 1 w 178"/>
                <a:gd name="T43" fmla="*/ 108 h 219"/>
                <a:gd name="T44" fmla="*/ 1 w 178"/>
                <a:gd name="T45" fmla="*/ 109 h 219"/>
                <a:gd name="T46" fmla="*/ 1 w 178"/>
                <a:gd name="T47" fmla="*/ 110 h 219"/>
                <a:gd name="T48" fmla="*/ 1 w 178"/>
                <a:gd name="T49" fmla="*/ 112 h 219"/>
                <a:gd name="T50" fmla="*/ 1 w 178"/>
                <a:gd name="T51" fmla="*/ 113 h 219"/>
                <a:gd name="T52" fmla="*/ 2 w 178"/>
                <a:gd name="T53" fmla="*/ 113 h 219"/>
                <a:gd name="T54" fmla="*/ 3 w 178"/>
                <a:gd name="T55" fmla="*/ 114 h 219"/>
                <a:gd name="T56" fmla="*/ 78 w 178"/>
                <a:gd name="T57" fmla="*/ 161 h 219"/>
                <a:gd name="T58" fmla="*/ 2 w 178"/>
                <a:gd name="T59" fmla="*/ 216 h 219"/>
                <a:gd name="T60" fmla="*/ 10 w 178"/>
                <a:gd name="T61" fmla="*/ 218 h 219"/>
                <a:gd name="T62" fmla="*/ 168 w 178"/>
                <a:gd name="T63" fmla="*/ 218 h 219"/>
                <a:gd name="T64" fmla="*/ 176 w 178"/>
                <a:gd name="T65" fmla="*/ 216 h 219"/>
                <a:gd name="T66" fmla="*/ 18 w 178"/>
                <a:gd name="T67" fmla="*/ 110 h 219"/>
                <a:gd name="T68" fmla="*/ 160 w 178"/>
                <a:gd name="T69" fmla="*/ 110 h 219"/>
                <a:gd name="T70" fmla="*/ 18 w 178"/>
                <a:gd name="T71" fmla="*/ 11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78" h="219">
                  <a:moveTo>
                    <a:pt x="174" y="208"/>
                  </a:moveTo>
                  <a:cubicBezTo>
                    <a:pt x="100" y="161"/>
                    <a:pt x="100" y="161"/>
                    <a:pt x="100" y="161"/>
                  </a:cubicBezTo>
                  <a:cubicBezTo>
                    <a:pt x="174" y="115"/>
                    <a:pt x="174" y="115"/>
                    <a:pt x="174" y="115"/>
                  </a:cubicBezTo>
                  <a:cubicBezTo>
                    <a:pt x="175" y="114"/>
                    <a:pt x="175" y="114"/>
                    <a:pt x="175" y="114"/>
                  </a:cubicBezTo>
                  <a:cubicBezTo>
                    <a:pt x="175" y="114"/>
                    <a:pt x="175" y="114"/>
                    <a:pt x="175" y="114"/>
                  </a:cubicBezTo>
                  <a:cubicBezTo>
                    <a:pt x="175" y="114"/>
                    <a:pt x="176" y="114"/>
                    <a:pt x="176" y="113"/>
                  </a:cubicBezTo>
                  <a:cubicBezTo>
                    <a:pt x="176" y="113"/>
                    <a:pt x="176" y="113"/>
                    <a:pt x="176" y="113"/>
                  </a:cubicBezTo>
                  <a:cubicBezTo>
                    <a:pt x="176" y="113"/>
                    <a:pt x="176" y="113"/>
                    <a:pt x="176" y="113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77" y="111"/>
                    <a:pt x="177" y="111"/>
                    <a:pt x="177" y="111"/>
                  </a:cubicBezTo>
                  <a:cubicBezTo>
                    <a:pt x="177" y="110"/>
                    <a:pt x="177" y="110"/>
                    <a:pt x="177" y="110"/>
                  </a:cubicBezTo>
                  <a:cubicBezTo>
                    <a:pt x="177" y="110"/>
                    <a:pt x="177" y="110"/>
                    <a:pt x="177" y="110"/>
                  </a:cubicBezTo>
                  <a:cubicBezTo>
                    <a:pt x="177" y="109"/>
                    <a:pt x="177" y="109"/>
                    <a:pt x="177" y="109"/>
                  </a:cubicBezTo>
                  <a:cubicBezTo>
                    <a:pt x="177" y="109"/>
                    <a:pt x="177" y="109"/>
                    <a:pt x="177" y="109"/>
                  </a:cubicBezTo>
                  <a:cubicBezTo>
                    <a:pt x="177" y="108"/>
                    <a:pt x="177" y="108"/>
                    <a:pt x="177" y="108"/>
                  </a:cubicBezTo>
                  <a:cubicBezTo>
                    <a:pt x="177" y="108"/>
                    <a:pt x="177" y="108"/>
                    <a:pt x="177" y="108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6"/>
                    <a:pt x="176" y="106"/>
                    <a:pt x="176" y="106"/>
                  </a:cubicBezTo>
                  <a:cubicBezTo>
                    <a:pt x="175" y="106"/>
                    <a:pt x="175" y="106"/>
                    <a:pt x="175" y="106"/>
                  </a:cubicBezTo>
                  <a:cubicBezTo>
                    <a:pt x="175" y="105"/>
                    <a:pt x="175" y="105"/>
                    <a:pt x="175" y="105"/>
                  </a:cubicBezTo>
                  <a:cubicBezTo>
                    <a:pt x="174" y="105"/>
                    <a:pt x="174" y="105"/>
                    <a:pt x="174" y="105"/>
                  </a:cubicBezTo>
                  <a:cubicBezTo>
                    <a:pt x="174" y="105"/>
                    <a:pt x="174" y="105"/>
                    <a:pt x="174" y="105"/>
                  </a:cubicBezTo>
                  <a:cubicBezTo>
                    <a:pt x="100" y="58"/>
                    <a:pt x="100" y="58"/>
                    <a:pt x="100" y="58"/>
                  </a:cubicBezTo>
                  <a:cubicBezTo>
                    <a:pt x="174" y="12"/>
                    <a:pt x="174" y="12"/>
                    <a:pt x="174" y="12"/>
                  </a:cubicBezTo>
                  <a:cubicBezTo>
                    <a:pt x="177" y="10"/>
                    <a:pt x="178" y="6"/>
                    <a:pt x="176" y="3"/>
                  </a:cubicBezTo>
                  <a:cubicBezTo>
                    <a:pt x="174" y="1"/>
                    <a:pt x="171" y="0"/>
                    <a:pt x="168" y="2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7" y="0"/>
                    <a:pt x="3" y="1"/>
                    <a:pt x="2" y="3"/>
                  </a:cubicBezTo>
                  <a:cubicBezTo>
                    <a:pt x="0" y="6"/>
                    <a:pt x="1" y="10"/>
                    <a:pt x="4" y="12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4" y="105"/>
                    <a:pt x="4" y="105"/>
                    <a:pt x="4" y="105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11"/>
                    <a:pt x="1" y="111"/>
                    <a:pt x="1" y="111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1" y="113"/>
                    <a:pt x="1" y="113"/>
                    <a:pt x="1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4"/>
                    <a:pt x="2" y="114"/>
                    <a:pt x="3" y="114"/>
                  </a:cubicBezTo>
                  <a:cubicBezTo>
                    <a:pt x="3" y="114"/>
                    <a:pt x="3" y="114"/>
                    <a:pt x="3" y="114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78" y="161"/>
                    <a:pt x="78" y="161"/>
                    <a:pt x="78" y="161"/>
                  </a:cubicBezTo>
                  <a:cubicBezTo>
                    <a:pt x="4" y="208"/>
                    <a:pt x="4" y="208"/>
                    <a:pt x="4" y="208"/>
                  </a:cubicBezTo>
                  <a:cubicBezTo>
                    <a:pt x="1" y="210"/>
                    <a:pt x="0" y="213"/>
                    <a:pt x="2" y="216"/>
                  </a:cubicBezTo>
                  <a:cubicBezTo>
                    <a:pt x="3" y="218"/>
                    <a:pt x="5" y="219"/>
                    <a:pt x="7" y="219"/>
                  </a:cubicBezTo>
                  <a:cubicBezTo>
                    <a:pt x="8" y="219"/>
                    <a:pt x="9" y="219"/>
                    <a:pt x="10" y="218"/>
                  </a:cubicBezTo>
                  <a:cubicBezTo>
                    <a:pt x="89" y="169"/>
                    <a:pt x="89" y="169"/>
                    <a:pt x="89" y="169"/>
                  </a:cubicBezTo>
                  <a:cubicBezTo>
                    <a:pt x="168" y="218"/>
                    <a:pt x="168" y="218"/>
                    <a:pt x="168" y="218"/>
                  </a:cubicBezTo>
                  <a:cubicBezTo>
                    <a:pt x="169" y="219"/>
                    <a:pt x="170" y="219"/>
                    <a:pt x="171" y="219"/>
                  </a:cubicBezTo>
                  <a:cubicBezTo>
                    <a:pt x="173" y="219"/>
                    <a:pt x="175" y="218"/>
                    <a:pt x="176" y="216"/>
                  </a:cubicBezTo>
                  <a:cubicBezTo>
                    <a:pt x="178" y="213"/>
                    <a:pt x="177" y="210"/>
                    <a:pt x="174" y="208"/>
                  </a:cubicBezTo>
                  <a:close/>
                  <a:moveTo>
                    <a:pt x="18" y="110"/>
                  </a:moveTo>
                  <a:cubicBezTo>
                    <a:pt x="89" y="65"/>
                    <a:pt x="89" y="65"/>
                    <a:pt x="89" y="65"/>
                  </a:cubicBezTo>
                  <a:cubicBezTo>
                    <a:pt x="160" y="110"/>
                    <a:pt x="160" y="110"/>
                    <a:pt x="160" y="110"/>
                  </a:cubicBezTo>
                  <a:cubicBezTo>
                    <a:pt x="89" y="154"/>
                    <a:pt x="89" y="154"/>
                    <a:pt x="89" y="154"/>
                  </a:cubicBezTo>
                  <a:lnTo>
                    <a:pt x="18" y="11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46"/>
            <p:cNvSpPr>
              <a:spLocks/>
            </p:cNvSpPr>
            <p:nvPr/>
          </p:nvSpPr>
          <p:spPr bwMode="gray">
            <a:xfrm>
              <a:off x="8642650" y="5386708"/>
              <a:ext cx="346075" cy="112712"/>
            </a:xfrm>
            <a:custGeom>
              <a:avLst/>
              <a:gdLst>
                <a:gd name="T0" fmla="*/ 250 w 250"/>
                <a:gd name="T1" fmla="*/ 72 h 81"/>
                <a:gd name="T2" fmla="*/ 241 w 250"/>
                <a:gd name="T3" fmla="*/ 81 h 81"/>
                <a:gd name="T4" fmla="*/ 9 w 250"/>
                <a:gd name="T5" fmla="*/ 81 h 81"/>
                <a:gd name="T6" fmla="*/ 0 w 250"/>
                <a:gd name="T7" fmla="*/ 72 h 81"/>
                <a:gd name="T8" fmla="*/ 0 w 250"/>
                <a:gd name="T9" fmla="*/ 9 h 81"/>
                <a:gd name="T10" fmla="*/ 9 w 250"/>
                <a:gd name="T11" fmla="*/ 0 h 81"/>
                <a:gd name="T12" fmla="*/ 241 w 250"/>
                <a:gd name="T13" fmla="*/ 0 h 81"/>
                <a:gd name="T14" fmla="*/ 250 w 250"/>
                <a:gd name="T15" fmla="*/ 9 h 81"/>
                <a:gd name="T16" fmla="*/ 250 w 250"/>
                <a:gd name="T17" fmla="*/ 7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81">
                  <a:moveTo>
                    <a:pt x="250" y="72"/>
                  </a:moveTo>
                  <a:cubicBezTo>
                    <a:pt x="250" y="77"/>
                    <a:pt x="246" y="81"/>
                    <a:pt x="241" y="81"/>
                  </a:cubicBezTo>
                  <a:cubicBezTo>
                    <a:pt x="9" y="81"/>
                    <a:pt x="9" y="81"/>
                    <a:pt x="9" y="81"/>
                  </a:cubicBezTo>
                  <a:cubicBezTo>
                    <a:pt x="4" y="81"/>
                    <a:pt x="0" y="77"/>
                    <a:pt x="0" y="72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lnTo>
                    <a:pt x="250" y="7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47"/>
            <p:cNvSpPr>
              <a:spLocks/>
            </p:cNvSpPr>
            <p:nvPr/>
          </p:nvSpPr>
          <p:spPr bwMode="gray">
            <a:xfrm>
              <a:off x="8642650" y="5405758"/>
              <a:ext cx="327025" cy="93662"/>
            </a:xfrm>
            <a:custGeom>
              <a:avLst/>
              <a:gdLst>
                <a:gd name="T0" fmla="*/ 22 w 236"/>
                <a:gd name="T1" fmla="*/ 55 h 68"/>
                <a:gd name="T2" fmla="*/ 14 w 236"/>
                <a:gd name="T3" fmla="*/ 46 h 68"/>
                <a:gd name="T4" fmla="*/ 14 w 236"/>
                <a:gd name="T5" fmla="*/ 0 h 68"/>
                <a:gd name="T6" fmla="*/ 0 w 236"/>
                <a:gd name="T7" fmla="*/ 0 h 68"/>
                <a:gd name="T8" fmla="*/ 0 w 236"/>
                <a:gd name="T9" fmla="*/ 59 h 68"/>
                <a:gd name="T10" fmla="*/ 9 w 236"/>
                <a:gd name="T11" fmla="*/ 68 h 68"/>
                <a:gd name="T12" fmla="*/ 236 w 236"/>
                <a:gd name="T13" fmla="*/ 68 h 68"/>
                <a:gd name="T14" fmla="*/ 236 w 236"/>
                <a:gd name="T15" fmla="*/ 55 h 68"/>
                <a:gd name="T16" fmla="*/ 22 w 236"/>
                <a:gd name="T17" fmla="*/ 55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6" h="68">
                  <a:moveTo>
                    <a:pt x="22" y="55"/>
                  </a:moveTo>
                  <a:cubicBezTo>
                    <a:pt x="17" y="55"/>
                    <a:pt x="14" y="51"/>
                    <a:pt x="14" y="46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64"/>
                    <a:pt x="4" y="68"/>
                    <a:pt x="9" y="68"/>
                  </a:cubicBezTo>
                  <a:cubicBezTo>
                    <a:pt x="236" y="68"/>
                    <a:pt x="236" y="68"/>
                    <a:pt x="236" y="68"/>
                  </a:cubicBezTo>
                  <a:cubicBezTo>
                    <a:pt x="236" y="55"/>
                    <a:pt x="236" y="55"/>
                    <a:pt x="236" y="55"/>
                  </a:cubicBezTo>
                  <a:lnTo>
                    <a:pt x="22" y="55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8"/>
            <p:cNvSpPr>
              <a:spLocks/>
            </p:cNvSpPr>
            <p:nvPr/>
          </p:nvSpPr>
          <p:spPr bwMode="gray">
            <a:xfrm>
              <a:off x="8642650" y="5386708"/>
              <a:ext cx="346075" cy="112712"/>
            </a:xfrm>
            <a:custGeom>
              <a:avLst/>
              <a:gdLst>
                <a:gd name="T0" fmla="*/ 241 w 250"/>
                <a:gd name="T1" fmla="*/ 81 h 81"/>
                <a:gd name="T2" fmla="*/ 236 w 250"/>
                <a:gd name="T3" fmla="*/ 81 h 81"/>
                <a:gd name="T4" fmla="*/ 236 w 250"/>
                <a:gd name="T5" fmla="*/ 22 h 81"/>
                <a:gd name="T6" fmla="*/ 228 w 250"/>
                <a:gd name="T7" fmla="*/ 13 h 81"/>
                <a:gd name="T8" fmla="*/ 0 w 250"/>
                <a:gd name="T9" fmla="*/ 13 h 81"/>
                <a:gd name="T10" fmla="*/ 0 w 250"/>
                <a:gd name="T11" fmla="*/ 9 h 81"/>
                <a:gd name="T12" fmla="*/ 9 w 250"/>
                <a:gd name="T13" fmla="*/ 0 h 81"/>
                <a:gd name="T14" fmla="*/ 241 w 250"/>
                <a:gd name="T15" fmla="*/ 0 h 81"/>
                <a:gd name="T16" fmla="*/ 250 w 250"/>
                <a:gd name="T17" fmla="*/ 9 h 81"/>
                <a:gd name="T18" fmla="*/ 250 w 250"/>
                <a:gd name="T19" fmla="*/ 72 h 81"/>
                <a:gd name="T20" fmla="*/ 241 w 250"/>
                <a:gd name="T21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" h="81">
                  <a:moveTo>
                    <a:pt x="241" y="81"/>
                  </a:moveTo>
                  <a:cubicBezTo>
                    <a:pt x="236" y="81"/>
                    <a:pt x="236" y="81"/>
                    <a:pt x="236" y="81"/>
                  </a:cubicBezTo>
                  <a:cubicBezTo>
                    <a:pt x="236" y="22"/>
                    <a:pt x="236" y="22"/>
                    <a:pt x="236" y="22"/>
                  </a:cubicBezTo>
                  <a:cubicBezTo>
                    <a:pt x="236" y="17"/>
                    <a:pt x="232" y="13"/>
                    <a:pt x="228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cubicBezTo>
                    <a:pt x="250" y="72"/>
                    <a:pt x="250" y="72"/>
                    <a:pt x="250" y="72"/>
                  </a:cubicBezTo>
                  <a:cubicBezTo>
                    <a:pt x="250" y="77"/>
                    <a:pt x="246" y="81"/>
                    <a:pt x="241" y="8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Oval 49"/>
            <p:cNvSpPr>
              <a:spLocks noChangeArrowheads="1"/>
            </p:cNvSpPr>
            <p:nvPr/>
          </p:nvSpPr>
          <p:spPr bwMode="gray">
            <a:xfrm>
              <a:off x="8674400" y="5454970"/>
              <a:ext cx="87313" cy="873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Oval 50"/>
            <p:cNvSpPr>
              <a:spLocks noChangeArrowheads="1"/>
            </p:cNvSpPr>
            <p:nvPr/>
          </p:nvSpPr>
          <p:spPr bwMode="gray">
            <a:xfrm>
              <a:off x="8693450" y="5474020"/>
              <a:ext cx="49213" cy="49212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51"/>
            <p:cNvSpPr>
              <a:spLocks/>
            </p:cNvSpPr>
            <p:nvPr/>
          </p:nvSpPr>
          <p:spPr bwMode="gray">
            <a:xfrm>
              <a:off x="8693450" y="5480370"/>
              <a:ext cx="42863" cy="42862"/>
            </a:xfrm>
            <a:custGeom>
              <a:avLst/>
              <a:gdLst>
                <a:gd name="T0" fmla="*/ 18 w 31"/>
                <a:gd name="T1" fmla="*/ 31 h 31"/>
                <a:gd name="T2" fmla="*/ 31 w 31"/>
                <a:gd name="T3" fmla="*/ 26 h 31"/>
                <a:gd name="T4" fmla="*/ 6 w 31"/>
                <a:gd name="T5" fmla="*/ 0 h 31"/>
                <a:gd name="T6" fmla="*/ 0 w 31"/>
                <a:gd name="T7" fmla="*/ 13 h 31"/>
                <a:gd name="T8" fmla="*/ 18 w 31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18" y="31"/>
                  </a:moveTo>
                  <a:cubicBezTo>
                    <a:pt x="23" y="31"/>
                    <a:pt x="28" y="29"/>
                    <a:pt x="31" y="2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4"/>
                    <a:pt x="0" y="8"/>
                    <a:pt x="0" y="13"/>
                  </a:cubicBezTo>
                  <a:cubicBezTo>
                    <a:pt x="0" y="23"/>
                    <a:pt x="8" y="31"/>
                    <a:pt x="18" y="3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Oval 52"/>
            <p:cNvSpPr>
              <a:spLocks noChangeArrowheads="1"/>
            </p:cNvSpPr>
            <p:nvPr/>
          </p:nvSpPr>
          <p:spPr bwMode="gray">
            <a:xfrm>
              <a:off x="8869662" y="5454970"/>
              <a:ext cx="87313" cy="873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Oval 53"/>
            <p:cNvSpPr>
              <a:spLocks noChangeArrowheads="1"/>
            </p:cNvSpPr>
            <p:nvPr/>
          </p:nvSpPr>
          <p:spPr bwMode="gray">
            <a:xfrm>
              <a:off x="8887125" y="5474020"/>
              <a:ext cx="50800" cy="49212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54"/>
            <p:cNvSpPr>
              <a:spLocks/>
            </p:cNvSpPr>
            <p:nvPr/>
          </p:nvSpPr>
          <p:spPr bwMode="gray">
            <a:xfrm>
              <a:off x="8887125" y="5480370"/>
              <a:ext cx="42863" cy="42862"/>
            </a:xfrm>
            <a:custGeom>
              <a:avLst/>
              <a:gdLst>
                <a:gd name="T0" fmla="*/ 18 w 31"/>
                <a:gd name="T1" fmla="*/ 31 h 31"/>
                <a:gd name="T2" fmla="*/ 31 w 31"/>
                <a:gd name="T3" fmla="*/ 26 h 31"/>
                <a:gd name="T4" fmla="*/ 6 w 31"/>
                <a:gd name="T5" fmla="*/ 0 h 31"/>
                <a:gd name="T6" fmla="*/ 0 w 31"/>
                <a:gd name="T7" fmla="*/ 13 h 31"/>
                <a:gd name="T8" fmla="*/ 18 w 31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18" y="31"/>
                  </a:moveTo>
                  <a:cubicBezTo>
                    <a:pt x="23" y="31"/>
                    <a:pt x="28" y="29"/>
                    <a:pt x="31" y="2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4"/>
                    <a:pt x="0" y="8"/>
                    <a:pt x="0" y="13"/>
                  </a:cubicBezTo>
                  <a:cubicBezTo>
                    <a:pt x="0" y="23"/>
                    <a:pt x="8" y="31"/>
                    <a:pt x="18" y="3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55"/>
            <p:cNvSpPr>
              <a:spLocks noEditPoints="1"/>
            </p:cNvSpPr>
            <p:nvPr/>
          </p:nvSpPr>
          <p:spPr bwMode="gray">
            <a:xfrm>
              <a:off x="8631537" y="4907283"/>
              <a:ext cx="368300" cy="223837"/>
            </a:xfrm>
            <a:custGeom>
              <a:avLst/>
              <a:gdLst>
                <a:gd name="T0" fmla="*/ 258 w 266"/>
                <a:gd name="T1" fmla="*/ 0 h 163"/>
                <a:gd name="T2" fmla="*/ 8 w 266"/>
                <a:gd name="T3" fmla="*/ 0 h 163"/>
                <a:gd name="T4" fmla="*/ 0 w 266"/>
                <a:gd name="T5" fmla="*/ 8 h 163"/>
                <a:gd name="T6" fmla="*/ 8 w 266"/>
                <a:gd name="T7" fmla="*/ 16 h 163"/>
                <a:gd name="T8" fmla="*/ 23 w 266"/>
                <a:gd name="T9" fmla="*/ 16 h 163"/>
                <a:gd name="T10" fmla="*/ 23 w 266"/>
                <a:gd name="T11" fmla="*/ 102 h 163"/>
                <a:gd name="T12" fmla="*/ 17 w 266"/>
                <a:gd name="T13" fmla="*/ 102 h 163"/>
                <a:gd name="T14" fmla="*/ 8 w 266"/>
                <a:gd name="T15" fmla="*/ 111 h 163"/>
                <a:gd name="T16" fmla="*/ 8 w 266"/>
                <a:gd name="T17" fmla="*/ 155 h 163"/>
                <a:gd name="T18" fmla="*/ 17 w 266"/>
                <a:gd name="T19" fmla="*/ 163 h 163"/>
                <a:gd name="T20" fmla="*/ 249 w 266"/>
                <a:gd name="T21" fmla="*/ 163 h 163"/>
                <a:gd name="T22" fmla="*/ 258 w 266"/>
                <a:gd name="T23" fmla="*/ 155 h 163"/>
                <a:gd name="T24" fmla="*/ 258 w 266"/>
                <a:gd name="T25" fmla="*/ 111 h 163"/>
                <a:gd name="T26" fmla="*/ 249 w 266"/>
                <a:gd name="T27" fmla="*/ 102 h 163"/>
                <a:gd name="T28" fmla="*/ 243 w 266"/>
                <a:gd name="T29" fmla="*/ 102 h 163"/>
                <a:gd name="T30" fmla="*/ 243 w 266"/>
                <a:gd name="T31" fmla="*/ 16 h 163"/>
                <a:gd name="T32" fmla="*/ 258 w 266"/>
                <a:gd name="T33" fmla="*/ 16 h 163"/>
                <a:gd name="T34" fmla="*/ 266 w 266"/>
                <a:gd name="T35" fmla="*/ 8 h 163"/>
                <a:gd name="T36" fmla="*/ 258 w 266"/>
                <a:gd name="T37" fmla="*/ 0 h 163"/>
                <a:gd name="T38" fmla="*/ 189 w 266"/>
                <a:gd name="T39" fmla="*/ 16 h 163"/>
                <a:gd name="T40" fmla="*/ 189 w 266"/>
                <a:gd name="T41" fmla="*/ 102 h 163"/>
                <a:gd name="T42" fmla="*/ 160 w 266"/>
                <a:gd name="T43" fmla="*/ 102 h 163"/>
                <a:gd name="T44" fmla="*/ 160 w 266"/>
                <a:gd name="T45" fmla="*/ 16 h 163"/>
                <a:gd name="T46" fmla="*/ 189 w 266"/>
                <a:gd name="T47" fmla="*/ 16 h 163"/>
                <a:gd name="T48" fmla="*/ 148 w 266"/>
                <a:gd name="T49" fmla="*/ 16 h 163"/>
                <a:gd name="T50" fmla="*/ 148 w 266"/>
                <a:gd name="T51" fmla="*/ 102 h 163"/>
                <a:gd name="T52" fmla="*/ 118 w 266"/>
                <a:gd name="T53" fmla="*/ 102 h 163"/>
                <a:gd name="T54" fmla="*/ 118 w 266"/>
                <a:gd name="T55" fmla="*/ 16 h 163"/>
                <a:gd name="T56" fmla="*/ 148 w 266"/>
                <a:gd name="T57" fmla="*/ 16 h 163"/>
                <a:gd name="T58" fmla="*/ 106 w 266"/>
                <a:gd name="T59" fmla="*/ 16 h 163"/>
                <a:gd name="T60" fmla="*/ 106 w 266"/>
                <a:gd name="T61" fmla="*/ 102 h 163"/>
                <a:gd name="T62" fmla="*/ 77 w 266"/>
                <a:gd name="T63" fmla="*/ 102 h 163"/>
                <a:gd name="T64" fmla="*/ 77 w 266"/>
                <a:gd name="T65" fmla="*/ 16 h 163"/>
                <a:gd name="T66" fmla="*/ 106 w 266"/>
                <a:gd name="T67" fmla="*/ 16 h 163"/>
                <a:gd name="T68" fmla="*/ 35 w 266"/>
                <a:gd name="T69" fmla="*/ 16 h 163"/>
                <a:gd name="T70" fmla="*/ 65 w 266"/>
                <a:gd name="T71" fmla="*/ 16 h 163"/>
                <a:gd name="T72" fmla="*/ 65 w 266"/>
                <a:gd name="T73" fmla="*/ 102 h 163"/>
                <a:gd name="T74" fmla="*/ 35 w 266"/>
                <a:gd name="T75" fmla="*/ 102 h 163"/>
                <a:gd name="T76" fmla="*/ 35 w 266"/>
                <a:gd name="T77" fmla="*/ 16 h 163"/>
                <a:gd name="T78" fmla="*/ 201 w 266"/>
                <a:gd name="T79" fmla="*/ 102 h 163"/>
                <a:gd name="T80" fmla="*/ 201 w 266"/>
                <a:gd name="T81" fmla="*/ 16 h 163"/>
                <a:gd name="T82" fmla="*/ 231 w 266"/>
                <a:gd name="T83" fmla="*/ 16 h 163"/>
                <a:gd name="T84" fmla="*/ 231 w 266"/>
                <a:gd name="T85" fmla="*/ 102 h 163"/>
                <a:gd name="T86" fmla="*/ 201 w 266"/>
                <a:gd name="T87" fmla="*/ 102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66" h="163">
                  <a:moveTo>
                    <a:pt x="25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3"/>
                    <a:pt x="4" y="16"/>
                    <a:pt x="8" y="16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3" y="102"/>
                    <a:pt x="23" y="102"/>
                    <a:pt x="23" y="102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2" y="102"/>
                    <a:pt x="8" y="106"/>
                    <a:pt x="8" y="111"/>
                  </a:cubicBezTo>
                  <a:cubicBezTo>
                    <a:pt x="8" y="155"/>
                    <a:pt x="8" y="155"/>
                    <a:pt x="8" y="155"/>
                  </a:cubicBezTo>
                  <a:cubicBezTo>
                    <a:pt x="8" y="160"/>
                    <a:pt x="12" y="163"/>
                    <a:pt x="17" y="163"/>
                  </a:cubicBezTo>
                  <a:cubicBezTo>
                    <a:pt x="249" y="163"/>
                    <a:pt x="249" y="163"/>
                    <a:pt x="249" y="163"/>
                  </a:cubicBezTo>
                  <a:cubicBezTo>
                    <a:pt x="254" y="163"/>
                    <a:pt x="258" y="160"/>
                    <a:pt x="258" y="155"/>
                  </a:cubicBezTo>
                  <a:cubicBezTo>
                    <a:pt x="258" y="111"/>
                    <a:pt x="258" y="111"/>
                    <a:pt x="258" y="111"/>
                  </a:cubicBezTo>
                  <a:cubicBezTo>
                    <a:pt x="258" y="106"/>
                    <a:pt x="254" y="102"/>
                    <a:pt x="249" y="102"/>
                  </a:cubicBezTo>
                  <a:cubicBezTo>
                    <a:pt x="243" y="102"/>
                    <a:pt x="243" y="102"/>
                    <a:pt x="243" y="102"/>
                  </a:cubicBezTo>
                  <a:cubicBezTo>
                    <a:pt x="243" y="16"/>
                    <a:pt x="243" y="16"/>
                    <a:pt x="243" y="16"/>
                  </a:cubicBezTo>
                  <a:cubicBezTo>
                    <a:pt x="258" y="16"/>
                    <a:pt x="258" y="16"/>
                    <a:pt x="258" y="16"/>
                  </a:cubicBezTo>
                  <a:cubicBezTo>
                    <a:pt x="262" y="16"/>
                    <a:pt x="266" y="13"/>
                    <a:pt x="266" y="8"/>
                  </a:cubicBezTo>
                  <a:cubicBezTo>
                    <a:pt x="266" y="4"/>
                    <a:pt x="262" y="0"/>
                    <a:pt x="258" y="0"/>
                  </a:cubicBezTo>
                  <a:close/>
                  <a:moveTo>
                    <a:pt x="189" y="16"/>
                  </a:moveTo>
                  <a:cubicBezTo>
                    <a:pt x="189" y="102"/>
                    <a:pt x="189" y="102"/>
                    <a:pt x="189" y="102"/>
                  </a:cubicBezTo>
                  <a:cubicBezTo>
                    <a:pt x="160" y="102"/>
                    <a:pt x="160" y="102"/>
                    <a:pt x="160" y="102"/>
                  </a:cubicBezTo>
                  <a:cubicBezTo>
                    <a:pt x="160" y="16"/>
                    <a:pt x="160" y="16"/>
                    <a:pt x="160" y="16"/>
                  </a:cubicBezTo>
                  <a:lnTo>
                    <a:pt x="189" y="16"/>
                  </a:lnTo>
                  <a:close/>
                  <a:moveTo>
                    <a:pt x="148" y="16"/>
                  </a:moveTo>
                  <a:cubicBezTo>
                    <a:pt x="148" y="102"/>
                    <a:pt x="148" y="102"/>
                    <a:pt x="148" y="102"/>
                  </a:cubicBezTo>
                  <a:cubicBezTo>
                    <a:pt x="118" y="102"/>
                    <a:pt x="118" y="102"/>
                    <a:pt x="118" y="102"/>
                  </a:cubicBezTo>
                  <a:cubicBezTo>
                    <a:pt x="118" y="16"/>
                    <a:pt x="118" y="16"/>
                    <a:pt x="118" y="16"/>
                  </a:cubicBezTo>
                  <a:lnTo>
                    <a:pt x="148" y="16"/>
                  </a:lnTo>
                  <a:close/>
                  <a:moveTo>
                    <a:pt x="106" y="16"/>
                  </a:moveTo>
                  <a:cubicBezTo>
                    <a:pt x="106" y="102"/>
                    <a:pt x="106" y="102"/>
                    <a:pt x="106" y="102"/>
                  </a:cubicBezTo>
                  <a:cubicBezTo>
                    <a:pt x="77" y="102"/>
                    <a:pt x="77" y="102"/>
                    <a:pt x="77" y="102"/>
                  </a:cubicBezTo>
                  <a:cubicBezTo>
                    <a:pt x="77" y="16"/>
                    <a:pt x="77" y="16"/>
                    <a:pt x="77" y="16"/>
                  </a:cubicBezTo>
                  <a:lnTo>
                    <a:pt x="106" y="16"/>
                  </a:lnTo>
                  <a:close/>
                  <a:moveTo>
                    <a:pt x="35" y="16"/>
                  </a:moveTo>
                  <a:cubicBezTo>
                    <a:pt x="65" y="16"/>
                    <a:pt x="65" y="16"/>
                    <a:pt x="65" y="16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35" y="102"/>
                    <a:pt x="35" y="102"/>
                    <a:pt x="35" y="102"/>
                  </a:cubicBezTo>
                  <a:lnTo>
                    <a:pt x="35" y="16"/>
                  </a:lnTo>
                  <a:close/>
                  <a:moveTo>
                    <a:pt x="201" y="102"/>
                  </a:moveTo>
                  <a:cubicBezTo>
                    <a:pt x="201" y="16"/>
                    <a:pt x="201" y="16"/>
                    <a:pt x="201" y="16"/>
                  </a:cubicBezTo>
                  <a:cubicBezTo>
                    <a:pt x="231" y="16"/>
                    <a:pt x="231" y="16"/>
                    <a:pt x="231" y="16"/>
                  </a:cubicBezTo>
                  <a:cubicBezTo>
                    <a:pt x="231" y="102"/>
                    <a:pt x="231" y="102"/>
                    <a:pt x="231" y="102"/>
                  </a:cubicBezTo>
                  <a:lnTo>
                    <a:pt x="201" y="10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56"/>
            <p:cNvSpPr>
              <a:spLocks/>
            </p:cNvSpPr>
            <p:nvPr/>
          </p:nvSpPr>
          <p:spPr bwMode="gray">
            <a:xfrm>
              <a:off x="8642650" y="5067620"/>
              <a:ext cx="327025" cy="63500"/>
            </a:xfrm>
            <a:custGeom>
              <a:avLst/>
              <a:gdLst>
                <a:gd name="T0" fmla="*/ 22 w 236"/>
                <a:gd name="T1" fmla="*/ 34 h 47"/>
                <a:gd name="T2" fmla="*/ 14 w 236"/>
                <a:gd name="T3" fmla="*/ 25 h 47"/>
                <a:gd name="T4" fmla="*/ 14 w 236"/>
                <a:gd name="T5" fmla="*/ 0 h 47"/>
                <a:gd name="T6" fmla="*/ 0 w 236"/>
                <a:gd name="T7" fmla="*/ 0 h 47"/>
                <a:gd name="T8" fmla="*/ 0 w 236"/>
                <a:gd name="T9" fmla="*/ 39 h 47"/>
                <a:gd name="T10" fmla="*/ 9 w 236"/>
                <a:gd name="T11" fmla="*/ 47 h 47"/>
                <a:gd name="T12" fmla="*/ 236 w 236"/>
                <a:gd name="T13" fmla="*/ 47 h 47"/>
                <a:gd name="T14" fmla="*/ 236 w 236"/>
                <a:gd name="T15" fmla="*/ 34 h 47"/>
                <a:gd name="T16" fmla="*/ 22 w 236"/>
                <a:gd name="T17" fmla="*/ 34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6" h="47">
                  <a:moveTo>
                    <a:pt x="22" y="34"/>
                  </a:moveTo>
                  <a:cubicBezTo>
                    <a:pt x="17" y="34"/>
                    <a:pt x="14" y="30"/>
                    <a:pt x="14" y="2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4"/>
                    <a:pt x="4" y="47"/>
                    <a:pt x="9" y="47"/>
                  </a:cubicBezTo>
                  <a:cubicBezTo>
                    <a:pt x="236" y="47"/>
                    <a:pt x="236" y="47"/>
                    <a:pt x="236" y="47"/>
                  </a:cubicBezTo>
                  <a:cubicBezTo>
                    <a:pt x="236" y="34"/>
                    <a:pt x="236" y="34"/>
                    <a:pt x="236" y="34"/>
                  </a:cubicBezTo>
                  <a:lnTo>
                    <a:pt x="22" y="34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57"/>
            <p:cNvSpPr>
              <a:spLocks/>
            </p:cNvSpPr>
            <p:nvPr/>
          </p:nvSpPr>
          <p:spPr bwMode="gray">
            <a:xfrm>
              <a:off x="8642650" y="5046983"/>
              <a:ext cx="346075" cy="84137"/>
            </a:xfrm>
            <a:custGeom>
              <a:avLst/>
              <a:gdLst>
                <a:gd name="T0" fmla="*/ 241 w 250"/>
                <a:gd name="T1" fmla="*/ 61 h 61"/>
                <a:gd name="T2" fmla="*/ 236 w 250"/>
                <a:gd name="T3" fmla="*/ 61 h 61"/>
                <a:gd name="T4" fmla="*/ 236 w 250"/>
                <a:gd name="T5" fmla="*/ 22 h 61"/>
                <a:gd name="T6" fmla="*/ 228 w 250"/>
                <a:gd name="T7" fmla="*/ 14 h 61"/>
                <a:gd name="T8" fmla="*/ 0 w 250"/>
                <a:gd name="T9" fmla="*/ 14 h 61"/>
                <a:gd name="T10" fmla="*/ 0 w 250"/>
                <a:gd name="T11" fmla="*/ 9 h 61"/>
                <a:gd name="T12" fmla="*/ 9 w 250"/>
                <a:gd name="T13" fmla="*/ 0 h 61"/>
                <a:gd name="T14" fmla="*/ 241 w 250"/>
                <a:gd name="T15" fmla="*/ 0 h 61"/>
                <a:gd name="T16" fmla="*/ 250 w 250"/>
                <a:gd name="T17" fmla="*/ 9 h 61"/>
                <a:gd name="T18" fmla="*/ 250 w 250"/>
                <a:gd name="T19" fmla="*/ 53 h 61"/>
                <a:gd name="T20" fmla="*/ 241 w 250"/>
                <a:gd name="T2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" h="61">
                  <a:moveTo>
                    <a:pt x="241" y="61"/>
                  </a:moveTo>
                  <a:cubicBezTo>
                    <a:pt x="236" y="61"/>
                    <a:pt x="236" y="61"/>
                    <a:pt x="236" y="61"/>
                  </a:cubicBezTo>
                  <a:cubicBezTo>
                    <a:pt x="236" y="22"/>
                    <a:pt x="236" y="22"/>
                    <a:pt x="236" y="22"/>
                  </a:cubicBezTo>
                  <a:cubicBezTo>
                    <a:pt x="236" y="18"/>
                    <a:pt x="232" y="14"/>
                    <a:pt x="228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cubicBezTo>
                    <a:pt x="250" y="53"/>
                    <a:pt x="250" y="53"/>
                    <a:pt x="250" y="53"/>
                  </a:cubicBezTo>
                  <a:cubicBezTo>
                    <a:pt x="250" y="58"/>
                    <a:pt x="246" y="61"/>
                    <a:pt x="241" y="6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8"/>
            <p:cNvSpPr>
              <a:spLocks/>
            </p:cNvSpPr>
            <p:nvPr/>
          </p:nvSpPr>
          <p:spPr bwMode="gray">
            <a:xfrm>
              <a:off x="10792125" y="4919983"/>
              <a:ext cx="61913" cy="311150"/>
            </a:xfrm>
            <a:custGeom>
              <a:avLst/>
              <a:gdLst>
                <a:gd name="T0" fmla="*/ 39 w 45"/>
                <a:gd name="T1" fmla="*/ 180 h 226"/>
                <a:gd name="T2" fmla="*/ 33 w 45"/>
                <a:gd name="T3" fmla="*/ 180 h 226"/>
                <a:gd name="T4" fmla="*/ 33 w 45"/>
                <a:gd name="T5" fmla="*/ 0 h 226"/>
                <a:gd name="T6" fmla="*/ 12 w 45"/>
                <a:gd name="T7" fmla="*/ 0 h 226"/>
                <a:gd name="T8" fmla="*/ 12 w 45"/>
                <a:gd name="T9" fmla="*/ 180 h 226"/>
                <a:gd name="T10" fmla="*/ 5 w 45"/>
                <a:gd name="T11" fmla="*/ 180 h 226"/>
                <a:gd name="T12" fmla="*/ 0 w 45"/>
                <a:gd name="T13" fmla="*/ 186 h 226"/>
                <a:gd name="T14" fmla="*/ 0 w 45"/>
                <a:gd name="T15" fmla="*/ 226 h 226"/>
                <a:gd name="T16" fmla="*/ 45 w 45"/>
                <a:gd name="T17" fmla="*/ 226 h 226"/>
                <a:gd name="T18" fmla="*/ 45 w 45"/>
                <a:gd name="T19" fmla="*/ 186 h 226"/>
                <a:gd name="T20" fmla="*/ 39 w 45"/>
                <a:gd name="T21" fmla="*/ 18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" h="226">
                  <a:moveTo>
                    <a:pt x="39" y="180"/>
                  </a:moveTo>
                  <a:cubicBezTo>
                    <a:pt x="33" y="180"/>
                    <a:pt x="33" y="180"/>
                    <a:pt x="33" y="18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80"/>
                    <a:pt x="12" y="180"/>
                    <a:pt x="12" y="180"/>
                  </a:cubicBezTo>
                  <a:cubicBezTo>
                    <a:pt x="5" y="180"/>
                    <a:pt x="5" y="180"/>
                    <a:pt x="5" y="180"/>
                  </a:cubicBezTo>
                  <a:cubicBezTo>
                    <a:pt x="2" y="180"/>
                    <a:pt x="0" y="182"/>
                    <a:pt x="0" y="186"/>
                  </a:cubicBezTo>
                  <a:cubicBezTo>
                    <a:pt x="0" y="226"/>
                    <a:pt x="0" y="226"/>
                    <a:pt x="0" y="226"/>
                  </a:cubicBezTo>
                  <a:cubicBezTo>
                    <a:pt x="45" y="226"/>
                    <a:pt x="45" y="226"/>
                    <a:pt x="45" y="226"/>
                  </a:cubicBezTo>
                  <a:cubicBezTo>
                    <a:pt x="45" y="186"/>
                    <a:pt x="45" y="186"/>
                    <a:pt x="45" y="186"/>
                  </a:cubicBezTo>
                  <a:cubicBezTo>
                    <a:pt x="45" y="182"/>
                    <a:pt x="42" y="180"/>
                    <a:pt x="39" y="180"/>
                  </a:cubicBezTo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9"/>
            <p:cNvSpPr>
              <a:spLocks/>
            </p:cNvSpPr>
            <p:nvPr/>
          </p:nvSpPr>
          <p:spPr bwMode="gray">
            <a:xfrm>
              <a:off x="10827050" y="4919983"/>
              <a:ext cx="26988" cy="311150"/>
            </a:xfrm>
            <a:custGeom>
              <a:avLst/>
              <a:gdLst>
                <a:gd name="T0" fmla="*/ 14 w 20"/>
                <a:gd name="T1" fmla="*/ 180 h 226"/>
                <a:gd name="T2" fmla="*/ 8 w 20"/>
                <a:gd name="T3" fmla="*/ 180 h 226"/>
                <a:gd name="T4" fmla="*/ 8 w 20"/>
                <a:gd name="T5" fmla="*/ 0 h 226"/>
                <a:gd name="T6" fmla="*/ 0 w 20"/>
                <a:gd name="T7" fmla="*/ 0 h 226"/>
                <a:gd name="T8" fmla="*/ 0 w 20"/>
                <a:gd name="T9" fmla="*/ 180 h 226"/>
                <a:gd name="T10" fmla="*/ 6 w 20"/>
                <a:gd name="T11" fmla="*/ 180 h 226"/>
                <a:gd name="T12" fmla="*/ 12 w 20"/>
                <a:gd name="T13" fmla="*/ 186 h 226"/>
                <a:gd name="T14" fmla="*/ 12 w 20"/>
                <a:gd name="T15" fmla="*/ 226 h 226"/>
                <a:gd name="T16" fmla="*/ 20 w 20"/>
                <a:gd name="T17" fmla="*/ 226 h 226"/>
                <a:gd name="T18" fmla="*/ 20 w 20"/>
                <a:gd name="T19" fmla="*/ 186 h 226"/>
                <a:gd name="T20" fmla="*/ 14 w 20"/>
                <a:gd name="T21" fmla="*/ 18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26">
                  <a:moveTo>
                    <a:pt x="14" y="180"/>
                  </a:moveTo>
                  <a:cubicBezTo>
                    <a:pt x="8" y="180"/>
                    <a:pt x="8" y="180"/>
                    <a:pt x="8" y="18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6" y="180"/>
                    <a:pt x="6" y="180"/>
                    <a:pt x="6" y="180"/>
                  </a:cubicBezTo>
                  <a:cubicBezTo>
                    <a:pt x="9" y="180"/>
                    <a:pt x="12" y="182"/>
                    <a:pt x="12" y="186"/>
                  </a:cubicBezTo>
                  <a:cubicBezTo>
                    <a:pt x="12" y="226"/>
                    <a:pt x="12" y="226"/>
                    <a:pt x="12" y="226"/>
                  </a:cubicBezTo>
                  <a:cubicBezTo>
                    <a:pt x="20" y="226"/>
                    <a:pt x="20" y="226"/>
                    <a:pt x="20" y="226"/>
                  </a:cubicBezTo>
                  <a:cubicBezTo>
                    <a:pt x="20" y="186"/>
                    <a:pt x="20" y="186"/>
                    <a:pt x="20" y="186"/>
                  </a:cubicBezTo>
                  <a:cubicBezTo>
                    <a:pt x="20" y="182"/>
                    <a:pt x="17" y="180"/>
                    <a:pt x="14" y="180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60"/>
            <p:cNvSpPr>
              <a:spLocks/>
            </p:cNvSpPr>
            <p:nvPr/>
          </p:nvSpPr>
          <p:spPr bwMode="gray">
            <a:xfrm>
              <a:off x="10792125" y="4919983"/>
              <a:ext cx="25400" cy="311150"/>
            </a:xfrm>
            <a:custGeom>
              <a:avLst/>
              <a:gdLst>
                <a:gd name="T0" fmla="*/ 19 w 19"/>
                <a:gd name="T1" fmla="*/ 0 h 226"/>
                <a:gd name="T2" fmla="*/ 12 w 19"/>
                <a:gd name="T3" fmla="*/ 0 h 226"/>
                <a:gd name="T4" fmla="*/ 12 w 19"/>
                <a:gd name="T5" fmla="*/ 180 h 226"/>
                <a:gd name="T6" fmla="*/ 5 w 19"/>
                <a:gd name="T7" fmla="*/ 180 h 226"/>
                <a:gd name="T8" fmla="*/ 0 w 19"/>
                <a:gd name="T9" fmla="*/ 186 h 226"/>
                <a:gd name="T10" fmla="*/ 0 w 19"/>
                <a:gd name="T11" fmla="*/ 226 h 226"/>
                <a:gd name="T12" fmla="*/ 7 w 19"/>
                <a:gd name="T13" fmla="*/ 226 h 226"/>
                <a:gd name="T14" fmla="*/ 7 w 19"/>
                <a:gd name="T15" fmla="*/ 186 h 226"/>
                <a:gd name="T16" fmla="*/ 13 w 19"/>
                <a:gd name="T17" fmla="*/ 180 h 226"/>
                <a:gd name="T18" fmla="*/ 19 w 19"/>
                <a:gd name="T19" fmla="*/ 180 h 226"/>
                <a:gd name="T20" fmla="*/ 19 w 19"/>
                <a:gd name="T21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226">
                  <a:moveTo>
                    <a:pt x="19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180"/>
                    <a:pt x="12" y="180"/>
                    <a:pt x="12" y="180"/>
                  </a:cubicBezTo>
                  <a:cubicBezTo>
                    <a:pt x="5" y="180"/>
                    <a:pt x="5" y="180"/>
                    <a:pt x="5" y="180"/>
                  </a:cubicBezTo>
                  <a:cubicBezTo>
                    <a:pt x="2" y="180"/>
                    <a:pt x="0" y="182"/>
                    <a:pt x="0" y="186"/>
                  </a:cubicBezTo>
                  <a:cubicBezTo>
                    <a:pt x="0" y="226"/>
                    <a:pt x="0" y="226"/>
                    <a:pt x="0" y="226"/>
                  </a:cubicBezTo>
                  <a:cubicBezTo>
                    <a:pt x="7" y="226"/>
                    <a:pt x="7" y="226"/>
                    <a:pt x="7" y="226"/>
                  </a:cubicBezTo>
                  <a:cubicBezTo>
                    <a:pt x="7" y="186"/>
                    <a:pt x="7" y="186"/>
                    <a:pt x="7" y="186"/>
                  </a:cubicBezTo>
                  <a:cubicBezTo>
                    <a:pt x="7" y="182"/>
                    <a:pt x="10" y="180"/>
                    <a:pt x="13" y="180"/>
                  </a:cubicBezTo>
                  <a:cubicBezTo>
                    <a:pt x="19" y="180"/>
                    <a:pt x="19" y="180"/>
                    <a:pt x="19" y="180"/>
                  </a:cubicBezTo>
                  <a:cubicBezTo>
                    <a:pt x="19" y="0"/>
                    <a:pt x="19" y="0"/>
                    <a:pt x="19" y="0"/>
                  </a:cubicBezTo>
                </a:path>
              </a:pathLst>
            </a:custGeom>
            <a:solidFill>
              <a:srgbClr val="FFC7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61"/>
            <p:cNvSpPr>
              <a:spLocks/>
            </p:cNvSpPr>
            <p:nvPr/>
          </p:nvSpPr>
          <p:spPr bwMode="gray">
            <a:xfrm>
              <a:off x="10068225" y="4172270"/>
              <a:ext cx="242888" cy="239712"/>
            </a:xfrm>
            <a:custGeom>
              <a:avLst/>
              <a:gdLst>
                <a:gd name="T0" fmla="*/ 153 w 153"/>
                <a:gd name="T1" fmla="*/ 98 h 151"/>
                <a:gd name="T2" fmla="*/ 100 w 153"/>
                <a:gd name="T3" fmla="*/ 151 h 151"/>
                <a:gd name="T4" fmla="*/ 0 w 153"/>
                <a:gd name="T5" fmla="*/ 52 h 151"/>
                <a:gd name="T6" fmla="*/ 53 w 153"/>
                <a:gd name="T7" fmla="*/ 0 h 151"/>
                <a:gd name="T8" fmla="*/ 153 w 153"/>
                <a:gd name="T9" fmla="*/ 98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151">
                  <a:moveTo>
                    <a:pt x="153" y="98"/>
                  </a:moveTo>
                  <a:lnTo>
                    <a:pt x="100" y="151"/>
                  </a:lnTo>
                  <a:lnTo>
                    <a:pt x="0" y="52"/>
                  </a:lnTo>
                  <a:lnTo>
                    <a:pt x="53" y="0"/>
                  </a:lnTo>
                  <a:lnTo>
                    <a:pt x="153" y="98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62"/>
            <p:cNvSpPr>
              <a:spLocks/>
            </p:cNvSpPr>
            <p:nvPr/>
          </p:nvSpPr>
          <p:spPr bwMode="gray">
            <a:xfrm>
              <a:off x="9560225" y="3665858"/>
              <a:ext cx="579438" cy="576262"/>
            </a:xfrm>
            <a:custGeom>
              <a:avLst/>
              <a:gdLst>
                <a:gd name="T0" fmla="*/ 415 w 419"/>
                <a:gd name="T1" fmla="*/ 379 h 419"/>
                <a:gd name="T2" fmla="*/ 415 w 419"/>
                <a:gd name="T3" fmla="*/ 392 h 419"/>
                <a:gd name="T4" fmla="*/ 392 w 419"/>
                <a:gd name="T5" fmla="*/ 415 h 419"/>
                <a:gd name="T6" fmla="*/ 380 w 419"/>
                <a:gd name="T7" fmla="*/ 415 h 419"/>
                <a:gd name="T8" fmla="*/ 3 w 419"/>
                <a:gd name="T9" fmla="*/ 39 h 419"/>
                <a:gd name="T10" fmla="*/ 3 w 419"/>
                <a:gd name="T11" fmla="*/ 27 h 419"/>
                <a:gd name="T12" fmla="*/ 27 w 419"/>
                <a:gd name="T13" fmla="*/ 3 h 419"/>
                <a:gd name="T14" fmla="*/ 39 w 419"/>
                <a:gd name="T15" fmla="*/ 3 h 419"/>
                <a:gd name="T16" fmla="*/ 415 w 419"/>
                <a:gd name="T17" fmla="*/ 37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9" h="419">
                  <a:moveTo>
                    <a:pt x="415" y="379"/>
                  </a:moveTo>
                  <a:cubicBezTo>
                    <a:pt x="419" y="383"/>
                    <a:pt x="419" y="388"/>
                    <a:pt x="415" y="392"/>
                  </a:cubicBezTo>
                  <a:cubicBezTo>
                    <a:pt x="392" y="415"/>
                    <a:pt x="392" y="415"/>
                    <a:pt x="392" y="415"/>
                  </a:cubicBezTo>
                  <a:cubicBezTo>
                    <a:pt x="388" y="419"/>
                    <a:pt x="383" y="419"/>
                    <a:pt x="380" y="415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0" y="35"/>
                    <a:pt x="0" y="30"/>
                    <a:pt x="3" y="27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30" y="0"/>
                    <a:pt x="36" y="0"/>
                    <a:pt x="39" y="3"/>
                  </a:cubicBezTo>
                  <a:lnTo>
                    <a:pt x="415" y="37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63"/>
            <p:cNvSpPr>
              <a:spLocks/>
            </p:cNvSpPr>
            <p:nvPr/>
          </p:nvSpPr>
          <p:spPr bwMode="gray">
            <a:xfrm>
              <a:off x="10185700" y="4288158"/>
              <a:ext cx="1066800" cy="1058862"/>
            </a:xfrm>
            <a:custGeom>
              <a:avLst/>
              <a:gdLst>
                <a:gd name="T0" fmla="*/ 672 w 672"/>
                <a:gd name="T1" fmla="*/ 594 h 667"/>
                <a:gd name="T2" fmla="*/ 597 w 672"/>
                <a:gd name="T3" fmla="*/ 667 h 667"/>
                <a:gd name="T4" fmla="*/ 0 w 672"/>
                <a:gd name="T5" fmla="*/ 74 h 667"/>
                <a:gd name="T6" fmla="*/ 74 w 672"/>
                <a:gd name="T7" fmla="*/ 0 h 667"/>
                <a:gd name="T8" fmla="*/ 672 w 672"/>
                <a:gd name="T9" fmla="*/ 594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2" h="667">
                  <a:moveTo>
                    <a:pt x="672" y="594"/>
                  </a:moveTo>
                  <a:lnTo>
                    <a:pt x="597" y="667"/>
                  </a:lnTo>
                  <a:lnTo>
                    <a:pt x="0" y="74"/>
                  </a:lnTo>
                  <a:lnTo>
                    <a:pt x="74" y="0"/>
                  </a:lnTo>
                  <a:lnTo>
                    <a:pt x="672" y="594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64"/>
            <p:cNvSpPr>
              <a:spLocks/>
            </p:cNvSpPr>
            <p:nvPr/>
          </p:nvSpPr>
          <p:spPr bwMode="gray">
            <a:xfrm>
              <a:off x="10055525" y="4159570"/>
              <a:ext cx="109538" cy="106362"/>
            </a:xfrm>
            <a:custGeom>
              <a:avLst/>
              <a:gdLst>
                <a:gd name="T0" fmla="*/ 9 w 79"/>
                <a:gd name="T1" fmla="*/ 77 h 77"/>
                <a:gd name="T2" fmla="*/ 4 w 79"/>
                <a:gd name="T3" fmla="*/ 75 h 77"/>
                <a:gd name="T4" fmla="*/ 4 w 79"/>
                <a:gd name="T5" fmla="*/ 64 h 77"/>
                <a:gd name="T6" fmla="*/ 64 w 79"/>
                <a:gd name="T7" fmla="*/ 3 h 77"/>
                <a:gd name="T8" fmla="*/ 75 w 79"/>
                <a:gd name="T9" fmla="*/ 3 h 77"/>
                <a:gd name="T10" fmla="*/ 75 w 79"/>
                <a:gd name="T11" fmla="*/ 15 h 77"/>
                <a:gd name="T12" fmla="*/ 15 w 79"/>
                <a:gd name="T13" fmla="*/ 75 h 77"/>
                <a:gd name="T14" fmla="*/ 9 w 79"/>
                <a:gd name="T1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9" h="77">
                  <a:moveTo>
                    <a:pt x="9" y="77"/>
                  </a:moveTo>
                  <a:cubicBezTo>
                    <a:pt x="7" y="77"/>
                    <a:pt x="5" y="77"/>
                    <a:pt x="4" y="75"/>
                  </a:cubicBezTo>
                  <a:cubicBezTo>
                    <a:pt x="0" y="72"/>
                    <a:pt x="0" y="67"/>
                    <a:pt x="4" y="64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7" y="0"/>
                    <a:pt x="72" y="0"/>
                    <a:pt x="75" y="3"/>
                  </a:cubicBezTo>
                  <a:cubicBezTo>
                    <a:pt x="79" y="6"/>
                    <a:pt x="79" y="12"/>
                    <a:pt x="75" y="15"/>
                  </a:cubicBezTo>
                  <a:cubicBezTo>
                    <a:pt x="15" y="75"/>
                    <a:pt x="15" y="75"/>
                    <a:pt x="15" y="75"/>
                  </a:cubicBezTo>
                  <a:cubicBezTo>
                    <a:pt x="13" y="77"/>
                    <a:pt x="11" y="77"/>
                    <a:pt x="9" y="77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65"/>
            <p:cNvSpPr>
              <a:spLocks/>
            </p:cNvSpPr>
            <p:nvPr/>
          </p:nvSpPr>
          <p:spPr bwMode="gray">
            <a:xfrm>
              <a:off x="9787237" y="3891283"/>
              <a:ext cx="79375" cy="77787"/>
            </a:xfrm>
            <a:custGeom>
              <a:avLst/>
              <a:gdLst>
                <a:gd name="T0" fmla="*/ 9 w 58"/>
                <a:gd name="T1" fmla="*/ 57 h 57"/>
                <a:gd name="T2" fmla="*/ 3 w 58"/>
                <a:gd name="T3" fmla="*/ 55 h 57"/>
                <a:gd name="T4" fmla="*/ 3 w 58"/>
                <a:gd name="T5" fmla="*/ 44 h 57"/>
                <a:gd name="T6" fmla="*/ 44 w 58"/>
                <a:gd name="T7" fmla="*/ 3 h 57"/>
                <a:gd name="T8" fmla="*/ 55 w 58"/>
                <a:gd name="T9" fmla="*/ 3 h 57"/>
                <a:gd name="T10" fmla="*/ 55 w 58"/>
                <a:gd name="T11" fmla="*/ 14 h 57"/>
                <a:gd name="T12" fmla="*/ 15 w 58"/>
                <a:gd name="T13" fmla="*/ 55 h 57"/>
                <a:gd name="T14" fmla="*/ 9 w 58"/>
                <a:gd name="T15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57">
                  <a:moveTo>
                    <a:pt x="9" y="57"/>
                  </a:moveTo>
                  <a:cubicBezTo>
                    <a:pt x="7" y="57"/>
                    <a:pt x="5" y="56"/>
                    <a:pt x="3" y="55"/>
                  </a:cubicBezTo>
                  <a:cubicBezTo>
                    <a:pt x="0" y="52"/>
                    <a:pt x="0" y="47"/>
                    <a:pt x="3" y="44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7" y="0"/>
                    <a:pt x="52" y="0"/>
                    <a:pt x="55" y="3"/>
                  </a:cubicBezTo>
                  <a:cubicBezTo>
                    <a:pt x="58" y="6"/>
                    <a:pt x="58" y="11"/>
                    <a:pt x="55" y="14"/>
                  </a:cubicBezTo>
                  <a:cubicBezTo>
                    <a:pt x="15" y="55"/>
                    <a:pt x="15" y="55"/>
                    <a:pt x="15" y="55"/>
                  </a:cubicBezTo>
                  <a:cubicBezTo>
                    <a:pt x="13" y="56"/>
                    <a:pt x="11" y="57"/>
                    <a:pt x="9" y="57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66"/>
            <p:cNvSpPr>
              <a:spLocks/>
            </p:cNvSpPr>
            <p:nvPr/>
          </p:nvSpPr>
          <p:spPr bwMode="gray">
            <a:xfrm>
              <a:off x="10168237" y="4270695"/>
              <a:ext cx="153988" cy="150812"/>
            </a:xfrm>
            <a:custGeom>
              <a:avLst/>
              <a:gdLst>
                <a:gd name="T0" fmla="*/ 9 w 111"/>
                <a:gd name="T1" fmla="*/ 110 h 110"/>
                <a:gd name="T2" fmla="*/ 3 w 111"/>
                <a:gd name="T3" fmla="*/ 108 h 110"/>
                <a:gd name="T4" fmla="*/ 3 w 111"/>
                <a:gd name="T5" fmla="*/ 96 h 110"/>
                <a:gd name="T6" fmla="*/ 96 w 111"/>
                <a:gd name="T7" fmla="*/ 3 h 110"/>
                <a:gd name="T8" fmla="*/ 108 w 111"/>
                <a:gd name="T9" fmla="*/ 3 h 110"/>
                <a:gd name="T10" fmla="*/ 108 w 111"/>
                <a:gd name="T11" fmla="*/ 15 h 110"/>
                <a:gd name="T12" fmla="*/ 15 w 111"/>
                <a:gd name="T13" fmla="*/ 108 h 110"/>
                <a:gd name="T14" fmla="*/ 9 w 111"/>
                <a:gd name="T15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1" h="110">
                  <a:moveTo>
                    <a:pt x="9" y="110"/>
                  </a:moveTo>
                  <a:cubicBezTo>
                    <a:pt x="7" y="110"/>
                    <a:pt x="5" y="109"/>
                    <a:pt x="3" y="108"/>
                  </a:cubicBezTo>
                  <a:cubicBezTo>
                    <a:pt x="0" y="104"/>
                    <a:pt x="0" y="99"/>
                    <a:pt x="3" y="96"/>
                  </a:cubicBezTo>
                  <a:cubicBezTo>
                    <a:pt x="96" y="3"/>
                    <a:pt x="96" y="3"/>
                    <a:pt x="96" y="3"/>
                  </a:cubicBezTo>
                  <a:cubicBezTo>
                    <a:pt x="100" y="0"/>
                    <a:pt x="105" y="0"/>
                    <a:pt x="108" y="3"/>
                  </a:cubicBezTo>
                  <a:cubicBezTo>
                    <a:pt x="111" y="6"/>
                    <a:pt x="111" y="11"/>
                    <a:pt x="108" y="15"/>
                  </a:cubicBezTo>
                  <a:cubicBezTo>
                    <a:pt x="15" y="108"/>
                    <a:pt x="15" y="108"/>
                    <a:pt x="15" y="108"/>
                  </a:cubicBezTo>
                  <a:cubicBezTo>
                    <a:pt x="13" y="109"/>
                    <a:pt x="11" y="110"/>
                    <a:pt x="9" y="110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67"/>
            <p:cNvSpPr>
              <a:spLocks/>
            </p:cNvSpPr>
            <p:nvPr/>
          </p:nvSpPr>
          <p:spPr bwMode="gray">
            <a:xfrm>
              <a:off x="10269837" y="4296095"/>
              <a:ext cx="982663" cy="944562"/>
            </a:xfrm>
            <a:custGeom>
              <a:avLst/>
              <a:gdLst>
                <a:gd name="T0" fmla="*/ 619 w 619"/>
                <a:gd name="T1" fmla="*/ 589 h 595"/>
                <a:gd name="T2" fmla="*/ 613 w 619"/>
                <a:gd name="T3" fmla="*/ 595 h 595"/>
                <a:gd name="T4" fmla="*/ 0 w 619"/>
                <a:gd name="T5" fmla="*/ 26 h 595"/>
                <a:gd name="T6" fmla="*/ 27 w 619"/>
                <a:gd name="T7" fmla="*/ 0 h 595"/>
                <a:gd name="T8" fmla="*/ 619 w 619"/>
                <a:gd name="T9" fmla="*/ 589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9" h="595">
                  <a:moveTo>
                    <a:pt x="619" y="589"/>
                  </a:moveTo>
                  <a:lnTo>
                    <a:pt x="613" y="595"/>
                  </a:lnTo>
                  <a:lnTo>
                    <a:pt x="0" y="26"/>
                  </a:lnTo>
                  <a:lnTo>
                    <a:pt x="27" y="0"/>
                  </a:lnTo>
                  <a:lnTo>
                    <a:pt x="619" y="589"/>
                  </a:ln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8"/>
            <p:cNvSpPr>
              <a:spLocks/>
            </p:cNvSpPr>
            <p:nvPr/>
          </p:nvSpPr>
          <p:spPr bwMode="gray">
            <a:xfrm>
              <a:off x="10193637" y="4370708"/>
              <a:ext cx="949325" cy="976312"/>
            </a:xfrm>
            <a:custGeom>
              <a:avLst/>
              <a:gdLst>
                <a:gd name="T0" fmla="*/ 592 w 598"/>
                <a:gd name="T1" fmla="*/ 615 h 615"/>
                <a:gd name="T2" fmla="*/ 598 w 598"/>
                <a:gd name="T3" fmla="*/ 610 h 615"/>
                <a:gd name="T4" fmla="*/ 27 w 598"/>
                <a:gd name="T5" fmla="*/ 0 h 615"/>
                <a:gd name="T6" fmla="*/ 0 w 598"/>
                <a:gd name="T7" fmla="*/ 27 h 615"/>
                <a:gd name="T8" fmla="*/ 592 w 598"/>
                <a:gd name="T9" fmla="*/ 615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8" h="615">
                  <a:moveTo>
                    <a:pt x="592" y="615"/>
                  </a:moveTo>
                  <a:lnTo>
                    <a:pt x="598" y="610"/>
                  </a:lnTo>
                  <a:lnTo>
                    <a:pt x="27" y="0"/>
                  </a:lnTo>
                  <a:lnTo>
                    <a:pt x="0" y="27"/>
                  </a:lnTo>
                  <a:lnTo>
                    <a:pt x="592" y="615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9"/>
            <p:cNvSpPr>
              <a:spLocks/>
            </p:cNvSpPr>
            <p:nvPr/>
          </p:nvSpPr>
          <p:spPr bwMode="gray">
            <a:xfrm>
              <a:off x="10615912" y="5231133"/>
              <a:ext cx="665163" cy="93662"/>
            </a:xfrm>
            <a:custGeom>
              <a:avLst/>
              <a:gdLst>
                <a:gd name="T0" fmla="*/ 481 w 481"/>
                <a:gd name="T1" fmla="*/ 14 h 69"/>
                <a:gd name="T2" fmla="*/ 467 w 481"/>
                <a:gd name="T3" fmla="*/ 0 h 69"/>
                <a:gd name="T4" fmla="*/ 15 w 481"/>
                <a:gd name="T5" fmla="*/ 0 h 69"/>
                <a:gd name="T6" fmla="*/ 0 w 481"/>
                <a:gd name="T7" fmla="*/ 14 h 69"/>
                <a:gd name="T8" fmla="*/ 0 w 481"/>
                <a:gd name="T9" fmla="*/ 55 h 69"/>
                <a:gd name="T10" fmla="*/ 15 w 481"/>
                <a:gd name="T11" fmla="*/ 69 h 69"/>
                <a:gd name="T12" fmla="*/ 467 w 481"/>
                <a:gd name="T13" fmla="*/ 69 h 69"/>
                <a:gd name="T14" fmla="*/ 481 w 481"/>
                <a:gd name="T15" fmla="*/ 55 h 69"/>
                <a:gd name="T16" fmla="*/ 481 w 481"/>
                <a:gd name="T17" fmla="*/ 1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1" h="69">
                  <a:moveTo>
                    <a:pt x="481" y="14"/>
                  </a:moveTo>
                  <a:cubicBezTo>
                    <a:pt x="481" y="6"/>
                    <a:pt x="475" y="0"/>
                    <a:pt x="467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6"/>
                    <a:pt x="0" y="14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63"/>
                    <a:pt x="7" y="69"/>
                    <a:pt x="15" y="69"/>
                  </a:cubicBezTo>
                  <a:cubicBezTo>
                    <a:pt x="467" y="69"/>
                    <a:pt x="467" y="69"/>
                    <a:pt x="467" y="69"/>
                  </a:cubicBezTo>
                  <a:cubicBezTo>
                    <a:pt x="475" y="69"/>
                    <a:pt x="481" y="63"/>
                    <a:pt x="481" y="55"/>
                  </a:cubicBezTo>
                  <a:lnTo>
                    <a:pt x="481" y="1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Oval 70"/>
            <p:cNvSpPr>
              <a:spLocks noChangeArrowheads="1"/>
            </p:cNvSpPr>
            <p:nvPr/>
          </p:nvSpPr>
          <p:spPr bwMode="gray">
            <a:xfrm>
              <a:off x="1031270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Oval 71"/>
            <p:cNvSpPr>
              <a:spLocks noChangeArrowheads="1"/>
            </p:cNvSpPr>
            <p:nvPr/>
          </p:nvSpPr>
          <p:spPr bwMode="gray">
            <a:xfrm>
              <a:off x="10695287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72"/>
            <p:cNvSpPr>
              <a:spLocks noChangeArrowheads="1"/>
            </p:cNvSpPr>
            <p:nvPr/>
          </p:nvSpPr>
          <p:spPr bwMode="gray">
            <a:xfrm>
              <a:off x="1098580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Freeform 73"/>
            <p:cNvSpPr>
              <a:spLocks/>
            </p:cNvSpPr>
            <p:nvPr/>
          </p:nvSpPr>
          <p:spPr bwMode="gray">
            <a:xfrm>
              <a:off x="10176175" y="5042220"/>
              <a:ext cx="341313" cy="404812"/>
            </a:xfrm>
            <a:custGeom>
              <a:avLst/>
              <a:gdLst>
                <a:gd name="T0" fmla="*/ 247 w 247"/>
                <a:gd name="T1" fmla="*/ 0 h 295"/>
                <a:gd name="T2" fmla="*/ 66 w 247"/>
                <a:gd name="T3" fmla="*/ 0 h 295"/>
                <a:gd name="T4" fmla="*/ 16 w 247"/>
                <a:gd name="T5" fmla="*/ 295 h 295"/>
                <a:gd name="T6" fmla="*/ 197 w 247"/>
                <a:gd name="T7" fmla="*/ 295 h 295"/>
                <a:gd name="T8" fmla="*/ 247 w 247"/>
                <a:gd name="T9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7" h="295">
                  <a:moveTo>
                    <a:pt x="247" y="0"/>
                  </a:moveTo>
                  <a:cubicBezTo>
                    <a:pt x="193" y="0"/>
                    <a:pt x="97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197" y="295"/>
                    <a:pt x="197" y="295"/>
                    <a:pt x="197" y="295"/>
                  </a:cubicBezTo>
                  <a:cubicBezTo>
                    <a:pt x="197" y="295"/>
                    <a:pt x="181" y="76"/>
                    <a:pt x="247" y="0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Freeform 74"/>
            <p:cNvSpPr>
              <a:spLocks/>
            </p:cNvSpPr>
            <p:nvPr/>
          </p:nvSpPr>
          <p:spPr bwMode="gray">
            <a:xfrm>
              <a:off x="10727037" y="5324795"/>
              <a:ext cx="3175" cy="1587"/>
            </a:xfrm>
            <a:custGeom>
              <a:avLst/>
              <a:gdLst>
                <a:gd name="T0" fmla="*/ 0 w 2"/>
                <a:gd name="T1" fmla="*/ 1 h 1"/>
                <a:gd name="T2" fmla="*/ 2 w 2"/>
                <a:gd name="T3" fmla="*/ 0 h 1"/>
                <a:gd name="T4" fmla="*/ 0 w 2"/>
                <a:gd name="T5" fmla="*/ 0 h 1"/>
                <a:gd name="T6" fmla="*/ 0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1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Freeform 75"/>
            <p:cNvSpPr>
              <a:spLocks/>
            </p:cNvSpPr>
            <p:nvPr/>
          </p:nvSpPr>
          <p:spPr bwMode="gray">
            <a:xfrm>
              <a:off x="10512725" y="5324795"/>
              <a:ext cx="3175" cy="1587"/>
            </a:xfrm>
            <a:custGeom>
              <a:avLst/>
              <a:gdLst>
                <a:gd name="T0" fmla="*/ 0 w 3"/>
                <a:gd name="T1" fmla="*/ 1 h 1"/>
                <a:gd name="T2" fmla="*/ 3 w 3"/>
                <a:gd name="T3" fmla="*/ 0 h 1"/>
                <a:gd name="T4" fmla="*/ 0 w 3"/>
                <a:gd name="T5" fmla="*/ 0 h 1"/>
                <a:gd name="T6" fmla="*/ 0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cubicBezTo>
                    <a:pt x="1" y="0"/>
                    <a:pt x="2" y="0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Freeform 76"/>
            <p:cNvSpPr>
              <a:spLocks/>
            </p:cNvSpPr>
            <p:nvPr/>
          </p:nvSpPr>
          <p:spPr bwMode="gray">
            <a:xfrm>
              <a:off x="10176175" y="5042220"/>
              <a:ext cx="127000" cy="404812"/>
            </a:xfrm>
            <a:custGeom>
              <a:avLst/>
              <a:gdLst>
                <a:gd name="T0" fmla="*/ 92 w 92"/>
                <a:gd name="T1" fmla="*/ 0 h 295"/>
                <a:gd name="T2" fmla="*/ 66 w 92"/>
                <a:gd name="T3" fmla="*/ 0 h 295"/>
                <a:gd name="T4" fmla="*/ 16 w 92"/>
                <a:gd name="T5" fmla="*/ 295 h 295"/>
                <a:gd name="T6" fmla="*/ 42 w 92"/>
                <a:gd name="T7" fmla="*/ 295 h 295"/>
                <a:gd name="T8" fmla="*/ 92 w 92"/>
                <a:gd name="T9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295">
                  <a:moveTo>
                    <a:pt x="92" y="0"/>
                  </a:moveTo>
                  <a:cubicBezTo>
                    <a:pt x="82" y="0"/>
                    <a:pt x="73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42" y="295"/>
                    <a:pt x="42" y="295"/>
                    <a:pt x="42" y="295"/>
                  </a:cubicBezTo>
                  <a:cubicBezTo>
                    <a:pt x="42" y="295"/>
                    <a:pt x="26" y="76"/>
                    <a:pt x="92" y="0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Rectangle 77"/>
            <p:cNvSpPr>
              <a:spLocks noChangeArrowheads="1"/>
            </p:cNvSpPr>
            <p:nvPr/>
          </p:nvSpPr>
          <p:spPr bwMode="gray">
            <a:xfrm>
              <a:off x="9574512" y="3729358"/>
              <a:ext cx="22225" cy="693737"/>
            </a:xfrm>
            <a:prstGeom prst="rect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Freeform 78"/>
            <p:cNvSpPr>
              <a:spLocks/>
            </p:cNvSpPr>
            <p:nvPr/>
          </p:nvSpPr>
          <p:spPr bwMode="gray">
            <a:xfrm>
              <a:off x="10393662" y="5042220"/>
              <a:ext cx="906463" cy="404812"/>
            </a:xfrm>
            <a:custGeom>
              <a:avLst/>
              <a:gdLst>
                <a:gd name="T0" fmla="*/ 642 w 656"/>
                <a:gd name="T1" fmla="*/ 206 h 295"/>
                <a:gd name="T2" fmla="*/ 219 w 656"/>
                <a:gd name="T3" fmla="*/ 206 h 295"/>
                <a:gd name="T4" fmla="*/ 217 w 656"/>
                <a:gd name="T5" fmla="*/ 207 h 295"/>
                <a:gd name="T6" fmla="*/ 217 w 656"/>
                <a:gd name="T7" fmla="*/ 0 h 295"/>
                <a:gd name="T8" fmla="*/ 66 w 656"/>
                <a:gd name="T9" fmla="*/ 0 h 295"/>
                <a:gd name="T10" fmla="*/ 16 w 656"/>
                <a:gd name="T11" fmla="*/ 295 h 295"/>
                <a:gd name="T12" fmla="*/ 642 w 656"/>
                <a:gd name="T13" fmla="*/ 295 h 295"/>
                <a:gd name="T14" fmla="*/ 656 w 656"/>
                <a:gd name="T15" fmla="*/ 281 h 295"/>
                <a:gd name="T16" fmla="*/ 656 w 656"/>
                <a:gd name="T17" fmla="*/ 221 h 295"/>
                <a:gd name="T18" fmla="*/ 642 w 656"/>
                <a:gd name="T19" fmla="*/ 206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6" h="295">
                  <a:moveTo>
                    <a:pt x="642" y="206"/>
                  </a:moveTo>
                  <a:cubicBezTo>
                    <a:pt x="219" y="206"/>
                    <a:pt x="219" y="206"/>
                    <a:pt x="219" y="206"/>
                  </a:cubicBezTo>
                  <a:cubicBezTo>
                    <a:pt x="219" y="206"/>
                    <a:pt x="218" y="206"/>
                    <a:pt x="217" y="207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17" y="0"/>
                    <a:pt x="119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642" y="295"/>
                    <a:pt x="642" y="295"/>
                    <a:pt x="642" y="295"/>
                  </a:cubicBezTo>
                  <a:cubicBezTo>
                    <a:pt x="650" y="295"/>
                    <a:pt x="656" y="289"/>
                    <a:pt x="656" y="281"/>
                  </a:cubicBezTo>
                  <a:cubicBezTo>
                    <a:pt x="656" y="221"/>
                    <a:pt x="656" y="221"/>
                    <a:pt x="656" y="221"/>
                  </a:cubicBezTo>
                  <a:cubicBezTo>
                    <a:pt x="656" y="213"/>
                    <a:pt x="650" y="206"/>
                    <a:pt x="642" y="206"/>
                  </a:cubicBez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Freeform 79"/>
            <p:cNvSpPr>
              <a:spLocks/>
            </p:cNvSpPr>
            <p:nvPr/>
          </p:nvSpPr>
          <p:spPr bwMode="gray">
            <a:xfrm>
              <a:off x="10393662" y="5042220"/>
              <a:ext cx="300038" cy="404812"/>
            </a:xfrm>
            <a:custGeom>
              <a:avLst/>
              <a:gdLst>
                <a:gd name="T0" fmla="*/ 81 w 217"/>
                <a:gd name="T1" fmla="*/ 15 h 295"/>
                <a:gd name="T2" fmla="*/ 217 w 217"/>
                <a:gd name="T3" fmla="*/ 15 h 295"/>
                <a:gd name="T4" fmla="*/ 217 w 217"/>
                <a:gd name="T5" fmla="*/ 0 h 295"/>
                <a:gd name="T6" fmla="*/ 66 w 217"/>
                <a:gd name="T7" fmla="*/ 0 h 295"/>
                <a:gd name="T8" fmla="*/ 16 w 217"/>
                <a:gd name="T9" fmla="*/ 295 h 295"/>
                <a:gd name="T10" fmla="*/ 30 w 217"/>
                <a:gd name="T11" fmla="*/ 295 h 295"/>
                <a:gd name="T12" fmla="*/ 81 w 217"/>
                <a:gd name="T13" fmla="*/ 15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7" h="295">
                  <a:moveTo>
                    <a:pt x="81" y="15"/>
                  </a:moveTo>
                  <a:cubicBezTo>
                    <a:pt x="122" y="15"/>
                    <a:pt x="188" y="15"/>
                    <a:pt x="217" y="15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17" y="0"/>
                    <a:pt x="119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30" y="295"/>
                    <a:pt x="30" y="295"/>
                    <a:pt x="30" y="295"/>
                  </a:cubicBezTo>
                  <a:cubicBezTo>
                    <a:pt x="28" y="244"/>
                    <a:pt x="25" y="79"/>
                    <a:pt x="81" y="15"/>
                  </a:cubicBezTo>
                  <a:close/>
                </a:path>
              </a:pathLst>
            </a:custGeom>
            <a:solidFill>
              <a:srgbClr val="FFCB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Freeform 80"/>
            <p:cNvSpPr>
              <a:spLocks/>
            </p:cNvSpPr>
            <p:nvPr/>
          </p:nvSpPr>
          <p:spPr bwMode="gray">
            <a:xfrm>
              <a:off x="10414300" y="542798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Freeform 81"/>
            <p:cNvSpPr>
              <a:spLocks/>
            </p:cNvSpPr>
            <p:nvPr/>
          </p:nvSpPr>
          <p:spPr bwMode="gray">
            <a:xfrm>
              <a:off x="10414300" y="5432745"/>
              <a:ext cx="0" cy="1587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Freeform 82"/>
            <p:cNvSpPr>
              <a:spLocks/>
            </p:cNvSpPr>
            <p:nvPr/>
          </p:nvSpPr>
          <p:spPr bwMode="gray">
            <a:xfrm>
              <a:off x="10414300" y="544068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Freeform 83"/>
            <p:cNvSpPr>
              <a:spLocks/>
            </p:cNvSpPr>
            <p:nvPr/>
          </p:nvSpPr>
          <p:spPr bwMode="gray">
            <a:xfrm>
              <a:off x="10433350" y="5324795"/>
              <a:ext cx="866775" cy="122237"/>
            </a:xfrm>
            <a:custGeom>
              <a:avLst/>
              <a:gdLst>
                <a:gd name="T0" fmla="*/ 613 w 627"/>
                <a:gd name="T1" fmla="*/ 0 h 89"/>
                <a:gd name="T2" fmla="*/ 613 w 627"/>
                <a:gd name="T3" fmla="*/ 56 h 89"/>
                <a:gd name="T4" fmla="*/ 599 w 627"/>
                <a:gd name="T5" fmla="*/ 71 h 89"/>
                <a:gd name="T6" fmla="*/ 0 w 627"/>
                <a:gd name="T7" fmla="*/ 71 h 89"/>
                <a:gd name="T8" fmla="*/ 1 w 627"/>
                <a:gd name="T9" fmla="*/ 89 h 89"/>
                <a:gd name="T10" fmla="*/ 613 w 627"/>
                <a:gd name="T11" fmla="*/ 89 h 89"/>
                <a:gd name="T12" fmla="*/ 627 w 627"/>
                <a:gd name="T13" fmla="*/ 75 h 89"/>
                <a:gd name="T14" fmla="*/ 627 w 627"/>
                <a:gd name="T15" fmla="*/ 15 h 89"/>
                <a:gd name="T16" fmla="*/ 613 w 627"/>
                <a:gd name="T17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7" h="89">
                  <a:moveTo>
                    <a:pt x="613" y="0"/>
                  </a:moveTo>
                  <a:cubicBezTo>
                    <a:pt x="613" y="56"/>
                    <a:pt x="613" y="56"/>
                    <a:pt x="613" y="56"/>
                  </a:cubicBezTo>
                  <a:cubicBezTo>
                    <a:pt x="613" y="64"/>
                    <a:pt x="607" y="71"/>
                    <a:pt x="599" y="71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78"/>
                    <a:pt x="1" y="84"/>
                    <a:pt x="1" y="89"/>
                  </a:cubicBezTo>
                  <a:cubicBezTo>
                    <a:pt x="613" y="89"/>
                    <a:pt x="613" y="89"/>
                    <a:pt x="613" y="89"/>
                  </a:cubicBezTo>
                  <a:cubicBezTo>
                    <a:pt x="621" y="89"/>
                    <a:pt x="627" y="83"/>
                    <a:pt x="627" y="75"/>
                  </a:cubicBezTo>
                  <a:cubicBezTo>
                    <a:pt x="627" y="15"/>
                    <a:pt x="627" y="15"/>
                    <a:pt x="627" y="15"/>
                  </a:cubicBezTo>
                  <a:cubicBezTo>
                    <a:pt x="627" y="7"/>
                    <a:pt x="621" y="1"/>
                    <a:pt x="613" y="0"/>
                  </a:cubicBezTo>
                  <a:close/>
                </a:path>
              </a:pathLst>
            </a:custGeom>
            <a:solidFill>
              <a:srgbClr val="DB9D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Freeform 84"/>
            <p:cNvSpPr>
              <a:spLocks/>
            </p:cNvSpPr>
            <p:nvPr/>
          </p:nvSpPr>
          <p:spPr bwMode="gray">
            <a:xfrm>
              <a:off x="10452400" y="5086670"/>
              <a:ext cx="203200" cy="238125"/>
            </a:xfrm>
            <a:custGeom>
              <a:avLst/>
              <a:gdLst>
                <a:gd name="T0" fmla="*/ 146 w 146"/>
                <a:gd name="T1" fmla="*/ 174 h 174"/>
                <a:gd name="T2" fmla="*/ 146 w 146"/>
                <a:gd name="T3" fmla="*/ 0 h 174"/>
                <a:gd name="T4" fmla="*/ 40 w 146"/>
                <a:gd name="T5" fmla="*/ 0 h 174"/>
                <a:gd name="T6" fmla="*/ 0 w 146"/>
                <a:gd name="T7" fmla="*/ 174 h 174"/>
                <a:gd name="T8" fmla="*/ 146 w 146"/>
                <a:gd name="T9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6" h="174">
                  <a:moveTo>
                    <a:pt x="146" y="174"/>
                  </a:moveTo>
                  <a:cubicBezTo>
                    <a:pt x="146" y="0"/>
                    <a:pt x="146" y="0"/>
                    <a:pt x="146" y="0"/>
                  </a:cubicBezTo>
                  <a:cubicBezTo>
                    <a:pt x="146" y="0"/>
                    <a:pt x="82" y="0"/>
                    <a:pt x="40" y="0"/>
                  </a:cubicBezTo>
                  <a:cubicBezTo>
                    <a:pt x="8" y="38"/>
                    <a:pt x="0" y="119"/>
                    <a:pt x="0" y="174"/>
                  </a:cubicBezTo>
                  <a:lnTo>
                    <a:pt x="146" y="17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Freeform 85"/>
            <p:cNvSpPr>
              <a:spLocks/>
            </p:cNvSpPr>
            <p:nvPr/>
          </p:nvSpPr>
          <p:spPr bwMode="gray">
            <a:xfrm>
              <a:off x="10452400" y="5086670"/>
              <a:ext cx="203200" cy="238125"/>
            </a:xfrm>
            <a:custGeom>
              <a:avLst/>
              <a:gdLst>
                <a:gd name="T0" fmla="*/ 146 w 146"/>
                <a:gd name="T1" fmla="*/ 174 h 174"/>
                <a:gd name="T2" fmla="*/ 40 w 146"/>
                <a:gd name="T3" fmla="*/ 0 h 174"/>
                <a:gd name="T4" fmla="*/ 0 w 146"/>
                <a:gd name="T5" fmla="*/ 174 h 174"/>
                <a:gd name="T6" fmla="*/ 146 w 146"/>
                <a:gd name="T7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6" h="174">
                  <a:moveTo>
                    <a:pt x="146" y="174"/>
                  </a:moveTo>
                  <a:cubicBezTo>
                    <a:pt x="146" y="174"/>
                    <a:pt x="84" y="73"/>
                    <a:pt x="40" y="0"/>
                  </a:cubicBezTo>
                  <a:cubicBezTo>
                    <a:pt x="8" y="38"/>
                    <a:pt x="0" y="119"/>
                    <a:pt x="0" y="174"/>
                  </a:cubicBezTo>
                  <a:lnTo>
                    <a:pt x="146" y="174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Oval 86"/>
            <p:cNvSpPr>
              <a:spLocks noChangeArrowheads="1"/>
            </p:cNvSpPr>
            <p:nvPr/>
          </p:nvSpPr>
          <p:spPr bwMode="gray">
            <a:xfrm>
              <a:off x="10458750" y="5353370"/>
              <a:ext cx="188913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Oval 87"/>
            <p:cNvSpPr>
              <a:spLocks noChangeArrowheads="1"/>
            </p:cNvSpPr>
            <p:nvPr/>
          </p:nvSpPr>
          <p:spPr bwMode="gray">
            <a:xfrm>
              <a:off x="10503200" y="5396233"/>
              <a:ext cx="100013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Oval 88"/>
            <p:cNvSpPr>
              <a:spLocks noChangeArrowheads="1"/>
            </p:cNvSpPr>
            <p:nvPr/>
          </p:nvSpPr>
          <p:spPr bwMode="gray">
            <a:xfrm>
              <a:off x="11041362" y="5353370"/>
              <a:ext cx="192088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Oval 89"/>
            <p:cNvSpPr>
              <a:spLocks noChangeArrowheads="1"/>
            </p:cNvSpPr>
            <p:nvPr/>
          </p:nvSpPr>
          <p:spPr bwMode="gray">
            <a:xfrm>
              <a:off x="1083975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Freeform 90"/>
            <p:cNvSpPr>
              <a:spLocks/>
            </p:cNvSpPr>
            <p:nvPr/>
          </p:nvSpPr>
          <p:spPr bwMode="gray">
            <a:xfrm>
              <a:off x="10503200" y="5412108"/>
              <a:ext cx="85725" cy="87312"/>
            </a:xfrm>
            <a:custGeom>
              <a:avLst/>
              <a:gdLst>
                <a:gd name="T0" fmla="*/ 37 w 62"/>
                <a:gd name="T1" fmla="*/ 63 h 63"/>
                <a:gd name="T2" fmla="*/ 62 w 62"/>
                <a:gd name="T3" fmla="*/ 52 h 63"/>
                <a:gd name="T4" fmla="*/ 10 w 62"/>
                <a:gd name="T5" fmla="*/ 0 h 63"/>
                <a:gd name="T6" fmla="*/ 0 w 62"/>
                <a:gd name="T7" fmla="*/ 26 h 63"/>
                <a:gd name="T8" fmla="*/ 37 w 62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63">
                  <a:moveTo>
                    <a:pt x="37" y="63"/>
                  </a:moveTo>
                  <a:cubicBezTo>
                    <a:pt x="47" y="63"/>
                    <a:pt x="56" y="59"/>
                    <a:pt x="62" y="5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6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Freeform 91"/>
            <p:cNvSpPr>
              <a:spLocks/>
            </p:cNvSpPr>
            <p:nvPr/>
          </p:nvSpPr>
          <p:spPr bwMode="gray">
            <a:xfrm>
              <a:off x="10241262" y="5359720"/>
              <a:ext cx="120650" cy="15875"/>
            </a:xfrm>
            <a:custGeom>
              <a:avLst/>
              <a:gdLst>
                <a:gd name="T0" fmla="*/ 81 w 87"/>
                <a:gd name="T1" fmla="*/ 12 h 12"/>
                <a:gd name="T2" fmla="*/ 6 w 87"/>
                <a:gd name="T3" fmla="*/ 12 h 12"/>
                <a:gd name="T4" fmla="*/ 0 w 87"/>
                <a:gd name="T5" fmla="*/ 6 h 12"/>
                <a:gd name="T6" fmla="*/ 6 w 87"/>
                <a:gd name="T7" fmla="*/ 0 h 12"/>
                <a:gd name="T8" fmla="*/ 81 w 87"/>
                <a:gd name="T9" fmla="*/ 0 h 12"/>
                <a:gd name="T10" fmla="*/ 87 w 87"/>
                <a:gd name="T11" fmla="*/ 6 h 12"/>
                <a:gd name="T12" fmla="*/ 81 w 8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2">
                  <a:moveTo>
                    <a:pt x="8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4" y="0"/>
                    <a:pt x="87" y="3"/>
                    <a:pt x="87" y="6"/>
                  </a:cubicBezTo>
                  <a:cubicBezTo>
                    <a:pt x="87" y="9"/>
                    <a:pt x="84" y="12"/>
                    <a:pt x="81" y="12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Freeform 92"/>
            <p:cNvSpPr>
              <a:spLocks/>
            </p:cNvSpPr>
            <p:nvPr/>
          </p:nvSpPr>
          <p:spPr bwMode="gray">
            <a:xfrm>
              <a:off x="10241262" y="5396233"/>
              <a:ext cx="120650" cy="17462"/>
            </a:xfrm>
            <a:custGeom>
              <a:avLst/>
              <a:gdLst>
                <a:gd name="T0" fmla="*/ 81 w 87"/>
                <a:gd name="T1" fmla="*/ 12 h 12"/>
                <a:gd name="T2" fmla="*/ 6 w 87"/>
                <a:gd name="T3" fmla="*/ 12 h 12"/>
                <a:gd name="T4" fmla="*/ 0 w 87"/>
                <a:gd name="T5" fmla="*/ 6 h 12"/>
                <a:gd name="T6" fmla="*/ 6 w 87"/>
                <a:gd name="T7" fmla="*/ 0 h 12"/>
                <a:gd name="T8" fmla="*/ 81 w 87"/>
                <a:gd name="T9" fmla="*/ 0 h 12"/>
                <a:gd name="T10" fmla="*/ 87 w 87"/>
                <a:gd name="T11" fmla="*/ 6 h 12"/>
                <a:gd name="T12" fmla="*/ 81 w 8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2">
                  <a:moveTo>
                    <a:pt x="8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4" y="0"/>
                    <a:pt x="87" y="3"/>
                    <a:pt x="87" y="6"/>
                  </a:cubicBezTo>
                  <a:cubicBezTo>
                    <a:pt x="87" y="10"/>
                    <a:pt x="84" y="12"/>
                    <a:pt x="81" y="12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8" name="Freeform 93"/>
            <p:cNvSpPr>
              <a:spLocks/>
            </p:cNvSpPr>
            <p:nvPr/>
          </p:nvSpPr>
          <p:spPr bwMode="gray">
            <a:xfrm>
              <a:off x="10209512" y="5086670"/>
              <a:ext cx="227013" cy="239712"/>
            </a:xfrm>
            <a:custGeom>
              <a:avLst/>
              <a:gdLst>
                <a:gd name="T0" fmla="*/ 31 w 164"/>
                <a:gd name="T1" fmla="*/ 0 h 175"/>
                <a:gd name="T2" fmla="*/ 0 w 164"/>
                <a:gd name="T3" fmla="*/ 175 h 175"/>
                <a:gd name="T4" fmla="*/ 133 w 164"/>
                <a:gd name="T5" fmla="*/ 175 h 175"/>
                <a:gd name="T6" fmla="*/ 164 w 164"/>
                <a:gd name="T7" fmla="*/ 0 h 175"/>
                <a:gd name="T8" fmla="*/ 31 w 164"/>
                <a:gd name="T9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4" h="175">
                  <a:moveTo>
                    <a:pt x="31" y="0"/>
                  </a:moveTo>
                  <a:cubicBezTo>
                    <a:pt x="9" y="49"/>
                    <a:pt x="1" y="119"/>
                    <a:pt x="0" y="175"/>
                  </a:cubicBezTo>
                  <a:cubicBezTo>
                    <a:pt x="133" y="175"/>
                    <a:pt x="133" y="175"/>
                    <a:pt x="133" y="175"/>
                  </a:cubicBezTo>
                  <a:cubicBezTo>
                    <a:pt x="134" y="119"/>
                    <a:pt x="142" y="49"/>
                    <a:pt x="164" y="0"/>
                  </a:cubicBezTo>
                  <a:lnTo>
                    <a:pt x="31" y="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Freeform 94"/>
            <p:cNvSpPr>
              <a:spLocks/>
            </p:cNvSpPr>
            <p:nvPr/>
          </p:nvSpPr>
          <p:spPr bwMode="gray">
            <a:xfrm>
              <a:off x="10209512" y="5086670"/>
              <a:ext cx="185738" cy="239712"/>
            </a:xfrm>
            <a:custGeom>
              <a:avLst/>
              <a:gdLst>
                <a:gd name="T0" fmla="*/ 31 w 134"/>
                <a:gd name="T1" fmla="*/ 0 h 175"/>
                <a:gd name="T2" fmla="*/ 0 w 134"/>
                <a:gd name="T3" fmla="*/ 175 h 175"/>
                <a:gd name="T4" fmla="*/ 133 w 134"/>
                <a:gd name="T5" fmla="*/ 175 h 175"/>
                <a:gd name="T6" fmla="*/ 31 w 134"/>
                <a:gd name="T7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4" h="175">
                  <a:moveTo>
                    <a:pt x="31" y="0"/>
                  </a:moveTo>
                  <a:cubicBezTo>
                    <a:pt x="9" y="49"/>
                    <a:pt x="1" y="119"/>
                    <a:pt x="0" y="175"/>
                  </a:cubicBezTo>
                  <a:cubicBezTo>
                    <a:pt x="133" y="175"/>
                    <a:pt x="133" y="175"/>
                    <a:pt x="133" y="175"/>
                  </a:cubicBezTo>
                  <a:cubicBezTo>
                    <a:pt x="134" y="119"/>
                    <a:pt x="31" y="0"/>
                    <a:pt x="31" y="0"/>
                  </a:cubicBez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Freeform 95"/>
            <p:cNvSpPr>
              <a:spLocks noEditPoints="1"/>
            </p:cNvSpPr>
            <p:nvPr/>
          </p:nvSpPr>
          <p:spPr bwMode="gray">
            <a:xfrm>
              <a:off x="9257012" y="4496120"/>
              <a:ext cx="280988" cy="279400"/>
            </a:xfrm>
            <a:custGeom>
              <a:avLst/>
              <a:gdLst>
                <a:gd name="T0" fmla="*/ 203 w 203"/>
                <a:gd name="T1" fmla="*/ 93 h 203"/>
                <a:gd name="T2" fmla="*/ 187 w 203"/>
                <a:gd name="T3" fmla="*/ 77 h 203"/>
                <a:gd name="T4" fmla="*/ 192 w 203"/>
                <a:gd name="T5" fmla="*/ 54 h 203"/>
                <a:gd name="T6" fmla="*/ 170 w 203"/>
                <a:gd name="T7" fmla="*/ 46 h 203"/>
                <a:gd name="T8" fmla="*/ 167 w 203"/>
                <a:gd name="T9" fmla="*/ 23 h 203"/>
                <a:gd name="T10" fmla="*/ 144 w 203"/>
                <a:gd name="T11" fmla="*/ 25 h 203"/>
                <a:gd name="T12" fmla="*/ 132 w 203"/>
                <a:gd name="T13" fmla="*/ 4 h 203"/>
                <a:gd name="T14" fmla="*/ 111 w 203"/>
                <a:gd name="T15" fmla="*/ 15 h 203"/>
                <a:gd name="T16" fmla="*/ 92 w 203"/>
                <a:gd name="T17" fmla="*/ 0 h 203"/>
                <a:gd name="T18" fmla="*/ 77 w 203"/>
                <a:gd name="T19" fmla="*/ 18 h 203"/>
                <a:gd name="T20" fmla="*/ 54 w 203"/>
                <a:gd name="T21" fmla="*/ 11 h 203"/>
                <a:gd name="T22" fmla="*/ 47 w 203"/>
                <a:gd name="T23" fmla="*/ 33 h 203"/>
                <a:gd name="T24" fmla="*/ 23 w 203"/>
                <a:gd name="T25" fmla="*/ 36 h 203"/>
                <a:gd name="T26" fmla="*/ 24 w 203"/>
                <a:gd name="T27" fmla="*/ 59 h 203"/>
                <a:gd name="T28" fmla="*/ 4 w 203"/>
                <a:gd name="T29" fmla="*/ 71 h 203"/>
                <a:gd name="T30" fmla="*/ 14 w 203"/>
                <a:gd name="T31" fmla="*/ 93 h 203"/>
                <a:gd name="T32" fmla="*/ 0 w 203"/>
                <a:gd name="T33" fmla="*/ 112 h 203"/>
                <a:gd name="T34" fmla="*/ 16 w 203"/>
                <a:gd name="T35" fmla="*/ 127 h 203"/>
                <a:gd name="T36" fmla="*/ 11 w 203"/>
                <a:gd name="T37" fmla="*/ 149 h 203"/>
                <a:gd name="T38" fmla="*/ 32 w 203"/>
                <a:gd name="T39" fmla="*/ 158 h 203"/>
                <a:gd name="T40" fmla="*/ 36 w 203"/>
                <a:gd name="T41" fmla="*/ 180 h 203"/>
                <a:gd name="T42" fmla="*/ 59 w 203"/>
                <a:gd name="T43" fmla="*/ 180 h 203"/>
                <a:gd name="T44" fmla="*/ 71 w 203"/>
                <a:gd name="T45" fmla="*/ 199 h 203"/>
                <a:gd name="T46" fmla="*/ 92 w 203"/>
                <a:gd name="T47" fmla="*/ 191 h 203"/>
                <a:gd name="T48" fmla="*/ 111 w 203"/>
                <a:gd name="T49" fmla="*/ 203 h 203"/>
                <a:gd name="T50" fmla="*/ 127 w 203"/>
                <a:gd name="T51" fmla="*/ 188 h 203"/>
                <a:gd name="T52" fmla="*/ 149 w 203"/>
                <a:gd name="T53" fmla="*/ 192 h 203"/>
                <a:gd name="T54" fmla="*/ 158 w 203"/>
                <a:gd name="T55" fmla="*/ 171 h 203"/>
                <a:gd name="T56" fmla="*/ 180 w 203"/>
                <a:gd name="T57" fmla="*/ 167 h 203"/>
                <a:gd name="T58" fmla="*/ 180 w 203"/>
                <a:gd name="T59" fmla="*/ 144 h 203"/>
                <a:gd name="T60" fmla="*/ 199 w 203"/>
                <a:gd name="T61" fmla="*/ 132 h 203"/>
                <a:gd name="T62" fmla="*/ 190 w 203"/>
                <a:gd name="T63" fmla="*/ 112 h 203"/>
                <a:gd name="T64" fmla="*/ 57 w 203"/>
                <a:gd name="T65" fmla="*/ 58 h 203"/>
                <a:gd name="T66" fmla="*/ 93 w 203"/>
                <a:gd name="T67" fmla="*/ 73 h 203"/>
                <a:gd name="T68" fmla="*/ 39 w 203"/>
                <a:gd name="T69" fmla="*/ 95 h 203"/>
                <a:gd name="T70" fmla="*/ 93 w 203"/>
                <a:gd name="T71" fmla="*/ 166 h 203"/>
                <a:gd name="T72" fmla="*/ 39 w 203"/>
                <a:gd name="T73" fmla="*/ 111 h 203"/>
                <a:gd name="T74" fmla="*/ 93 w 203"/>
                <a:gd name="T75" fmla="*/ 133 h 203"/>
                <a:gd name="T76" fmla="*/ 89 w 203"/>
                <a:gd name="T77" fmla="*/ 102 h 203"/>
                <a:gd name="T78" fmla="*/ 114 w 203"/>
                <a:gd name="T79" fmla="*/ 102 h 203"/>
                <a:gd name="T80" fmla="*/ 89 w 203"/>
                <a:gd name="T81" fmla="*/ 102 h 203"/>
                <a:gd name="T82" fmla="*/ 110 w 203"/>
                <a:gd name="T83" fmla="*/ 166 h 203"/>
                <a:gd name="T84" fmla="*/ 124 w 203"/>
                <a:gd name="T85" fmla="*/ 125 h 203"/>
                <a:gd name="T86" fmla="*/ 165 w 203"/>
                <a:gd name="T87" fmla="*/ 111 h 203"/>
                <a:gd name="T88" fmla="*/ 132 w 203"/>
                <a:gd name="T89" fmla="*/ 95 h 203"/>
                <a:gd name="T90" fmla="*/ 110 w 203"/>
                <a:gd name="T91" fmla="*/ 40 h 203"/>
                <a:gd name="T92" fmla="*/ 165 w 203"/>
                <a:gd name="T93" fmla="*/ 9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3" h="203">
                  <a:moveTo>
                    <a:pt x="203" y="112"/>
                  </a:moveTo>
                  <a:cubicBezTo>
                    <a:pt x="203" y="93"/>
                    <a:pt x="203" y="93"/>
                    <a:pt x="203" y="93"/>
                  </a:cubicBezTo>
                  <a:cubicBezTo>
                    <a:pt x="190" y="93"/>
                    <a:pt x="190" y="93"/>
                    <a:pt x="190" y="93"/>
                  </a:cubicBezTo>
                  <a:cubicBezTo>
                    <a:pt x="189" y="88"/>
                    <a:pt x="188" y="82"/>
                    <a:pt x="187" y="77"/>
                  </a:cubicBezTo>
                  <a:cubicBezTo>
                    <a:pt x="199" y="72"/>
                    <a:pt x="199" y="72"/>
                    <a:pt x="199" y="72"/>
                  </a:cubicBezTo>
                  <a:cubicBezTo>
                    <a:pt x="192" y="54"/>
                    <a:pt x="192" y="54"/>
                    <a:pt x="192" y="54"/>
                  </a:cubicBezTo>
                  <a:cubicBezTo>
                    <a:pt x="179" y="60"/>
                    <a:pt x="179" y="60"/>
                    <a:pt x="179" y="60"/>
                  </a:cubicBezTo>
                  <a:cubicBezTo>
                    <a:pt x="177" y="55"/>
                    <a:pt x="174" y="51"/>
                    <a:pt x="170" y="46"/>
                  </a:cubicBezTo>
                  <a:cubicBezTo>
                    <a:pt x="180" y="36"/>
                    <a:pt x="180" y="36"/>
                    <a:pt x="180" y="36"/>
                  </a:cubicBezTo>
                  <a:cubicBezTo>
                    <a:pt x="167" y="23"/>
                    <a:pt x="167" y="23"/>
                    <a:pt x="167" y="23"/>
                  </a:cubicBezTo>
                  <a:cubicBezTo>
                    <a:pt x="157" y="33"/>
                    <a:pt x="157" y="33"/>
                    <a:pt x="157" y="33"/>
                  </a:cubicBezTo>
                  <a:cubicBezTo>
                    <a:pt x="153" y="30"/>
                    <a:pt x="148" y="27"/>
                    <a:pt x="144" y="25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32" y="4"/>
                    <a:pt x="132" y="4"/>
                    <a:pt x="132" y="4"/>
                  </a:cubicBezTo>
                  <a:cubicBezTo>
                    <a:pt x="127" y="18"/>
                    <a:pt x="127" y="18"/>
                    <a:pt x="127" y="18"/>
                  </a:cubicBezTo>
                  <a:cubicBezTo>
                    <a:pt x="122" y="16"/>
                    <a:pt x="116" y="15"/>
                    <a:pt x="111" y="15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5"/>
                    <a:pt x="92" y="15"/>
                    <a:pt x="92" y="15"/>
                  </a:cubicBezTo>
                  <a:cubicBezTo>
                    <a:pt x="87" y="15"/>
                    <a:pt x="82" y="16"/>
                    <a:pt x="77" y="18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55" y="27"/>
                    <a:pt x="51" y="30"/>
                    <a:pt x="47" y="33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0" y="51"/>
                    <a:pt x="27" y="55"/>
                    <a:pt x="24" y="59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4" y="71"/>
                    <a:pt x="4" y="71"/>
                    <a:pt x="4" y="71"/>
                  </a:cubicBezTo>
                  <a:cubicBezTo>
                    <a:pt x="17" y="77"/>
                    <a:pt x="17" y="77"/>
                    <a:pt x="17" y="77"/>
                  </a:cubicBezTo>
                  <a:cubicBezTo>
                    <a:pt x="15" y="82"/>
                    <a:pt x="14" y="88"/>
                    <a:pt x="14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14" y="112"/>
                    <a:pt x="14" y="112"/>
                    <a:pt x="14" y="112"/>
                  </a:cubicBezTo>
                  <a:cubicBezTo>
                    <a:pt x="14" y="117"/>
                    <a:pt x="15" y="122"/>
                    <a:pt x="16" y="127"/>
                  </a:cubicBezTo>
                  <a:cubicBezTo>
                    <a:pt x="4" y="132"/>
                    <a:pt x="4" y="132"/>
                    <a:pt x="4" y="132"/>
                  </a:cubicBezTo>
                  <a:cubicBezTo>
                    <a:pt x="11" y="149"/>
                    <a:pt x="11" y="149"/>
                    <a:pt x="11" y="149"/>
                  </a:cubicBezTo>
                  <a:cubicBezTo>
                    <a:pt x="23" y="144"/>
                    <a:pt x="23" y="144"/>
                    <a:pt x="23" y="144"/>
                  </a:cubicBezTo>
                  <a:cubicBezTo>
                    <a:pt x="26" y="149"/>
                    <a:pt x="29" y="154"/>
                    <a:pt x="32" y="158"/>
                  </a:cubicBezTo>
                  <a:cubicBezTo>
                    <a:pt x="23" y="167"/>
                    <a:pt x="23" y="167"/>
                    <a:pt x="23" y="167"/>
                  </a:cubicBezTo>
                  <a:cubicBezTo>
                    <a:pt x="36" y="180"/>
                    <a:pt x="36" y="180"/>
                    <a:pt x="36" y="180"/>
                  </a:cubicBezTo>
                  <a:cubicBezTo>
                    <a:pt x="45" y="171"/>
                    <a:pt x="45" y="171"/>
                    <a:pt x="45" y="171"/>
                  </a:cubicBezTo>
                  <a:cubicBezTo>
                    <a:pt x="50" y="175"/>
                    <a:pt x="54" y="178"/>
                    <a:pt x="59" y="180"/>
                  </a:cubicBezTo>
                  <a:cubicBezTo>
                    <a:pt x="54" y="192"/>
                    <a:pt x="54" y="192"/>
                    <a:pt x="54" y="192"/>
                  </a:cubicBezTo>
                  <a:cubicBezTo>
                    <a:pt x="71" y="199"/>
                    <a:pt x="71" y="199"/>
                    <a:pt x="71" y="199"/>
                  </a:cubicBezTo>
                  <a:cubicBezTo>
                    <a:pt x="76" y="188"/>
                    <a:pt x="76" y="188"/>
                    <a:pt x="76" y="188"/>
                  </a:cubicBezTo>
                  <a:cubicBezTo>
                    <a:pt x="81" y="189"/>
                    <a:pt x="87" y="190"/>
                    <a:pt x="92" y="191"/>
                  </a:cubicBezTo>
                  <a:cubicBezTo>
                    <a:pt x="92" y="203"/>
                    <a:pt x="92" y="203"/>
                    <a:pt x="92" y="203"/>
                  </a:cubicBezTo>
                  <a:cubicBezTo>
                    <a:pt x="111" y="203"/>
                    <a:pt x="111" y="203"/>
                    <a:pt x="111" y="203"/>
                  </a:cubicBezTo>
                  <a:cubicBezTo>
                    <a:pt x="111" y="191"/>
                    <a:pt x="111" y="191"/>
                    <a:pt x="111" y="191"/>
                  </a:cubicBezTo>
                  <a:cubicBezTo>
                    <a:pt x="117" y="190"/>
                    <a:pt x="122" y="189"/>
                    <a:pt x="127" y="188"/>
                  </a:cubicBezTo>
                  <a:cubicBezTo>
                    <a:pt x="132" y="199"/>
                    <a:pt x="132" y="199"/>
                    <a:pt x="132" y="199"/>
                  </a:cubicBezTo>
                  <a:cubicBezTo>
                    <a:pt x="149" y="192"/>
                    <a:pt x="149" y="192"/>
                    <a:pt x="149" y="192"/>
                  </a:cubicBezTo>
                  <a:cubicBezTo>
                    <a:pt x="144" y="181"/>
                    <a:pt x="144" y="181"/>
                    <a:pt x="144" y="181"/>
                  </a:cubicBezTo>
                  <a:cubicBezTo>
                    <a:pt x="149" y="178"/>
                    <a:pt x="154" y="175"/>
                    <a:pt x="158" y="171"/>
                  </a:cubicBezTo>
                  <a:cubicBezTo>
                    <a:pt x="167" y="180"/>
                    <a:pt x="167" y="180"/>
                    <a:pt x="167" y="180"/>
                  </a:cubicBezTo>
                  <a:cubicBezTo>
                    <a:pt x="180" y="167"/>
                    <a:pt x="180" y="167"/>
                    <a:pt x="180" y="167"/>
                  </a:cubicBezTo>
                  <a:cubicBezTo>
                    <a:pt x="171" y="158"/>
                    <a:pt x="171" y="158"/>
                    <a:pt x="171" y="158"/>
                  </a:cubicBezTo>
                  <a:cubicBezTo>
                    <a:pt x="175" y="154"/>
                    <a:pt x="178" y="149"/>
                    <a:pt x="180" y="144"/>
                  </a:cubicBezTo>
                  <a:cubicBezTo>
                    <a:pt x="192" y="149"/>
                    <a:pt x="192" y="149"/>
                    <a:pt x="192" y="149"/>
                  </a:cubicBezTo>
                  <a:cubicBezTo>
                    <a:pt x="199" y="132"/>
                    <a:pt x="199" y="132"/>
                    <a:pt x="199" y="132"/>
                  </a:cubicBezTo>
                  <a:cubicBezTo>
                    <a:pt x="187" y="127"/>
                    <a:pt x="187" y="127"/>
                    <a:pt x="187" y="127"/>
                  </a:cubicBezTo>
                  <a:cubicBezTo>
                    <a:pt x="188" y="122"/>
                    <a:pt x="189" y="117"/>
                    <a:pt x="190" y="112"/>
                  </a:cubicBezTo>
                  <a:lnTo>
                    <a:pt x="203" y="112"/>
                  </a:lnTo>
                  <a:close/>
                  <a:moveTo>
                    <a:pt x="57" y="58"/>
                  </a:moveTo>
                  <a:cubicBezTo>
                    <a:pt x="67" y="48"/>
                    <a:pt x="80" y="41"/>
                    <a:pt x="93" y="40"/>
                  </a:cubicBezTo>
                  <a:cubicBezTo>
                    <a:pt x="93" y="73"/>
                    <a:pt x="93" y="73"/>
                    <a:pt x="93" y="73"/>
                  </a:cubicBezTo>
                  <a:cubicBezTo>
                    <a:pt x="83" y="76"/>
                    <a:pt x="75" y="84"/>
                    <a:pt x="72" y="95"/>
                  </a:cubicBezTo>
                  <a:cubicBezTo>
                    <a:pt x="39" y="95"/>
                    <a:pt x="39" y="95"/>
                    <a:pt x="39" y="95"/>
                  </a:cubicBezTo>
                  <a:cubicBezTo>
                    <a:pt x="40" y="81"/>
                    <a:pt x="47" y="68"/>
                    <a:pt x="57" y="58"/>
                  </a:cubicBezTo>
                  <a:close/>
                  <a:moveTo>
                    <a:pt x="93" y="166"/>
                  </a:moveTo>
                  <a:cubicBezTo>
                    <a:pt x="80" y="164"/>
                    <a:pt x="67" y="158"/>
                    <a:pt x="57" y="148"/>
                  </a:cubicBezTo>
                  <a:cubicBezTo>
                    <a:pt x="47" y="138"/>
                    <a:pt x="40" y="125"/>
                    <a:pt x="39" y="111"/>
                  </a:cubicBezTo>
                  <a:cubicBezTo>
                    <a:pt x="72" y="111"/>
                    <a:pt x="72" y="111"/>
                    <a:pt x="72" y="111"/>
                  </a:cubicBezTo>
                  <a:cubicBezTo>
                    <a:pt x="75" y="122"/>
                    <a:pt x="83" y="130"/>
                    <a:pt x="93" y="133"/>
                  </a:cubicBezTo>
                  <a:lnTo>
                    <a:pt x="93" y="166"/>
                  </a:lnTo>
                  <a:close/>
                  <a:moveTo>
                    <a:pt x="89" y="102"/>
                  </a:moveTo>
                  <a:cubicBezTo>
                    <a:pt x="89" y="95"/>
                    <a:pt x="95" y="89"/>
                    <a:pt x="102" y="89"/>
                  </a:cubicBezTo>
                  <a:cubicBezTo>
                    <a:pt x="109" y="89"/>
                    <a:pt x="114" y="95"/>
                    <a:pt x="114" y="102"/>
                  </a:cubicBezTo>
                  <a:cubicBezTo>
                    <a:pt x="114" y="109"/>
                    <a:pt x="109" y="114"/>
                    <a:pt x="102" y="114"/>
                  </a:cubicBezTo>
                  <a:cubicBezTo>
                    <a:pt x="95" y="114"/>
                    <a:pt x="89" y="109"/>
                    <a:pt x="89" y="102"/>
                  </a:cubicBezTo>
                  <a:close/>
                  <a:moveTo>
                    <a:pt x="147" y="148"/>
                  </a:moveTo>
                  <a:cubicBezTo>
                    <a:pt x="137" y="158"/>
                    <a:pt x="124" y="164"/>
                    <a:pt x="110" y="166"/>
                  </a:cubicBezTo>
                  <a:cubicBezTo>
                    <a:pt x="110" y="133"/>
                    <a:pt x="110" y="133"/>
                    <a:pt x="110" y="133"/>
                  </a:cubicBezTo>
                  <a:cubicBezTo>
                    <a:pt x="115" y="131"/>
                    <a:pt x="120" y="129"/>
                    <a:pt x="124" y="125"/>
                  </a:cubicBezTo>
                  <a:cubicBezTo>
                    <a:pt x="128" y="121"/>
                    <a:pt x="130" y="116"/>
                    <a:pt x="132" y="111"/>
                  </a:cubicBezTo>
                  <a:cubicBezTo>
                    <a:pt x="165" y="111"/>
                    <a:pt x="165" y="111"/>
                    <a:pt x="165" y="111"/>
                  </a:cubicBezTo>
                  <a:cubicBezTo>
                    <a:pt x="163" y="125"/>
                    <a:pt x="157" y="138"/>
                    <a:pt x="147" y="148"/>
                  </a:cubicBezTo>
                  <a:close/>
                  <a:moveTo>
                    <a:pt x="132" y="95"/>
                  </a:moveTo>
                  <a:cubicBezTo>
                    <a:pt x="129" y="84"/>
                    <a:pt x="121" y="76"/>
                    <a:pt x="110" y="73"/>
                  </a:cubicBezTo>
                  <a:cubicBezTo>
                    <a:pt x="110" y="40"/>
                    <a:pt x="110" y="40"/>
                    <a:pt x="110" y="40"/>
                  </a:cubicBezTo>
                  <a:cubicBezTo>
                    <a:pt x="124" y="41"/>
                    <a:pt x="137" y="48"/>
                    <a:pt x="147" y="58"/>
                  </a:cubicBezTo>
                  <a:cubicBezTo>
                    <a:pt x="157" y="68"/>
                    <a:pt x="163" y="81"/>
                    <a:pt x="165" y="95"/>
                  </a:cubicBezTo>
                  <a:lnTo>
                    <a:pt x="132" y="95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Freeform 96"/>
            <p:cNvSpPr>
              <a:spLocks noEditPoints="1"/>
            </p:cNvSpPr>
            <p:nvPr/>
          </p:nvSpPr>
          <p:spPr bwMode="gray">
            <a:xfrm>
              <a:off x="9109375" y="4723133"/>
              <a:ext cx="254000" cy="254000"/>
            </a:xfrm>
            <a:custGeom>
              <a:avLst/>
              <a:gdLst>
                <a:gd name="T0" fmla="*/ 184 w 184"/>
                <a:gd name="T1" fmla="*/ 112 h 185"/>
                <a:gd name="T2" fmla="*/ 161 w 184"/>
                <a:gd name="T3" fmla="*/ 89 h 185"/>
                <a:gd name="T4" fmla="*/ 181 w 184"/>
                <a:gd name="T5" fmla="*/ 63 h 185"/>
                <a:gd name="T6" fmla="*/ 150 w 184"/>
                <a:gd name="T7" fmla="*/ 55 h 185"/>
                <a:gd name="T8" fmla="*/ 155 w 184"/>
                <a:gd name="T9" fmla="*/ 22 h 185"/>
                <a:gd name="T10" fmla="*/ 123 w 184"/>
                <a:gd name="T11" fmla="*/ 31 h 185"/>
                <a:gd name="T12" fmla="*/ 111 w 184"/>
                <a:gd name="T13" fmla="*/ 0 h 185"/>
                <a:gd name="T14" fmla="*/ 88 w 184"/>
                <a:gd name="T15" fmla="*/ 23 h 185"/>
                <a:gd name="T16" fmla="*/ 63 w 184"/>
                <a:gd name="T17" fmla="*/ 3 h 185"/>
                <a:gd name="T18" fmla="*/ 54 w 184"/>
                <a:gd name="T19" fmla="*/ 34 h 185"/>
                <a:gd name="T20" fmla="*/ 22 w 184"/>
                <a:gd name="T21" fmla="*/ 29 h 185"/>
                <a:gd name="T22" fmla="*/ 30 w 184"/>
                <a:gd name="T23" fmla="*/ 61 h 185"/>
                <a:gd name="T24" fmla="*/ 0 w 184"/>
                <a:gd name="T25" fmla="*/ 73 h 185"/>
                <a:gd name="T26" fmla="*/ 23 w 184"/>
                <a:gd name="T27" fmla="*/ 96 h 185"/>
                <a:gd name="T28" fmla="*/ 2 w 184"/>
                <a:gd name="T29" fmla="*/ 121 h 185"/>
                <a:gd name="T30" fmla="*/ 34 w 184"/>
                <a:gd name="T31" fmla="*/ 130 h 185"/>
                <a:gd name="T32" fmla="*/ 29 w 184"/>
                <a:gd name="T33" fmla="*/ 162 h 185"/>
                <a:gd name="T34" fmla="*/ 60 w 184"/>
                <a:gd name="T35" fmla="*/ 154 h 185"/>
                <a:gd name="T36" fmla="*/ 72 w 184"/>
                <a:gd name="T37" fmla="*/ 185 h 185"/>
                <a:gd name="T38" fmla="*/ 95 w 184"/>
                <a:gd name="T39" fmla="*/ 161 h 185"/>
                <a:gd name="T40" fmla="*/ 121 w 184"/>
                <a:gd name="T41" fmla="*/ 182 h 185"/>
                <a:gd name="T42" fmla="*/ 129 w 184"/>
                <a:gd name="T43" fmla="*/ 150 h 185"/>
                <a:gd name="T44" fmla="*/ 162 w 184"/>
                <a:gd name="T45" fmla="*/ 156 h 185"/>
                <a:gd name="T46" fmla="*/ 153 w 184"/>
                <a:gd name="T47" fmla="*/ 124 h 185"/>
                <a:gd name="T48" fmla="*/ 184 w 184"/>
                <a:gd name="T49" fmla="*/ 112 h 185"/>
                <a:gd name="T50" fmla="*/ 92 w 184"/>
                <a:gd name="T51" fmla="*/ 115 h 185"/>
                <a:gd name="T52" fmla="*/ 69 w 184"/>
                <a:gd name="T53" fmla="*/ 92 h 185"/>
                <a:gd name="T54" fmla="*/ 92 w 184"/>
                <a:gd name="T55" fmla="*/ 70 h 185"/>
                <a:gd name="T56" fmla="*/ 114 w 184"/>
                <a:gd name="T57" fmla="*/ 92 h 185"/>
                <a:gd name="T58" fmla="*/ 92 w 184"/>
                <a:gd name="T59" fmla="*/ 115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84" h="185">
                  <a:moveTo>
                    <a:pt x="184" y="112"/>
                  </a:moveTo>
                  <a:cubicBezTo>
                    <a:pt x="161" y="89"/>
                    <a:pt x="161" y="89"/>
                    <a:pt x="161" y="89"/>
                  </a:cubicBezTo>
                  <a:cubicBezTo>
                    <a:pt x="181" y="63"/>
                    <a:pt x="181" y="63"/>
                    <a:pt x="181" y="63"/>
                  </a:cubicBezTo>
                  <a:cubicBezTo>
                    <a:pt x="150" y="55"/>
                    <a:pt x="150" y="55"/>
                    <a:pt x="150" y="55"/>
                  </a:cubicBezTo>
                  <a:cubicBezTo>
                    <a:pt x="155" y="22"/>
                    <a:pt x="155" y="22"/>
                    <a:pt x="155" y="22"/>
                  </a:cubicBezTo>
                  <a:cubicBezTo>
                    <a:pt x="123" y="31"/>
                    <a:pt x="123" y="31"/>
                    <a:pt x="123" y="31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88" y="23"/>
                    <a:pt x="88" y="23"/>
                    <a:pt x="88" y="23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54" y="34"/>
                    <a:pt x="54" y="34"/>
                    <a:pt x="54" y="34"/>
                  </a:cubicBezTo>
                  <a:cubicBezTo>
                    <a:pt x="22" y="29"/>
                    <a:pt x="22" y="29"/>
                    <a:pt x="22" y="29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23" y="96"/>
                    <a:pt x="23" y="96"/>
                    <a:pt x="23" y="96"/>
                  </a:cubicBezTo>
                  <a:cubicBezTo>
                    <a:pt x="2" y="121"/>
                    <a:pt x="2" y="121"/>
                    <a:pt x="2" y="121"/>
                  </a:cubicBezTo>
                  <a:cubicBezTo>
                    <a:pt x="34" y="130"/>
                    <a:pt x="34" y="130"/>
                    <a:pt x="34" y="130"/>
                  </a:cubicBezTo>
                  <a:cubicBezTo>
                    <a:pt x="29" y="162"/>
                    <a:pt x="29" y="162"/>
                    <a:pt x="29" y="162"/>
                  </a:cubicBezTo>
                  <a:cubicBezTo>
                    <a:pt x="60" y="154"/>
                    <a:pt x="60" y="154"/>
                    <a:pt x="60" y="154"/>
                  </a:cubicBezTo>
                  <a:cubicBezTo>
                    <a:pt x="72" y="185"/>
                    <a:pt x="72" y="185"/>
                    <a:pt x="72" y="185"/>
                  </a:cubicBezTo>
                  <a:cubicBezTo>
                    <a:pt x="95" y="161"/>
                    <a:pt x="95" y="161"/>
                    <a:pt x="95" y="161"/>
                  </a:cubicBezTo>
                  <a:cubicBezTo>
                    <a:pt x="121" y="182"/>
                    <a:pt x="121" y="182"/>
                    <a:pt x="121" y="182"/>
                  </a:cubicBezTo>
                  <a:cubicBezTo>
                    <a:pt x="129" y="150"/>
                    <a:pt x="129" y="150"/>
                    <a:pt x="129" y="150"/>
                  </a:cubicBezTo>
                  <a:cubicBezTo>
                    <a:pt x="162" y="156"/>
                    <a:pt x="162" y="156"/>
                    <a:pt x="162" y="156"/>
                  </a:cubicBezTo>
                  <a:cubicBezTo>
                    <a:pt x="153" y="124"/>
                    <a:pt x="153" y="124"/>
                    <a:pt x="153" y="124"/>
                  </a:cubicBezTo>
                  <a:lnTo>
                    <a:pt x="184" y="112"/>
                  </a:lnTo>
                  <a:close/>
                  <a:moveTo>
                    <a:pt x="92" y="115"/>
                  </a:moveTo>
                  <a:cubicBezTo>
                    <a:pt x="79" y="115"/>
                    <a:pt x="69" y="105"/>
                    <a:pt x="69" y="92"/>
                  </a:cubicBezTo>
                  <a:cubicBezTo>
                    <a:pt x="69" y="80"/>
                    <a:pt x="79" y="70"/>
                    <a:pt x="92" y="70"/>
                  </a:cubicBezTo>
                  <a:cubicBezTo>
                    <a:pt x="104" y="70"/>
                    <a:pt x="114" y="80"/>
                    <a:pt x="114" y="92"/>
                  </a:cubicBezTo>
                  <a:cubicBezTo>
                    <a:pt x="114" y="105"/>
                    <a:pt x="104" y="115"/>
                    <a:pt x="92" y="115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2" name="Freeform 97"/>
            <p:cNvSpPr>
              <a:spLocks noEditPoints="1"/>
            </p:cNvSpPr>
            <p:nvPr/>
          </p:nvSpPr>
          <p:spPr bwMode="gray">
            <a:xfrm>
              <a:off x="9464975" y="4650108"/>
              <a:ext cx="358775" cy="355600"/>
            </a:xfrm>
            <a:custGeom>
              <a:avLst/>
              <a:gdLst>
                <a:gd name="T0" fmla="*/ 247 w 259"/>
                <a:gd name="T1" fmla="*/ 139 h 259"/>
                <a:gd name="T2" fmla="*/ 228 w 259"/>
                <a:gd name="T3" fmla="*/ 133 h 259"/>
                <a:gd name="T4" fmla="*/ 224 w 259"/>
                <a:gd name="T5" fmla="*/ 103 h 259"/>
                <a:gd name="T6" fmla="*/ 241 w 259"/>
                <a:gd name="T7" fmla="*/ 94 h 259"/>
                <a:gd name="T8" fmla="*/ 247 w 259"/>
                <a:gd name="T9" fmla="*/ 73 h 259"/>
                <a:gd name="T10" fmla="*/ 239 w 259"/>
                <a:gd name="T11" fmla="*/ 59 h 259"/>
                <a:gd name="T12" fmla="*/ 219 w 259"/>
                <a:gd name="T13" fmla="*/ 53 h 259"/>
                <a:gd name="T14" fmla="*/ 202 w 259"/>
                <a:gd name="T15" fmla="*/ 63 h 259"/>
                <a:gd name="T16" fmla="*/ 178 w 259"/>
                <a:gd name="T17" fmla="*/ 44 h 259"/>
                <a:gd name="T18" fmla="*/ 183 w 259"/>
                <a:gd name="T19" fmla="*/ 25 h 259"/>
                <a:gd name="T20" fmla="*/ 173 w 259"/>
                <a:gd name="T21" fmla="*/ 7 h 259"/>
                <a:gd name="T22" fmla="*/ 157 w 259"/>
                <a:gd name="T23" fmla="*/ 2 h 259"/>
                <a:gd name="T24" fmla="*/ 138 w 259"/>
                <a:gd name="T25" fmla="*/ 12 h 259"/>
                <a:gd name="T26" fmla="*/ 133 w 259"/>
                <a:gd name="T27" fmla="*/ 31 h 259"/>
                <a:gd name="T28" fmla="*/ 103 w 259"/>
                <a:gd name="T29" fmla="*/ 35 h 259"/>
                <a:gd name="T30" fmla="*/ 93 w 259"/>
                <a:gd name="T31" fmla="*/ 18 h 259"/>
                <a:gd name="T32" fmla="*/ 73 w 259"/>
                <a:gd name="T33" fmla="*/ 12 h 259"/>
                <a:gd name="T34" fmla="*/ 59 w 259"/>
                <a:gd name="T35" fmla="*/ 20 h 259"/>
                <a:gd name="T36" fmla="*/ 53 w 259"/>
                <a:gd name="T37" fmla="*/ 40 h 259"/>
                <a:gd name="T38" fmla="*/ 63 w 259"/>
                <a:gd name="T39" fmla="*/ 58 h 259"/>
                <a:gd name="T40" fmla="*/ 44 w 259"/>
                <a:gd name="T41" fmla="*/ 81 h 259"/>
                <a:gd name="T42" fmla="*/ 25 w 259"/>
                <a:gd name="T43" fmla="*/ 76 h 259"/>
                <a:gd name="T44" fmla="*/ 7 w 259"/>
                <a:gd name="T45" fmla="*/ 86 h 259"/>
                <a:gd name="T46" fmla="*/ 2 w 259"/>
                <a:gd name="T47" fmla="*/ 103 h 259"/>
                <a:gd name="T48" fmla="*/ 12 w 259"/>
                <a:gd name="T49" fmla="*/ 121 h 259"/>
                <a:gd name="T50" fmla="*/ 31 w 259"/>
                <a:gd name="T51" fmla="*/ 126 h 259"/>
                <a:gd name="T52" fmla="*/ 35 w 259"/>
                <a:gd name="T53" fmla="*/ 156 h 259"/>
                <a:gd name="T54" fmla="*/ 18 w 259"/>
                <a:gd name="T55" fmla="*/ 166 h 259"/>
                <a:gd name="T56" fmla="*/ 12 w 259"/>
                <a:gd name="T57" fmla="*/ 186 h 259"/>
                <a:gd name="T58" fmla="*/ 20 w 259"/>
                <a:gd name="T59" fmla="*/ 201 h 259"/>
                <a:gd name="T60" fmla="*/ 40 w 259"/>
                <a:gd name="T61" fmla="*/ 206 h 259"/>
                <a:gd name="T62" fmla="*/ 58 w 259"/>
                <a:gd name="T63" fmla="*/ 197 h 259"/>
                <a:gd name="T64" fmla="*/ 81 w 259"/>
                <a:gd name="T65" fmla="*/ 215 h 259"/>
                <a:gd name="T66" fmla="*/ 76 w 259"/>
                <a:gd name="T67" fmla="*/ 234 h 259"/>
                <a:gd name="T68" fmla="*/ 86 w 259"/>
                <a:gd name="T69" fmla="*/ 253 h 259"/>
                <a:gd name="T70" fmla="*/ 102 w 259"/>
                <a:gd name="T71" fmla="*/ 257 h 259"/>
                <a:gd name="T72" fmla="*/ 121 w 259"/>
                <a:gd name="T73" fmla="*/ 247 h 259"/>
                <a:gd name="T74" fmla="*/ 126 w 259"/>
                <a:gd name="T75" fmla="*/ 228 h 259"/>
                <a:gd name="T76" fmla="*/ 156 w 259"/>
                <a:gd name="T77" fmla="*/ 224 h 259"/>
                <a:gd name="T78" fmla="*/ 166 w 259"/>
                <a:gd name="T79" fmla="*/ 242 h 259"/>
                <a:gd name="T80" fmla="*/ 186 w 259"/>
                <a:gd name="T81" fmla="*/ 247 h 259"/>
                <a:gd name="T82" fmla="*/ 200 w 259"/>
                <a:gd name="T83" fmla="*/ 239 h 259"/>
                <a:gd name="T84" fmla="*/ 206 w 259"/>
                <a:gd name="T85" fmla="*/ 219 h 259"/>
                <a:gd name="T86" fmla="*/ 197 w 259"/>
                <a:gd name="T87" fmla="*/ 202 h 259"/>
                <a:gd name="T88" fmla="*/ 215 w 259"/>
                <a:gd name="T89" fmla="*/ 178 h 259"/>
                <a:gd name="T90" fmla="*/ 234 w 259"/>
                <a:gd name="T91" fmla="*/ 183 h 259"/>
                <a:gd name="T92" fmla="*/ 252 w 259"/>
                <a:gd name="T93" fmla="*/ 173 h 259"/>
                <a:gd name="T94" fmla="*/ 257 w 259"/>
                <a:gd name="T95" fmla="*/ 157 h 259"/>
                <a:gd name="T96" fmla="*/ 247 w 259"/>
                <a:gd name="T97" fmla="*/ 139 h 259"/>
                <a:gd name="T98" fmla="*/ 116 w 259"/>
                <a:gd name="T99" fmla="*/ 178 h 259"/>
                <a:gd name="T100" fmla="*/ 82 w 259"/>
                <a:gd name="T101" fmla="*/ 116 h 259"/>
                <a:gd name="T102" fmla="*/ 143 w 259"/>
                <a:gd name="T103" fmla="*/ 82 h 259"/>
                <a:gd name="T104" fmla="*/ 177 w 259"/>
                <a:gd name="T105" fmla="*/ 143 h 259"/>
                <a:gd name="T106" fmla="*/ 116 w 259"/>
                <a:gd name="T107" fmla="*/ 178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59" h="259">
                  <a:moveTo>
                    <a:pt x="247" y="139"/>
                  </a:moveTo>
                  <a:cubicBezTo>
                    <a:pt x="228" y="133"/>
                    <a:pt x="228" y="133"/>
                    <a:pt x="228" y="133"/>
                  </a:cubicBezTo>
                  <a:cubicBezTo>
                    <a:pt x="228" y="123"/>
                    <a:pt x="227" y="113"/>
                    <a:pt x="224" y="103"/>
                  </a:cubicBezTo>
                  <a:cubicBezTo>
                    <a:pt x="241" y="94"/>
                    <a:pt x="241" y="94"/>
                    <a:pt x="241" y="94"/>
                  </a:cubicBezTo>
                  <a:cubicBezTo>
                    <a:pt x="249" y="90"/>
                    <a:pt x="251" y="81"/>
                    <a:pt x="247" y="73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5" y="52"/>
                    <a:pt x="226" y="49"/>
                    <a:pt x="219" y="53"/>
                  </a:cubicBezTo>
                  <a:cubicBezTo>
                    <a:pt x="202" y="63"/>
                    <a:pt x="202" y="63"/>
                    <a:pt x="202" y="63"/>
                  </a:cubicBezTo>
                  <a:cubicBezTo>
                    <a:pt x="195" y="55"/>
                    <a:pt x="187" y="49"/>
                    <a:pt x="178" y="44"/>
                  </a:cubicBezTo>
                  <a:cubicBezTo>
                    <a:pt x="183" y="25"/>
                    <a:pt x="183" y="25"/>
                    <a:pt x="183" y="25"/>
                  </a:cubicBezTo>
                  <a:cubicBezTo>
                    <a:pt x="185" y="17"/>
                    <a:pt x="181" y="9"/>
                    <a:pt x="173" y="7"/>
                  </a:cubicBezTo>
                  <a:cubicBezTo>
                    <a:pt x="157" y="2"/>
                    <a:pt x="157" y="2"/>
                    <a:pt x="157" y="2"/>
                  </a:cubicBezTo>
                  <a:cubicBezTo>
                    <a:pt x="149" y="0"/>
                    <a:pt x="141" y="5"/>
                    <a:pt x="138" y="12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23" y="31"/>
                    <a:pt x="113" y="32"/>
                    <a:pt x="103" y="35"/>
                  </a:cubicBezTo>
                  <a:cubicBezTo>
                    <a:pt x="93" y="18"/>
                    <a:pt x="93" y="18"/>
                    <a:pt x="93" y="18"/>
                  </a:cubicBezTo>
                  <a:cubicBezTo>
                    <a:pt x="90" y="11"/>
                    <a:pt x="80" y="8"/>
                    <a:pt x="73" y="12"/>
                  </a:cubicBezTo>
                  <a:cubicBezTo>
                    <a:pt x="59" y="20"/>
                    <a:pt x="59" y="20"/>
                    <a:pt x="59" y="20"/>
                  </a:cubicBezTo>
                  <a:cubicBezTo>
                    <a:pt x="51" y="24"/>
                    <a:pt x="49" y="33"/>
                    <a:pt x="53" y="40"/>
                  </a:cubicBezTo>
                  <a:cubicBezTo>
                    <a:pt x="63" y="58"/>
                    <a:pt x="63" y="58"/>
                    <a:pt x="63" y="58"/>
                  </a:cubicBezTo>
                  <a:cubicBezTo>
                    <a:pt x="55" y="64"/>
                    <a:pt x="49" y="72"/>
                    <a:pt x="44" y="81"/>
                  </a:cubicBezTo>
                  <a:cubicBezTo>
                    <a:pt x="25" y="76"/>
                    <a:pt x="25" y="76"/>
                    <a:pt x="25" y="76"/>
                  </a:cubicBezTo>
                  <a:cubicBezTo>
                    <a:pt x="17" y="74"/>
                    <a:pt x="9" y="78"/>
                    <a:pt x="7" y="86"/>
                  </a:cubicBezTo>
                  <a:cubicBezTo>
                    <a:pt x="2" y="103"/>
                    <a:pt x="2" y="103"/>
                    <a:pt x="2" y="103"/>
                  </a:cubicBezTo>
                  <a:cubicBezTo>
                    <a:pt x="0" y="110"/>
                    <a:pt x="4" y="119"/>
                    <a:pt x="12" y="121"/>
                  </a:cubicBezTo>
                  <a:cubicBezTo>
                    <a:pt x="31" y="126"/>
                    <a:pt x="31" y="126"/>
                    <a:pt x="31" y="126"/>
                  </a:cubicBezTo>
                  <a:cubicBezTo>
                    <a:pt x="31" y="136"/>
                    <a:pt x="32" y="146"/>
                    <a:pt x="35" y="156"/>
                  </a:cubicBezTo>
                  <a:cubicBezTo>
                    <a:pt x="18" y="166"/>
                    <a:pt x="18" y="166"/>
                    <a:pt x="18" y="166"/>
                  </a:cubicBezTo>
                  <a:cubicBezTo>
                    <a:pt x="11" y="170"/>
                    <a:pt x="8" y="179"/>
                    <a:pt x="12" y="186"/>
                  </a:cubicBezTo>
                  <a:cubicBezTo>
                    <a:pt x="20" y="201"/>
                    <a:pt x="20" y="201"/>
                    <a:pt x="20" y="201"/>
                  </a:cubicBezTo>
                  <a:cubicBezTo>
                    <a:pt x="24" y="208"/>
                    <a:pt x="33" y="210"/>
                    <a:pt x="40" y="206"/>
                  </a:cubicBezTo>
                  <a:cubicBezTo>
                    <a:pt x="58" y="197"/>
                    <a:pt x="58" y="197"/>
                    <a:pt x="58" y="197"/>
                  </a:cubicBezTo>
                  <a:cubicBezTo>
                    <a:pt x="64" y="204"/>
                    <a:pt x="72" y="210"/>
                    <a:pt x="81" y="215"/>
                  </a:cubicBezTo>
                  <a:cubicBezTo>
                    <a:pt x="76" y="234"/>
                    <a:pt x="76" y="234"/>
                    <a:pt x="76" y="234"/>
                  </a:cubicBezTo>
                  <a:cubicBezTo>
                    <a:pt x="74" y="242"/>
                    <a:pt x="78" y="250"/>
                    <a:pt x="86" y="253"/>
                  </a:cubicBezTo>
                  <a:cubicBezTo>
                    <a:pt x="102" y="257"/>
                    <a:pt x="102" y="257"/>
                    <a:pt x="102" y="257"/>
                  </a:cubicBezTo>
                  <a:cubicBezTo>
                    <a:pt x="110" y="259"/>
                    <a:pt x="118" y="255"/>
                    <a:pt x="121" y="247"/>
                  </a:cubicBezTo>
                  <a:cubicBezTo>
                    <a:pt x="126" y="228"/>
                    <a:pt x="126" y="228"/>
                    <a:pt x="126" y="228"/>
                  </a:cubicBezTo>
                  <a:cubicBezTo>
                    <a:pt x="136" y="228"/>
                    <a:pt x="146" y="227"/>
                    <a:pt x="156" y="224"/>
                  </a:cubicBezTo>
                  <a:cubicBezTo>
                    <a:pt x="166" y="242"/>
                    <a:pt x="166" y="242"/>
                    <a:pt x="166" y="242"/>
                  </a:cubicBezTo>
                  <a:cubicBezTo>
                    <a:pt x="170" y="249"/>
                    <a:pt x="179" y="251"/>
                    <a:pt x="186" y="247"/>
                  </a:cubicBezTo>
                  <a:cubicBezTo>
                    <a:pt x="200" y="239"/>
                    <a:pt x="200" y="239"/>
                    <a:pt x="200" y="239"/>
                  </a:cubicBezTo>
                  <a:cubicBezTo>
                    <a:pt x="208" y="235"/>
                    <a:pt x="210" y="226"/>
                    <a:pt x="206" y="219"/>
                  </a:cubicBezTo>
                  <a:cubicBezTo>
                    <a:pt x="197" y="202"/>
                    <a:pt x="197" y="202"/>
                    <a:pt x="197" y="202"/>
                  </a:cubicBezTo>
                  <a:cubicBezTo>
                    <a:pt x="204" y="195"/>
                    <a:pt x="210" y="187"/>
                    <a:pt x="215" y="178"/>
                  </a:cubicBezTo>
                  <a:cubicBezTo>
                    <a:pt x="234" y="183"/>
                    <a:pt x="234" y="183"/>
                    <a:pt x="234" y="183"/>
                  </a:cubicBezTo>
                  <a:cubicBezTo>
                    <a:pt x="242" y="185"/>
                    <a:pt x="250" y="181"/>
                    <a:pt x="252" y="173"/>
                  </a:cubicBezTo>
                  <a:cubicBezTo>
                    <a:pt x="257" y="157"/>
                    <a:pt x="257" y="157"/>
                    <a:pt x="257" y="157"/>
                  </a:cubicBezTo>
                  <a:cubicBezTo>
                    <a:pt x="259" y="149"/>
                    <a:pt x="255" y="141"/>
                    <a:pt x="247" y="139"/>
                  </a:cubicBezTo>
                  <a:close/>
                  <a:moveTo>
                    <a:pt x="116" y="178"/>
                  </a:moveTo>
                  <a:cubicBezTo>
                    <a:pt x="90" y="170"/>
                    <a:pt x="74" y="143"/>
                    <a:pt x="82" y="116"/>
                  </a:cubicBezTo>
                  <a:cubicBezTo>
                    <a:pt x="89" y="90"/>
                    <a:pt x="117" y="74"/>
                    <a:pt x="143" y="82"/>
                  </a:cubicBezTo>
                  <a:cubicBezTo>
                    <a:pt x="169" y="89"/>
                    <a:pt x="185" y="117"/>
                    <a:pt x="177" y="143"/>
                  </a:cubicBezTo>
                  <a:cubicBezTo>
                    <a:pt x="170" y="170"/>
                    <a:pt x="142" y="185"/>
                    <a:pt x="116" y="178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3" name="Freeform 98"/>
            <p:cNvSpPr>
              <a:spLocks noEditPoints="1"/>
            </p:cNvSpPr>
            <p:nvPr/>
          </p:nvSpPr>
          <p:spPr bwMode="gray">
            <a:xfrm>
              <a:off x="9818987" y="4658045"/>
              <a:ext cx="227013" cy="228600"/>
            </a:xfrm>
            <a:custGeom>
              <a:avLst/>
              <a:gdLst>
                <a:gd name="T0" fmla="*/ 165 w 165"/>
                <a:gd name="T1" fmla="*/ 75 h 166"/>
                <a:gd name="T2" fmla="*/ 165 w 165"/>
                <a:gd name="T3" fmla="*/ 75 h 166"/>
                <a:gd name="T4" fmla="*/ 151 w 165"/>
                <a:gd name="T5" fmla="*/ 63 h 166"/>
                <a:gd name="T6" fmla="*/ 156 w 165"/>
                <a:gd name="T7" fmla="*/ 44 h 166"/>
                <a:gd name="T8" fmla="*/ 138 w 165"/>
                <a:gd name="T9" fmla="*/ 38 h 166"/>
                <a:gd name="T10" fmla="*/ 136 w 165"/>
                <a:gd name="T11" fmla="*/ 19 h 166"/>
                <a:gd name="T12" fmla="*/ 117 w 165"/>
                <a:gd name="T13" fmla="*/ 20 h 166"/>
                <a:gd name="T14" fmla="*/ 107 w 165"/>
                <a:gd name="T15" fmla="*/ 3 h 166"/>
                <a:gd name="T16" fmla="*/ 90 w 165"/>
                <a:gd name="T17" fmla="*/ 12 h 166"/>
                <a:gd name="T18" fmla="*/ 90 w 165"/>
                <a:gd name="T19" fmla="*/ 0 h 166"/>
                <a:gd name="T20" fmla="*/ 75 w 165"/>
                <a:gd name="T21" fmla="*/ 0 h 166"/>
                <a:gd name="T22" fmla="*/ 62 w 165"/>
                <a:gd name="T23" fmla="*/ 14 h 166"/>
                <a:gd name="T24" fmla="*/ 44 w 165"/>
                <a:gd name="T25" fmla="*/ 9 h 166"/>
                <a:gd name="T26" fmla="*/ 36 w 165"/>
                <a:gd name="T27" fmla="*/ 27 h 166"/>
                <a:gd name="T28" fmla="*/ 18 w 165"/>
                <a:gd name="T29" fmla="*/ 30 h 166"/>
                <a:gd name="T30" fmla="*/ 19 w 165"/>
                <a:gd name="T31" fmla="*/ 48 h 166"/>
                <a:gd name="T32" fmla="*/ 3 w 165"/>
                <a:gd name="T33" fmla="*/ 58 h 166"/>
                <a:gd name="T34" fmla="*/ 10 w 165"/>
                <a:gd name="T35" fmla="*/ 75 h 166"/>
                <a:gd name="T36" fmla="*/ 0 w 165"/>
                <a:gd name="T37" fmla="*/ 75 h 166"/>
                <a:gd name="T38" fmla="*/ 0 w 165"/>
                <a:gd name="T39" fmla="*/ 80 h 166"/>
                <a:gd name="T40" fmla="*/ 0 w 165"/>
                <a:gd name="T41" fmla="*/ 90 h 166"/>
                <a:gd name="T42" fmla="*/ 10 w 165"/>
                <a:gd name="T43" fmla="*/ 90 h 166"/>
                <a:gd name="T44" fmla="*/ 3 w 165"/>
                <a:gd name="T45" fmla="*/ 107 h 166"/>
                <a:gd name="T46" fmla="*/ 18 w 165"/>
                <a:gd name="T47" fmla="*/ 118 h 166"/>
                <a:gd name="T48" fmla="*/ 18 w 165"/>
                <a:gd name="T49" fmla="*/ 136 h 166"/>
                <a:gd name="T50" fmla="*/ 36 w 165"/>
                <a:gd name="T51" fmla="*/ 140 h 166"/>
                <a:gd name="T52" fmla="*/ 44 w 165"/>
                <a:gd name="T53" fmla="*/ 156 h 166"/>
                <a:gd name="T54" fmla="*/ 62 w 165"/>
                <a:gd name="T55" fmla="*/ 153 h 166"/>
                <a:gd name="T56" fmla="*/ 75 w 165"/>
                <a:gd name="T57" fmla="*/ 166 h 166"/>
                <a:gd name="T58" fmla="*/ 90 w 165"/>
                <a:gd name="T59" fmla="*/ 166 h 166"/>
                <a:gd name="T60" fmla="*/ 90 w 165"/>
                <a:gd name="T61" fmla="*/ 155 h 166"/>
                <a:gd name="T62" fmla="*/ 107 w 165"/>
                <a:gd name="T63" fmla="*/ 162 h 166"/>
                <a:gd name="T64" fmla="*/ 117 w 165"/>
                <a:gd name="T65" fmla="*/ 146 h 166"/>
                <a:gd name="T66" fmla="*/ 135 w 165"/>
                <a:gd name="T67" fmla="*/ 147 h 166"/>
                <a:gd name="T68" fmla="*/ 138 w 165"/>
                <a:gd name="T69" fmla="*/ 129 h 166"/>
                <a:gd name="T70" fmla="*/ 156 w 165"/>
                <a:gd name="T71" fmla="*/ 122 h 166"/>
                <a:gd name="T72" fmla="*/ 151 w 165"/>
                <a:gd name="T73" fmla="*/ 103 h 166"/>
                <a:gd name="T74" fmla="*/ 165 w 165"/>
                <a:gd name="T75" fmla="*/ 90 h 166"/>
                <a:gd name="T76" fmla="*/ 133 w 165"/>
                <a:gd name="T77" fmla="*/ 75 h 166"/>
                <a:gd name="T78" fmla="*/ 104 w 165"/>
                <a:gd name="T79" fmla="*/ 71 h 166"/>
                <a:gd name="T80" fmla="*/ 113 w 165"/>
                <a:gd name="T81" fmla="*/ 42 h 166"/>
                <a:gd name="T82" fmla="*/ 90 w 165"/>
                <a:gd name="T83" fmla="*/ 59 h 166"/>
                <a:gd name="T84" fmla="*/ 113 w 165"/>
                <a:gd name="T85" fmla="*/ 42 h 166"/>
                <a:gd name="T86" fmla="*/ 75 w 165"/>
                <a:gd name="T87" fmla="*/ 90 h 166"/>
                <a:gd name="T88" fmla="*/ 90 w 165"/>
                <a:gd name="T89" fmla="*/ 76 h 166"/>
                <a:gd name="T90" fmla="*/ 75 w 165"/>
                <a:gd name="T91" fmla="*/ 32 h 166"/>
                <a:gd name="T92" fmla="*/ 69 w 165"/>
                <a:gd name="T93" fmla="*/ 61 h 166"/>
                <a:gd name="T94" fmla="*/ 75 w 165"/>
                <a:gd name="T95" fmla="*/ 32 h 166"/>
                <a:gd name="T96" fmla="*/ 60 w 165"/>
                <a:gd name="T97" fmla="*/ 71 h 166"/>
                <a:gd name="T98" fmla="*/ 31 w 165"/>
                <a:gd name="T99" fmla="*/ 75 h 166"/>
                <a:gd name="T100" fmla="*/ 41 w 165"/>
                <a:gd name="T101" fmla="*/ 115 h 166"/>
                <a:gd name="T102" fmla="*/ 57 w 165"/>
                <a:gd name="T103" fmla="*/ 90 h 166"/>
                <a:gd name="T104" fmla="*/ 41 w 165"/>
                <a:gd name="T105" fmla="*/ 115 h 166"/>
                <a:gd name="T106" fmla="*/ 69 w 165"/>
                <a:gd name="T107" fmla="*/ 106 h 166"/>
                <a:gd name="T108" fmla="*/ 75 w 165"/>
                <a:gd name="T109" fmla="*/ 135 h 166"/>
                <a:gd name="T110" fmla="*/ 90 w 165"/>
                <a:gd name="T111" fmla="*/ 135 h 166"/>
                <a:gd name="T112" fmla="*/ 94 w 165"/>
                <a:gd name="T113" fmla="*/ 106 h 166"/>
                <a:gd name="T114" fmla="*/ 90 w 165"/>
                <a:gd name="T115" fmla="*/ 135 h 166"/>
                <a:gd name="T116" fmla="*/ 104 w 165"/>
                <a:gd name="T117" fmla="*/ 96 h 166"/>
                <a:gd name="T118" fmla="*/ 133 w 165"/>
                <a:gd name="T119" fmla="*/ 9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5" h="166">
                  <a:moveTo>
                    <a:pt x="165" y="90"/>
                  </a:moveTo>
                  <a:cubicBezTo>
                    <a:pt x="165" y="75"/>
                    <a:pt x="165" y="75"/>
                    <a:pt x="165" y="75"/>
                  </a:cubicBezTo>
                  <a:cubicBezTo>
                    <a:pt x="165" y="75"/>
                    <a:pt x="165" y="75"/>
                    <a:pt x="165" y="75"/>
                  </a:cubicBezTo>
                  <a:cubicBezTo>
                    <a:pt x="165" y="75"/>
                    <a:pt x="165" y="75"/>
                    <a:pt x="165" y="75"/>
                  </a:cubicBezTo>
                  <a:cubicBezTo>
                    <a:pt x="154" y="75"/>
                    <a:pt x="154" y="75"/>
                    <a:pt x="154" y="75"/>
                  </a:cubicBezTo>
                  <a:cubicBezTo>
                    <a:pt x="153" y="71"/>
                    <a:pt x="152" y="67"/>
                    <a:pt x="151" y="63"/>
                  </a:cubicBezTo>
                  <a:cubicBezTo>
                    <a:pt x="162" y="58"/>
                    <a:pt x="162" y="58"/>
                    <a:pt x="162" y="58"/>
                  </a:cubicBezTo>
                  <a:cubicBezTo>
                    <a:pt x="156" y="44"/>
                    <a:pt x="156" y="44"/>
                    <a:pt x="156" y="44"/>
                  </a:cubicBezTo>
                  <a:cubicBezTo>
                    <a:pt x="145" y="49"/>
                    <a:pt x="145" y="49"/>
                    <a:pt x="145" y="49"/>
                  </a:cubicBezTo>
                  <a:cubicBezTo>
                    <a:pt x="143" y="45"/>
                    <a:pt x="141" y="41"/>
                    <a:pt x="138" y="38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36" y="19"/>
                    <a:pt x="136" y="19"/>
                    <a:pt x="136" y="19"/>
                  </a:cubicBezTo>
                  <a:cubicBezTo>
                    <a:pt x="127" y="27"/>
                    <a:pt x="127" y="27"/>
                    <a:pt x="127" y="27"/>
                  </a:cubicBezTo>
                  <a:cubicBezTo>
                    <a:pt x="124" y="25"/>
                    <a:pt x="120" y="22"/>
                    <a:pt x="117" y="20"/>
                  </a:cubicBezTo>
                  <a:cubicBezTo>
                    <a:pt x="121" y="9"/>
                    <a:pt x="121" y="9"/>
                    <a:pt x="121" y="9"/>
                  </a:cubicBezTo>
                  <a:cubicBezTo>
                    <a:pt x="107" y="3"/>
                    <a:pt x="107" y="3"/>
                    <a:pt x="107" y="3"/>
                  </a:cubicBezTo>
                  <a:cubicBezTo>
                    <a:pt x="103" y="14"/>
                    <a:pt x="103" y="14"/>
                    <a:pt x="103" y="14"/>
                  </a:cubicBezTo>
                  <a:cubicBezTo>
                    <a:pt x="99" y="13"/>
                    <a:pt x="94" y="12"/>
                    <a:pt x="90" y="12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5" y="12"/>
                    <a:pt x="75" y="12"/>
                    <a:pt x="75" y="12"/>
                  </a:cubicBezTo>
                  <a:cubicBezTo>
                    <a:pt x="71" y="12"/>
                    <a:pt x="66" y="13"/>
                    <a:pt x="62" y="14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44" y="22"/>
                    <a:pt x="40" y="24"/>
                    <a:pt x="36" y="27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3" y="41"/>
                    <a:pt x="21" y="45"/>
                    <a:pt x="19" y="48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11" y="66"/>
                    <a:pt x="11" y="71"/>
                    <a:pt x="1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0" y="95"/>
                    <a:pt x="11" y="99"/>
                    <a:pt x="12" y="103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9" y="121"/>
                    <a:pt x="9" y="121"/>
                    <a:pt x="9" y="121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20" y="122"/>
                    <a:pt x="23" y="125"/>
                    <a:pt x="26" y="129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29" y="147"/>
                    <a:pt x="29" y="147"/>
                    <a:pt x="29" y="147"/>
                  </a:cubicBezTo>
                  <a:cubicBezTo>
                    <a:pt x="36" y="140"/>
                    <a:pt x="36" y="140"/>
                    <a:pt x="36" y="140"/>
                  </a:cubicBezTo>
                  <a:cubicBezTo>
                    <a:pt x="40" y="142"/>
                    <a:pt x="44" y="145"/>
                    <a:pt x="48" y="147"/>
                  </a:cubicBezTo>
                  <a:cubicBezTo>
                    <a:pt x="44" y="156"/>
                    <a:pt x="44" y="156"/>
                    <a:pt x="44" y="156"/>
                  </a:cubicBezTo>
                  <a:cubicBezTo>
                    <a:pt x="58" y="162"/>
                    <a:pt x="58" y="162"/>
                    <a:pt x="58" y="162"/>
                  </a:cubicBezTo>
                  <a:cubicBezTo>
                    <a:pt x="62" y="153"/>
                    <a:pt x="62" y="153"/>
                    <a:pt x="62" y="153"/>
                  </a:cubicBezTo>
                  <a:cubicBezTo>
                    <a:pt x="66" y="154"/>
                    <a:pt x="70" y="155"/>
                    <a:pt x="75" y="155"/>
                  </a:cubicBezTo>
                  <a:cubicBezTo>
                    <a:pt x="75" y="166"/>
                    <a:pt x="75" y="166"/>
                    <a:pt x="75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55"/>
                    <a:pt x="90" y="155"/>
                    <a:pt x="90" y="155"/>
                  </a:cubicBezTo>
                  <a:cubicBezTo>
                    <a:pt x="94" y="155"/>
                    <a:pt x="99" y="154"/>
                    <a:pt x="103" y="152"/>
                  </a:cubicBezTo>
                  <a:cubicBezTo>
                    <a:pt x="107" y="162"/>
                    <a:pt x="107" y="162"/>
                    <a:pt x="107" y="162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17" y="146"/>
                    <a:pt x="117" y="146"/>
                    <a:pt x="117" y="146"/>
                  </a:cubicBezTo>
                  <a:cubicBezTo>
                    <a:pt x="121" y="144"/>
                    <a:pt x="124" y="142"/>
                    <a:pt x="127" y="140"/>
                  </a:cubicBezTo>
                  <a:cubicBezTo>
                    <a:pt x="135" y="147"/>
                    <a:pt x="135" y="147"/>
                    <a:pt x="135" y="147"/>
                  </a:cubicBezTo>
                  <a:cubicBezTo>
                    <a:pt x="146" y="137"/>
                    <a:pt x="146" y="137"/>
                    <a:pt x="146" y="137"/>
                  </a:cubicBezTo>
                  <a:cubicBezTo>
                    <a:pt x="138" y="129"/>
                    <a:pt x="138" y="129"/>
                    <a:pt x="138" y="129"/>
                  </a:cubicBezTo>
                  <a:cubicBezTo>
                    <a:pt x="141" y="125"/>
                    <a:pt x="143" y="121"/>
                    <a:pt x="146" y="117"/>
                  </a:cubicBezTo>
                  <a:cubicBezTo>
                    <a:pt x="156" y="122"/>
                    <a:pt x="156" y="122"/>
                    <a:pt x="156" y="122"/>
                  </a:cubicBezTo>
                  <a:cubicBezTo>
                    <a:pt x="162" y="108"/>
                    <a:pt x="162" y="108"/>
                    <a:pt x="162" y="108"/>
                  </a:cubicBezTo>
                  <a:cubicBezTo>
                    <a:pt x="151" y="103"/>
                    <a:pt x="151" y="103"/>
                    <a:pt x="151" y="103"/>
                  </a:cubicBezTo>
                  <a:cubicBezTo>
                    <a:pt x="152" y="99"/>
                    <a:pt x="153" y="95"/>
                    <a:pt x="154" y="90"/>
                  </a:cubicBezTo>
                  <a:lnTo>
                    <a:pt x="165" y="90"/>
                  </a:lnTo>
                  <a:close/>
                  <a:moveTo>
                    <a:pt x="123" y="52"/>
                  </a:moveTo>
                  <a:cubicBezTo>
                    <a:pt x="128" y="59"/>
                    <a:pt x="132" y="67"/>
                    <a:pt x="133" y="75"/>
                  </a:cubicBezTo>
                  <a:cubicBezTo>
                    <a:pt x="106" y="75"/>
                    <a:pt x="106" y="75"/>
                    <a:pt x="106" y="75"/>
                  </a:cubicBezTo>
                  <a:cubicBezTo>
                    <a:pt x="105" y="74"/>
                    <a:pt x="105" y="72"/>
                    <a:pt x="104" y="71"/>
                  </a:cubicBezTo>
                  <a:lnTo>
                    <a:pt x="123" y="52"/>
                  </a:lnTo>
                  <a:close/>
                  <a:moveTo>
                    <a:pt x="113" y="42"/>
                  </a:moveTo>
                  <a:cubicBezTo>
                    <a:pt x="94" y="61"/>
                    <a:pt x="94" y="61"/>
                    <a:pt x="94" y="61"/>
                  </a:cubicBezTo>
                  <a:cubicBezTo>
                    <a:pt x="93" y="61"/>
                    <a:pt x="92" y="60"/>
                    <a:pt x="90" y="59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9" y="34"/>
                    <a:pt x="107" y="37"/>
                    <a:pt x="113" y="42"/>
                  </a:cubicBezTo>
                  <a:close/>
                  <a:moveTo>
                    <a:pt x="90" y="90"/>
                  </a:moveTo>
                  <a:cubicBezTo>
                    <a:pt x="86" y="94"/>
                    <a:pt x="79" y="94"/>
                    <a:pt x="75" y="90"/>
                  </a:cubicBezTo>
                  <a:cubicBezTo>
                    <a:pt x="71" y="86"/>
                    <a:pt x="71" y="80"/>
                    <a:pt x="75" y="76"/>
                  </a:cubicBezTo>
                  <a:cubicBezTo>
                    <a:pt x="79" y="72"/>
                    <a:pt x="86" y="72"/>
                    <a:pt x="90" y="76"/>
                  </a:cubicBezTo>
                  <a:cubicBezTo>
                    <a:pt x="94" y="80"/>
                    <a:pt x="94" y="86"/>
                    <a:pt x="90" y="90"/>
                  </a:cubicBezTo>
                  <a:close/>
                  <a:moveTo>
                    <a:pt x="75" y="32"/>
                  </a:moveTo>
                  <a:cubicBezTo>
                    <a:pt x="75" y="59"/>
                    <a:pt x="75" y="59"/>
                    <a:pt x="75" y="59"/>
                  </a:cubicBezTo>
                  <a:cubicBezTo>
                    <a:pt x="73" y="60"/>
                    <a:pt x="71" y="60"/>
                    <a:pt x="69" y="61"/>
                  </a:cubicBezTo>
                  <a:cubicBezTo>
                    <a:pt x="50" y="42"/>
                    <a:pt x="50" y="42"/>
                    <a:pt x="50" y="42"/>
                  </a:cubicBezTo>
                  <a:cubicBezTo>
                    <a:pt x="57" y="37"/>
                    <a:pt x="66" y="33"/>
                    <a:pt x="75" y="32"/>
                  </a:cubicBezTo>
                  <a:close/>
                  <a:moveTo>
                    <a:pt x="41" y="52"/>
                  </a:moveTo>
                  <a:cubicBezTo>
                    <a:pt x="60" y="71"/>
                    <a:pt x="60" y="71"/>
                    <a:pt x="60" y="71"/>
                  </a:cubicBezTo>
                  <a:cubicBezTo>
                    <a:pt x="59" y="72"/>
                    <a:pt x="58" y="74"/>
                    <a:pt x="58" y="75"/>
                  </a:cubicBezTo>
                  <a:cubicBezTo>
                    <a:pt x="31" y="75"/>
                    <a:pt x="31" y="75"/>
                    <a:pt x="31" y="75"/>
                  </a:cubicBezTo>
                  <a:cubicBezTo>
                    <a:pt x="32" y="67"/>
                    <a:pt x="35" y="59"/>
                    <a:pt x="41" y="52"/>
                  </a:cubicBezTo>
                  <a:close/>
                  <a:moveTo>
                    <a:pt x="41" y="115"/>
                  </a:moveTo>
                  <a:cubicBezTo>
                    <a:pt x="35" y="108"/>
                    <a:pt x="32" y="99"/>
                    <a:pt x="30" y="9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8" y="92"/>
                    <a:pt x="59" y="94"/>
                    <a:pt x="60" y="96"/>
                  </a:cubicBezTo>
                  <a:lnTo>
                    <a:pt x="41" y="115"/>
                  </a:lnTo>
                  <a:close/>
                  <a:moveTo>
                    <a:pt x="50" y="125"/>
                  </a:moveTo>
                  <a:cubicBezTo>
                    <a:pt x="69" y="106"/>
                    <a:pt x="69" y="106"/>
                    <a:pt x="69" y="106"/>
                  </a:cubicBezTo>
                  <a:cubicBezTo>
                    <a:pt x="71" y="107"/>
                    <a:pt x="73" y="107"/>
                    <a:pt x="75" y="108"/>
                  </a:cubicBezTo>
                  <a:cubicBezTo>
                    <a:pt x="75" y="135"/>
                    <a:pt x="75" y="135"/>
                    <a:pt x="75" y="135"/>
                  </a:cubicBezTo>
                  <a:cubicBezTo>
                    <a:pt x="66" y="134"/>
                    <a:pt x="57" y="130"/>
                    <a:pt x="50" y="125"/>
                  </a:cubicBezTo>
                  <a:close/>
                  <a:moveTo>
                    <a:pt x="90" y="135"/>
                  </a:moveTo>
                  <a:cubicBezTo>
                    <a:pt x="90" y="107"/>
                    <a:pt x="90" y="107"/>
                    <a:pt x="90" y="107"/>
                  </a:cubicBezTo>
                  <a:cubicBezTo>
                    <a:pt x="92" y="107"/>
                    <a:pt x="93" y="106"/>
                    <a:pt x="94" y="106"/>
                  </a:cubicBezTo>
                  <a:cubicBezTo>
                    <a:pt x="113" y="125"/>
                    <a:pt x="113" y="125"/>
                    <a:pt x="113" y="125"/>
                  </a:cubicBezTo>
                  <a:cubicBezTo>
                    <a:pt x="107" y="130"/>
                    <a:pt x="99" y="133"/>
                    <a:pt x="90" y="135"/>
                  </a:cubicBezTo>
                  <a:close/>
                  <a:moveTo>
                    <a:pt x="123" y="115"/>
                  </a:moveTo>
                  <a:cubicBezTo>
                    <a:pt x="104" y="96"/>
                    <a:pt x="104" y="96"/>
                    <a:pt x="104" y="96"/>
                  </a:cubicBezTo>
                  <a:cubicBezTo>
                    <a:pt x="105" y="94"/>
                    <a:pt x="106" y="92"/>
                    <a:pt x="106" y="90"/>
                  </a:cubicBezTo>
                  <a:cubicBezTo>
                    <a:pt x="133" y="90"/>
                    <a:pt x="133" y="90"/>
                    <a:pt x="133" y="90"/>
                  </a:cubicBezTo>
                  <a:cubicBezTo>
                    <a:pt x="132" y="99"/>
                    <a:pt x="129" y="108"/>
                    <a:pt x="123" y="115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4" name="Freeform 99"/>
            <p:cNvSpPr>
              <a:spLocks/>
            </p:cNvSpPr>
            <p:nvPr/>
          </p:nvSpPr>
          <p:spPr bwMode="gray">
            <a:xfrm>
              <a:off x="9061750" y="4907283"/>
              <a:ext cx="1035050" cy="211137"/>
            </a:xfrm>
            <a:custGeom>
              <a:avLst/>
              <a:gdLst>
                <a:gd name="T0" fmla="*/ 3 w 748"/>
                <a:gd name="T1" fmla="*/ 0 h 153"/>
                <a:gd name="T2" fmla="*/ 0 w 748"/>
                <a:gd name="T3" fmla="*/ 26 h 153"/>
                <a:gd name="T4" fmla="*/ 127 w 748"/>
                <a:gd name="T5" fmla="*/ 153 h 153"/>
                <a:gd name="T6" fmla="*/ 621 w 748"/>
                <a:gd name="T7" fmla="*/ 153 h 153"/>
                <a:gd name="T8" fmla="*/ 748 w 748"/>
                <a:gd name="T9" fmla="*/ 26 h 153"/>
                <a:gd name="T10" fmla="*/ 745 w 748"/>
                <a:gd name="T11" fmla="*/ 0 h 153"/>
                <a:gd name="T12" fmla="*/ 3 w 748"/>
                <a:gd name="T13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8" h="153">
                  <a:moveTo>
                    <a:pt x="3" y="0"/>
                  </a:moveTo>
                  <a:cubicBezTo>
                    <a:pt x="1" y="9"/>
                    <a:pt x="0" y="17"/>
                    <a:pt x="0" y="26"/>
                  </a:cubicBezTo>
                  <a:cubicBezTo>
                    <a:pt x="0" y="96"/>
                    <a:pt x="57" y="153"/>
                    <a:pt x="127" y="153"/>
                  </a:cubicBezTo>
                  <a:cubicBezTo>
                    <a:pt x="621" y="153"/>
                    <a:pt x="621" y="153"/>
                    <a:pt x="621" y="153"/>
                  </a:cubicBezTo>
                  <a:cubicBezTo>
                    <a:pt x="691" y="153"/>
                    <a:pt x="748" y="96"/>
                    <a:pt x="748" y="26"/>
                  </a:cubicBezTo>
                  <a:cubicBezTo>
                    <a:pt x="748" y="17"/>
                    <a:pt x="747" y="9"/>
                    <a:pt x="745" y="0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5" name="Freeform 100"/>
            <p:cNvSpPr>
              <a:spLocks/>
            </p:cNvSpPr>
            <p:nvPr/>
          </p:nvSpPr>
          <p:spPr bwMode="gray">
            <a:xfrm>
              <a:off x="9101437" y="4907283"/>
              <a:ext cx="995363" cy="211137"/>
            </a:xfrm>
            <a:custGeom>
              <a:avLst/>
              <a:gdLst>
                <a:gd name="T0" fmla="*/ 716 w 719"/>
                <a:gd name="T1" fmla="*/ 0 h 153"/>
                <a:gd name="T2" fmla="*/ 700 w 719"/>
                <a:gd name="T3" fmla="*/ 0 h 153"/>
                <a:gd name="T4" fmla="*/ 701 w 719"/>
                <a:gd name="T5" fmla="*/ 8 h 153"/>
                <a:gd name="T6" fmla="*/ 573 w 719"/>
                <a:gd name="T7" fmla="*/ 135 h 153"/>
                <a:gd name="T8" fmla="*/ 80 w 719"/>
                <a:gd name="T9" fmla="*/ 135 h 153"/>
                <a:gd name="T10" fmla="*/ 0 w 719"/>
                <a:gd name="T11" fmla="*/ 106 h 153"/>
                <a:gd name="T12" fmla="*/ 98 w 719"/>
                <a:gd name="T13" fmla="*/ 153 h 153"/>
                <a:gd name="T14" fmla="*/ 592 w 719"/>
                <a:gd name="T15" fmla="*/ 153 h 153"/>
                <a:gd name="T16" fmla="*/ 719 w 719"/>
                <a:gd name="T17" fmla="*/ 26 h 153"/>
                <a:gd name="T18" fmla="*/ 716 w 719"/>
                <a:gd name="T19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19" h="153">
                  <a:moveTo>
                    <a:pt x="716" y="0"/>
                  </a:moveTo>
                  <a:cubicBezTo>
                    <a:pt x="700" y="0"/>
                    <a:pt x="700" y="0"/>
                    <a:pt x="700" y="0"/>
                  </a:cubicBezTo>
                  <a:cubicBezTo>
                    <a:pt x="701" y="3"/>
                    <a:pt x="701" y="5"/>
                    <a:pt x="701" y="8"/>
                  </a:cubicBezTo>
                  <a:cubicBezTo>
                    <a:pt x="701" y="78"/>
                    <a:pt x="644" y="135"/>
                    <a:pt x="573" y="135"/>
                  </a:cubicBezTo>
                  <a:cubicBezTo>
                    <a:pt x="80" y="135"/>
                    <a:pt x="80" y="135"/>
                    <a:pt x="80" y="135"/>
                  </a:cubicBezTo>
                  <a:cubicBezTo>
                    <a:pt x="50" y="135"/>
                    <a:pt x="22" y="124"/>
                    <a:pt x="0" y="106"/>
                  </a:cubicBezTo>
                  <a:cubicBezTo>
                    <a:pt x="23" y="135"/>
                    <a:pt x="59" y="153"/>
                    <a:pt x="98" y="153"/>
                  </a:cubicBezTo>
                  <a:cubicBezTo>
                    <a:pt x="592" y="153"/>
                    <a:pt x="592" y="153"/>
                    <a:pt x="592" y="153"/>
                  </a:cubicBezTo>
                  <a:cubicBezTo>
                    <a:pt x="662" y="153"/>
                    <a:pt x="719" y="96"/>
                    <a:pt x="719" y="26"/>
                  </a:cubicBezTo>
                  <a:cubicBezTo>
                    <a:pt x="719" y="17"/>
                    <a:pt x="718" y="9"/>
                    <a:pt x="716" y="0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6" name="Freeform 101"/>
            <p:cNvSpPr>
              <a:spLocks/>
            </p:cNvSpPr>
            <p:nvPr/>
          </p:nvSpPr>
          <p:spPr bwMode="gray">
            <a:xfrm>
              <a:off x="9064925" y="4192908"/>
              <a:ext cx="1028700" cy="377825"/>
            </a:xfrm>
            <a:custGeom>
              <a:avLst/>
              <a:gdLst>
                <a:gd name="T0" fmla="*/ 744 w 744"/>
                <a:gd name="T1" fmla="*/ 274 h 274"/>
                <a:gd name="T2" fmla="*/ 621 w 744"/>
                <a:gd name="T3" fmla="*/ 173 h 274"/>
                <a:gd name="T4" fmla="*/ 581 w 744"/>
                <a:gd name="T5" fmla="*/ 179 h 274"/>
                <a:gd name="T6" fmla="*/ 457 w 744"/>
                <a:gd name="T7" fmla="*/ 68 h 274"/>
                <a:gd name="T8" fmla="*/ 372 w 744"/>
                <a:gd name="T9" fmla="*/ 101 h 274"/>
                <a:gd name="T10" fmla="*/ 249 w 744"/>
                <a:gd name="T11" fmla="*/ 0 h 274"/>
                <a:gd name="T12" fmla="*/ 123 w 744"/>
                <a:gd name="T13" fmla="*/ 125 h 274"/>
                <a:gd name="T14" fmla="*/ 133 w 744"/>
                <a:gd name="T15" fmla="*/ 173 h 274"/>
                <a:gd name="T16" fmla="*/ 123 w 744"/>
                <a:gd name="T17" fmla="*/ 173 h 274"/>
                <a:gd name="T18" fmla="*/ 0 w 744"/>
                <a:gd name="T19" fmla="*/ 274 h 274"/>
                <a:gd name="T20" fmla="*/ 744 w 744"/>
                <a:gd name="T21" fmla="*/ 27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44" h="274">
                  <a:moveTo>
                    <a:pt x="744" y="274"/>
                  </a:moveTo>
                  <a:cubicBezTo>
                    <a:pt x="733" y="217"/>
                    <a:pt x="682" y="173"/>
                    <a:pt x="621" y="173"/>
                  </a:cubicBezTo>
                  <a:cubicBezTo>
                    <a:pt x="607" y="173"/>
                    <a:pt x="594" y="175"/>
                    <a:pt x="581" y="179"/>
                  </a:cubicBezTo>
                  <a:cubicBezTo>
                    <a:pt x="574" y="117"/>
                    <a:pt x="521" y="68"/>
                    <a:pt x="457" y="68"/>
                  </a:cubicBezTo>
                  <a:cubicBezTo>
                    <a:pt x="424" y="68"/>
                    <a:pt x="394" y="81"/>
                    <a:pt x="372" y="101"/>
                  </a:cubicBezTo>
                  <a:cubicBezTo>
                    <a:pt x="361" y="44"/>
                    <a:pt x="310" y="0"/>
                    <a:pt x="249" y="0"/>
                  </a:cubicBezTo>
                  <a:cubicBezTo>
                    <a:pt x="179" y="0"/>
                    <a:pt x="123" y="56"/>
                    <a:pt x="123" y="125"/>
                  </a:cubicBezTo>
                  <a:cubicBezTo>
                    <a:pt x="123" y="142"/>
                    <a:pt x="127" y="159"/>
                    <a:pt x="133" y="173"/>
                  </a:cubicBezTo>
                  <a:cubicBezTo>
                    <a:pt x="130" y="173"/>
                    <a:pt x="127" y="173"/>
                    <a:pt x="123" y="173"/>
                  </a:cubicBezTo>
                  <a:cubicBezTo>
                    <a:pt x="62" y="173"/>
                    <a:pt x="12" y="217"/>
                    <a:pt x="0" y="274"/>
                  </a:cubicBezTo>
                  <a:lnTo>
                    <a:pt x="744" y="2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Freeform 102"/>
            <p:cNvSpPr>
              <a:spLocks/>
            </p:cNvSpPr>
            <p:nvPr/>
          </p:nvSpPr>
          <p:spPr bwMode="gray">
            <a:xfrm>
              <a:off x="9268125" y="4192908"/>
              <a:ext cx="825500" cy="377825"/>
            </a:xfrm>
            <a:custGeom>
              <a:avLst/>
              <a:gdLst>
                <a:gd name="T0" fmla="*/ 80 w 597"/>
                <a:gd name="T1" fmla="*/ 23 h 274"/>
                <a:gd name="T2" fmla="*/ 203 w 597"/>
                <a:gd name="T3" fmla="*/ 125 h 274"/>
                <a:gd name="T4" fmla="*/ 288 w 597"/>
                <a:gd name="T5" fmla="*/ 91 h 274"/>
                <a:gd name="T6" fmla="*/ 413 w 597"/>
                <a:gd name="T7" fmla="*/ 203 h 274"/>
                <a:gd name="T8" fmla="*/ 452 w 597"/>
                <a:gd name="T9" fmla="*/ 196 h 274"/>
                <a:gd name="T10" fmla="*/ 568 w 597"/>
                <a:gd name="T11" fmla="*/ 274 h 274"/>
                <a:gd name="T12" fmla="*/ 597 w 597"/>
                <a:gd name="T13" fmla="*/ 274 h 274"/>
                <a:gd name="T14" fmla="*/ 474 w 597"/>
                <a:gd name="T15" fmla="*/ 173 h 274"/>
                <a:gd name="T16" fmla="*/ 434 w 597"/>
                <a:gd name="T17" fmla="*/ 179 h 274"/>
                <a:gd name="T18" fmla="*/ 310 w 597"/>
                <a:gd name="T19" fmla="*/ 68 h 274"/>
                <a:gd name="T20" fmla="*/ 225 w 597"/>
                <a:gd name="T21" fmla="*/ 101 h 274"/>
                <a:gd name="T22" fmla="*/ 102 w 597"/>
                <a:gd name="T23" fmla="*/ 0 h 274"/>
                <a:gd name="T24" fmla="*/ 0 w 597"/>
                <a:gd name="T25" fmla="*/ 52 h 274"/>
                <a:gd name="T26" fmla="*/ 80 w 597"/>
                <a:gd name="T27" fmla="*/ 23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97" h="274">
                  <a:moveTo>
                    <a:pt x="80" y="23"/>
                  </a:moveTo>
                  <a:cubicBezTo>
                    <a:pt x="141" y="23"/>
                    <a:pt x="192" y="67"/>
                    <a:pt x="203" y="125"/>
                  </a:cubicBezTo>
                  <a:cubicBezTo>
                    <a:pt x="225" y="104"/>
                    <a:pt x="255" y="91"/>
                    <a:pt x="288" y="91"/>
                  </a:cubicBezTo>
                  <a:cubicBezTo>
                    <a:pt x="353" y="91"/>
                    <a:pt x="406" y="140"/>
                    <a:pt x="413" y="203"/>
                  </a:cubicBezTo>
                  <a:cubicBezTo>
                    <a:pt x="425" y="199"/>
                    <a:pt x="438" y="196"/>
                    <a:pt x="452" y="196"/>
                  </a:cubicBezTo>
                  <a:cubicBezTo>
                    <a:pt x="505" y="196"/>
                    <a:pt x="549" y="229"/>
                    <a:pt x="568" y="274"/>
                  </a:cubicBezTo>
                  <a:cubicBezTo>
                    <a:pt x="597" y="274"/>
                    <a:pt x="597" y="274"/>
                    <a:pt x="597" y="274"/>
                  </a:cubicBezTo>
                  <a:cubicBezTo>
                    <a:pt x="586" y="217"/>
                    <a:pt x="535" y="173"/>
                    <a:pt x="474" y="173"/>
                  </a:cubicBezTo>
                  <a:cubicBezTo>
                    <a:pt x="460" y="173"/>
                    <a:pt x="447" y="175"/>
                    <a:pt x="434" y="179"/>
                  </a:cubicBezTo>
                  <a:cubicBezTo>
                    <a:pt x="427" y="117"/>
                    <a:pt x="374" y="68"/>
                    <a:pt x="310" y="68"/>
                  </a:cubicBezTo>
                  <a:cubicBezTo>
                    <a:pt x="277" y="68"/>
                    <a:pt x="247" y="81"/>
                    <a:pt x="225" y="101"/>
                  </a:cubicBezTo>
                  <a:cubicBezTo>
                    <a:pt x="214" y="44"/>
                    <a:pt x="163" y="0"/>
                    <a:pt x="102" y="0"/>
                  </a:cubicBezTo>
                  <a:cubicBezTo>
                    <a:pt x="60" y="0"/>
                    <a:pt x="23" y="20"/>
                    <a:pt x="0" y="52"/>
                  </a:cubicBezTo>
                  <a:cubicBezTo>
                    <a:pt x="22" y="34"/>
                    <a:pt x="49" y="23"/>
                    <a:pt x="80" y="23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8" name="Oval 103"/>
            <p:cNvSpPr>
              <a:spLocks noChangeArrowheads="1"/>
            </p:cNvSpPr>
            <p:nvPr/>
          </p:nvSpPr>
          <p:spPr bwMode="gray">
            <a:xfrm>
              <a:off x="11085812" y="5396233"/>
              <a:ext cx="103188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9" name="Oval 104"/>
            <p:cNvSpPr>
              <a:spLocks noChangeArrowheads="1"/>
            </p:cNvSpPr>
            <p:nvPr/>
          </p:nvSpPr>
          <p:spPr bwMode="gray">
            <a:xfrm>
              <a:off x="10884200" y="5396233"/>
              <a:ext cx="101600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0" name="Freeform 105"/>
            <p:cNvSpPr>
              <a:spLocks/>
            </p:cNvSpPr>
            <p:nvPr/>
          </p:nvSpPr>
          <p:spPr bwMode="gray">
            <a:xfrm>
              <a:off x="10884200" y="5412108"/>
              <a:ext cx="85725" cy="87312"/>
            </a:xfrm>
            <a:custGeom>
              <a:avLst/>
              <a:gdLst>
                <a:gd name="T0" fmla="*/ 37 w 62"/>
                <a:gd name="T1" fmla="*/ 63 h 63"/>
                <a:gd name="T2" fmla="*/ 62 w 62"/>
                <a:gd name="T3" fmla="*/ 52 h 63"/>
                <a:gd name="T4" fmla="*/ 11 w 62"/>
                <a:gd name="T5" fmla="*/ 0 h 63"/>
                <a:gd name="T6" fmla="*/ 0 w 62"/>
                <a:gd name="T7" fmla="*/ 26 h 63"/>
                <a:gd name="T8" fmla="*/ 37 w 62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63">
                  <a:moveTo>
                    <a:pt x="37" y="63"/>
                  </a:moveTo>
                  <a:cubicBezTo>
                    <a:pt x="47" y="63"/>
                    <a:pt x="56" y="59"/>
                    <a:pt x="62" y="5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6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1" name="Freeform 106"/>
            <p:cNvSpPr>
              <a:spLocks/>
            </p:cNvSpPr>
            <p:nvPr/>
          </p:nvSpPr>
          <p:spPr bwMode="gray">
            <a:xfrm>
              <a:off x="11085812" y="5412108"/>
              <a:ext cx="87313" cy="87312"/>
            </a:xfrm>
            <a:custGeom>
              <a:avLst/>
              <a:gdLst>
                <a:gd name="T0" fmla="*/ 37 w 63"/>
                <a:gd name="T1" fmla="*/ 63 h 63"/>
                <a:gd name="T2" fmla="*/ 63 w 63"/>
                <a:gd name="T3" fmla="*/ 52 h 63"/>
                <a:gd name="T4" fmla="*/ 11 w 63"/>
                <a:gd name="T5" fmla="*/ 0 h 63"/>
                <a:gd name="T6" fmla="*/ 0 w 63"/>
                <a:gd name="T7" fmla="*/ 26 h 63"/>
                <a:gd name="T8" fmla="*/ 37 w 63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63">
                  <a:moveTo>
                    <a:pt x="37" y="63"/>
                  </a:moveTo>
                  <a:cubicBezTo>
                    <a:pt x="47" y="63"/>
                    <a:pt x="56" y="59"/>
                    <a:pt x="63" y="5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7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3681652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200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2809030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618636637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138322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740132"/>
            <a:ext cx="4892040" cy="1514261"/>
          </a:xfrm>
        </p:spPr>
        <p:txBody>
          <a:bodyPr wrap="square" anchor="ctr">
            <a:spAutoFit/>
          </a:bodyPr>
          <a:lstStyle>
            <a:lvl1pPr>
              <a:defRPr sz="48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441315" y="0"/>
            <a:ext cx="6995160" cy="699258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97938160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0109677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90384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7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22771056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9" y="6220609"/>
            <a:ext cx="4572000" cy="47705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82880" rIns="182880" bIns="182880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41102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381127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Freeform: Shape 104"/>
          <p:cNvSpPr>
            <a:spLocks/>
          </p:cNvSpPr>
          <p:nvPr userDrawn="1"/>
        </p:nvSpPr>
        <p:spPr bwMode="gray">
          <a:xfrm>
            <a:off x="352" y="4251226"/>
            <a:ext cx="12436123" cy="2743300"/>
          </a:xfrm>
          <a:custGeom>
            <a:avLst/>
            <a:gdLst>
              <a:gd name="connsiteX0" fmla="*/ 5679089 w 12449404"/>
              <a:gd name="connsiteY0" fmla="*/ 0 h 2048448"/>
              <a:gd name="connsiteX1" fmla="*/ 6408130 w 12449404"/>
              <a:gd name="connsiteY1" fmla="*/ 0 h 2048448"/>
              <a:gd name="connsiteX2" fmla="*/ 6408130 w 12449404"/>
              <a:gd name="connsiteY2" fmla="*/ 578198 h 2048448"/>
              <a:gd name="connsiteX3" fmla="*/ 6867090 w 12449404"/>
              <a:gd name="connsiteY3" fmla="*/ 606386 h 2048448"/>
              <a:gd name="connsiteX4" fmla="*/ 7118635 w 12449404"/>
              <a:gd name="connsiteY4" fmla="*/ 606386 h 2048448"/>
              <a:gd name="connsiteX5" fmla="*/ 7118635 w 12449404"/>
              <a:gd name="connsiteY5" fmla="*/ 483901 h 2048448"/>
              <a:gd name="connsiteX6" fmla="*/ 7128240 w 12449404"/>
              <a:gd name="connsiteY6" fmla="*/ 483901 h 2048448"/>
              <a:gd name="connsiteX7" fmla="*/ 7128240 w 12449404"/>
              <a:gd name="connsiteY7" fmla="*/ 225552 h 2048448"/>
              <a:gd name="connsiteX8" fmla="*/ 7501176 w 12449404"/>
              <a:gd name="connsiteY8" fmla="*/ 225552 h 2048448"/>
              <a:gd name="connsiteX9" fmla="*/ 7501176 w 12449404"/>
              <a:gd name="connsiteY9" fmla="*/ 339268 h 2048448"/>
              <a:gd name="connsiteX10" fmla="*/ 7539643 w 12449404"/>
              <a:gd name="connsiteY10" fmla="*/ 339268 h 2048448"/>
              <a:gd name="connsiteX11" fmla="*/ 7539643 w 12449404"/>
              <a:gd name="connsiteY11" fmla="*/ 483901 h 2048448"/>
              <a:gd name="connsiteX12" fmla="*/ 7646440 w 12449404"/>
              <a:gd name="connsiteY12" fmla="*/ 483901 h 2048448"/>
              <a:gd name="connsiteX13" fmla="*/ 7646440 w 12449404"/>
              <a:gd name="connsiteY13" fmla="*/ 643969 h 2048448"/>
              <a:gd name="connsiteX14" fmla="*/ 8043905 w 12449404"/>
              <a:gd name="connsiteY14" fmla="*/ 643969 h 2048448"/>
              <a:gd name="connsiteX15" fmla="*/ 8043905 w 12449404"/>
              <a:gd name="connsiteY15" fmla="*/ 744644 h 2048448"/>
              <a:gd name="connsiteX16" fmla="*/ 8497281 w 12449404"/>
              <a:gd name="connsiteY16" fmla="*/ 744644 h 2048448"/>
              <a:gd name="connsiteX17" fmla="*/ 8497281 w 12449404"/>
              <a:gd name="connsiteY17" fmla="*/ 777377 h 2048448"/>
              <a:gd name="connsiteX18" fmla="*/ 8516897 w 12449404"/>
              <a:gd name="connsiteY18" fmla="*/ 777377 h 2048448"/>
              <a:gd name="connsiteX19" fmla="*/ 8516897 w 12449404"/>
              <a:gd name="connsiteY19" fmla="*/ 965361 h 2048448"/>
              <a:gd name="connsiteX20" fmla="*/ 8865577 w 12449404"/>
              <a:gd name="connsiteY20" fmla="*/ 965361 h 2048448"/>
              <a:gd name="connsiteX21" fmla="*/ 8865577 w 12449404"/>
              <a:gd name="connsiteY21" fmla="*/ 525721 h 2048448"/>
              <a:gd name="connsiteX22" fmla="*/ 8968665 w 12449404"/>
              <a:gd name="connsiteY22" fmla="*/ 525721 h 2048448"/>
              <a:gd name="connsiteX23" fmla="*/ 8968665 w 12449404"/>
              <a:gd name="connsiteY23" fmla="*/ 386248 h 2048448"/>
              <a:gd name="connsiteX24" fmla="*/ 9271866 w 12449404"/>
              <a:gd name="connsiteY24" fmla="*/ 386248 h 2048448"/>
              <a:gd name="connsiteX25" fmla="*/ 9271866 w 12449404"/>
              <a:gd name="connsiteY25" fmla="*/ 525721 h 2048448"/>
              <a:gd name="connsiteX26" fmla="*/ 9368890 w 12449404"/>
              <a:gd name="connsiteY26" fmla="*/ 525721 h 2048448"/>
              <a:gd name="connsiteX27" fmla="*/ 9368890 w 12449404"/>
              <a:gd name="connsiteY27" fmla="*/ 58792 h 2048448"/>
              <a:gd name="connsiteX28" fmla="*/ 10072314 w 12449404"/>
              <a:gd name="connsiteY28" fmla="*/ 58792 h 2048448"/>
              <a:gd name="connsiteX29" fmla="*/ 10072314 w 12449404"/>
              <a:gd name="connsiteY29" fmla="*/ 616681 h 2048448"/>
              <a:gd name="connsiteX30" fmla="*/ 10514986 w 12449404"/>
              <a:gd name="connsiteY30" fmla="*/ 255872 h 2048448"/>
              <a:gd name="connsiteX31" fmla="*/ 10514986 w 12449404"/>
              <a:gd name="connsiteY31" fmla="*/ 643969 h 2048448"/>
              <a:gd name="connsiteX32" fmla="*/ 10757546 w 12449404"/>
              <a:gd name="connsiteY32" fmla="*/ 643969 h 2048448"/>
              <a:gd name="connsiteX33" fmla="*/ 10757546 w 12449404"/>
              <a:gd name="connsiteY33" fmla="*/ 525721 h 2048448"/>
              <a:gd name="connsiteX34" fmla="*/ 10860634 w 12449404"/>
              <a:gd name="connsiteY34" fmla="*/ 525721 h 2048448"/>
              <a:gd name="connsiteX35" fmla="*/ 10860634 w 12449404"/>
              <a:gd name="connsiteY35" fmla="*/ 386248 h 2048448"/>
              <a:gd name="connsiteX36" fmla="*/ 11163835 w 12449404"/>
              <a:gd name="connsiteY36" fmla="*/ 386248 h 2048448"/>
              <a:gd name="connsiteX37" fmla="*/ 11163835 w 12449404"/>
              <a:gd name="connsiteY37" fmla="*/ 525721 h 2048448"/>
              <a:gd name="connsiteX38" fmla="*/ 11266923 w 12449404"/>
              <a:gd name="connsiteY38" fmla="*/ 525721 h 2048448"/>
              <a:gd name="connsiteX39" fmla="*/ 11266923 w 12449404"/>
              <a:gd name="connsiteY39" fmla="*/ 965361 h 2048448"/>
              <a:gd name="connsiteX40" fmla="*/ 11612572 w 12449404"/>
              <a:gd name="connsiteY40" fmla="*/ 965361 h 2048448"/>
              <a:gd name="connsiteX41" fmla="*/ 11612572 w 12449404"/>
              <a:gd name="connsiteY41" fmla="*/ 777377 h 2048448"/>
              <a:gd name="connsiteX42" fmla="*/ 12088596 w 12449404"/>
              <a:gd name="connsiteY42" fmla="*/ 777377 h 2048448"/>
              <a:gd name="connsiteX43" fmla="*/ 12088596 w 12449404"/>
              <a:gd name="connsiteY43" fmla="*/ 1374681 h 2048448"/>
              <a:gd name="connsiteX44" fmla="*/ 12449404 w 12449404"/>
              <a:gd name="connsiteY44" fmla="*/ 1374681 h 2048448"/>
              <a:gd name="connsiteX45" fmla="*/ 12449404 w 12449404"/>
              <a:gd name="connsiteY45" fmla="*/ 1677881 h 2048448"/>
              <a:gd name="connsiteX46" fmla="*/ 12436715 w 12449404"/>
              <a:gd name="connsiteY46" fmla="*/ 1677881 h 2048448"/>
              <a:gd name="connsiteX47" fmla="*/ 12436715 w 12449404"/>
              <a:gd name="connsiteY47" fmla="*/ 2048448 h 2048448"/>
              <a:gd name="connsiteX48" fmla="*/ 0 w 12449404"/>
              <a:gd name="connsiteY48" fmla="*/ 2048448 h 2048448"/>
              <a:gd name="connsiteX49" fmla="*/ 0 w 12449404"/>
              <a:gd name="connsiteY49" fmla="*/ 1406374 h 2048448"/>
              <a:gd name="connsiteX50" fmla="*/ 45352 w 12449404"/>
              <a:gd name="connsiteY50" fmla="*/ 1406374 h 2048448"/>
              <a:gd name="connsiteX51" fmla="*/ 45352 w 12449404"/>
              <a:gd name="connsiteY51" fmla="*/ 1140624 h 2048448"/>
              <a:gd name="connsiteX52" fmla="*/ 657888 w 12449404"/>
              <a:gd name="connsiteY52" fmla="*/ 1140624 h 2048448"/>
              <a:gd name="connsiteX53" fmla="*/ 657888 w 12449404"/>
              <a:gd name="connsiteY53" fmla="*/ 879713 h 2048448"/>
              <a:gd name="connsiteX54" fmla="*/ 1116848 w 12449404"/>
              <a:gd name="connsiteY54" fmla="*/ 879713 h 2048448"/>
              <a:gd name="connsiteX55" fmla="*/ 1116848 w 12449404"/>
              <a:gd name="connsiteY55" fmla="*/ 1197168 h 2048448"/>
              <a:gd name="connsiteX56" fmla="*/ 1597874 w 12449404"/>
              <a:gd name="connsiteY56" fmla="*/ 1197168 h 2048448"/>
              <a:gd name="connsiteX57" fmla="*/ 1597874 w 12449404"/>
              <a:gd name="connsiteY57" fmla="*/ 807564 h 2048448"/>
              <a:gd name="connsiteX58" fmla="*/ 1701140 w 12449404"/>
              <a:gd name="connsiteY58" fmla="*/ 807564 h 2048448"/>
              <a:gd name="connsiteX59" fmla="*/ 1701140 w 12449404"/>
              <a:gd name="connsiteY59" fmla="*/ 662931 h 2048448"/>
              <a:gd name="connsiteX60" fmla="*/ 2018881 w 12449404"/>
              <a:gd name="connsiteY60" fmla="*/ 662931 h 2048448"/>
              <a:gd name="connsiteX61" fmla="*/ 2018881 w 12449404"/>
              <a:gd name="connsiteY61" fmla="*/ 807564 h 2048448"/>
              <a:gd name="connsiteX62" fmla="*/ 2122148 w 12449404"/>
              <a:gd name="connsiteY62" fmla="*/ 807564 h 2048448"/>
              <a:gd name="connsiteX63" fmla="*/ 2122148 w 12449404"/>
              <a:gd name="connsiteY63" fmla="*/ 939446 h 2048448"/>
              <a:gd name="connsiteX64" fmla="*/ 2484020 w 12449404"/>
              <a:gd name="connsiteY64" fmla="*/ 939446 h 2048448"/>
              <a:gd name="connsiteX65" fmla="*/ 2484020 w 12449404"/>
              <a:gd name="connsiteY65" fmla="*/ 744644 h 2048448"/>
              <a:gd name="connsiteX66" fmla="*/ 2549333 w 12449404"/>
              <a:gd name="connsiteY66" fmla="*/ 744644 h 2048448"/>
              <a:gd name="connsiteX67" fmla="*/ 2976519 w 12449404"/>
              <a:gd name="connsiteY67" fmla="*/ 744644 h 2048448"/>
              <a:gd name="connsiteX68" fmla="*/ 3008294 w 12449404"/>
              <a:gd name="connsiteY68" fmla="*/ 744644 h 2048448"/>
              <a:gd name="connsiteX69" fmla="*/ 3008294 w 12449404"/>
              <a:gd name="connsiteY69" fmla="*/ 879713 h 2048448"/>
              <a:gd name="connsiteX70" fmla="*/ 3356927 w 12449404"/>
              <a:gd name="connsiteY70" fmla="*/ 879713 h 2048448"/>
              <a:gd name="connsiteX71" fmla="*/ 3356927 w 12449404"/>
              <a:gd name="connsiteY71" fmla="*/ 172822 h 2048448"/>
              <a:gd name="connsiteX72" fmla="*/ 3743513 w 12449404"/>
              <a:gd name="connsiteY72" fmla="*/ 172822 h 2048448"/>
              <a:gd name="connsiteX73" fmla="*/ 3743513 w 12449404"/>
              <a:gd name="connsiteY73" fmla="*/ 606386 h 2048448"/>
              <a:gd name="connsiteX74" fmla="*/ 4305739 w 12449404"/>
              <a:gd name="connsiteY74" fmla="*/ 606386 h 2048448"/>
              <a:gd name="connsiteX75" fmla="*/ 4305739 w 12449404"/>
              <a:gd name="connsiteY75" fmla="*/ 744644 h 2048448"/>
              <a:gd name="connsiteX76" fmla="*/ 4796473 w 12449404"/>
              <a:gd name="connsiteY76" fmla="*/ 744644 h 2048448"/>
              <a:gd name="connsiteX77" fmla="*/ 4796473 w 12449404"/>
              <a:gd name="connsiteY77" fmla="*/ 907753 h 2048448"/>
              <a:gd name="connsiteX78" fmla="*/ 4966423 w 12449404"/>
              <a:gd name="connsiteY78" fmla="*/ 907753 h 2048448"/>
              <a:gd name="connsiteX79" fmla="*/ 4966423 w 12449404"/>
              <a:gd name="connsiteY79" fmla="*/ 939446 h 2048448"/>
              <a:gd name="connsiteX80" fmla="*/ 5157463 w 12449404"/>
              <a:gd name="connsiteY80" fmla="*/ 939446 h 2048448"/>
              <a:gd name="connsiteX81" fmla="*/ 5157463 w 12449404"/>
              <a:gd name="connsiteY81" fmla="*/ 483901 h 2048448"/>
              <a:gd name="connsiteX82" fmla="*/ 5264259 w 12449404"/>
              <a:gd name="connsiteY82" fmla="*/ 483901 h 2048448"/>
              <a:gd name="connsiteX83" fmla="*/ 5264259 w 12449404"/>
              <a:gd name="connsiteY83" fmla="*/ 339268 h 2048448"/>
              <a:gd name="connsiteX84" fmla="*/ 5578471 w 12449404"/>
              <a:gd name="connsiteY84" fmla="*/ 339268 h 2048448"/>
              <a:gd name="connsiteX85" fmla="*/ 5578471 w 12449404"/>
              <a:gd name="connsiteY85" fmla="*/ 483901 h 2048448"/>
              <a:gd name="connsiteX86" fmla="*/ 5679089 w 12449404"/>
              <a:gd name="connsiteY86" fmla="*/ 483901 h 2048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</a:cxnLst>
            <a:rect l="l" t="t" r="r" b="b"/>
            <a:pathLst>
              <a:path w="12449404" h="2048448">
                <a:moveTo>
                  <a:pt x="5679089" y="0"/>
                </a:moveTo>
                <a:lnTo>
                  <a:pt x="6408130" y="0"/>
                </a:lnTo>
                <a:lnTo>
                  <a:pt x="6408130" y="578198"/>
                </a:lnTo>
                <a:lnTo>
                  <a:pt x="6867090" y="606386"/>
                </a:lnTo>
                <a:lnTo>
                  <a:pt x="7118635" y="606386"/>
                </a:lnTo>
                <a:lnTo>
                  <a:pt x="7118635" y="483901"/>
                </a:lnTo>
                <a:lnTo>
                  <a:pt x="7128240" y="483901"/>
                </a:lnTo>
                <a:lnTo>
                  <a:pt x="7128240" y="225552"/>
                </a:lnTo>
                <a:lnTo>
                  <a:pt x="7501176" y="225552"/>
                </a:lnTo>
                <a:lnTo>
                  <a:pt x="7501176" y="339268"/>
                </a:lnTo>
                <a:lnTo>
                  <a:pt x="7539643" y="339268"/>
                </a:lnTo>
                <a:lnTo>
                  <a:pt x="7539643" y="483901"/>
                </a:lnTo>
                <a:lnTo>
                  <a:pt x="7646440" y="483901"/>
                </a:lnTo>
                <a:lnTo>
                  <a:pt x="7646440" y="643969"/>
                </a:lnTo>
                <a:lnTo>
                  <a:pt x="8043905" y="643969"/>
                </a:lnTo>
                <a:lnTo>
                  <a:pt x="8043905" y="744644"/>
                </a:lnTo>
                <a:lnTo>
                  <a:pt x="8497281" y="744644"/>
                </a:lnTo>
                <a:lnTo>
                  <a:pt x="8497281" y="777377"/>
                </a:lnTo>
                <a:lnTo>
                  <a:pt x="8516897" y="777377"/>
                </a:lnTo>
                <a:lnTo>
                  <a:pt x="8516897" y="965361"/>
                </a:lnTo>
                <a:lnTo>
                  <a:pt x="8865577" y="965361"/>
                </a:lnTo>
                <a:lnTo>
                  <a:pt x="8865577" y="525721"/>
                </a:lnTo>
                <a:lnTo>
                  <a:pt x="8968665" y="525721"/>
                </a:lnTo>
                <a:lnTo>
                  <a:pt x="8968665" y="386248"/>
                </a:lnTo>
                <a:lnTo>
                  <a:pt x="9271866" y="386248"/>
                </a:lnTo>
                <a:lnTo>
                  <a:pt x="9271866" y="525721"/>
                </a:lnTo>
                <a:lnTo>
                  <a:pt x="9368890" y="525721"/>
                </a:lnTo>
                <a:lnTo>
                  <a:pt x="9368890" y="58792"/>
                </a:lnTo>
                <a:lnTo>
                  <a:pt x="10072314" y="58792"/>
                </a:lnTo>
                <a:lnTo>
                  <a:pt x="10072314" y="616681"/>
                </a:lnTo>
                <a:lnTo>
                  <a:pt x="10514986" y="255872"/>
                </a:lnTo>
                <a:lnTo>
                  <a:pt x="10514986" y="643969"/>
                </a:lnTo>
                <a:lnTo>
                  <a:pt x="10757546" y="643969"/>
                </a:lnTo>
                <a:lnTo>
                  <a:pt x="10757546" y="525721"/>
                </a:lnTo>
                <a:lnTo>
                  <a:pt x="10860634" y="525721"/>
                </a:lnTo>
                <a:lnTo>
                  <a:pt x="10860634" y="386248"/>
                </a:lnTo>
                <a:lnTo>
                  <a:pt x="11163835" y="386248"/>
                </a:lnTo>
                <a:lnTo>
                  <a:pt x="11163835" y="525721"/>
                </a:lnTo>
                <a:lnTo>
                  <a:pt x="11266923" y="525721"/>
                </a:lnTo>
                <a:lnTo>
                  <a:pt x="11266923" y="965361"/>
                </a:lnTo>
                <a:lnTo>
                  <a:pt x="11612572" y="965361"/>
                </a:lnTo>
                <a:lnTo>
                  <a:pt x="11612572" y="777377"/>
                </a:lnTo>
                <a:lnTo>
                  <a:pt x="12088596" y="777377"/>
                </a:lnTo>
                <a:lnTo>
                  <a:pt x="12088596" y="1374681"/>
                </a:lnTo>
                <a:lnTo>
                  <a:pt x="12449404" y="1374681"/>
                </a:lnTo>
                <a:lnTo>
                  <a:pt x="12449404" y="1677881"/>
                </a:lnTo>
                <a:lnTo>
                  <a:pt x="12436715" y="1677881"/>
                </a:lnTo>
                <a:lnTo>
                  <a:pt x="12436715" y="2048448"/>
                </a:lnTo>
                <a:lnTo>
                  <a:pt x="0" y="2048448"/>
                </a:lnTo>
                <a:lnTo>
                  <a:pt x="0" y="1406374"/>
                </a:lnTo>
                <a:lnTo>
                  <a:pt x="45352" y="1406374"/>
                </a:lnTo>
                <a:lnTo>
                  <a:pt x="45352" y="1140624"/>
                </a:lnTo>
                <a:lnTo>
                  <a:pt x="657888" y="1140624"/>
                </a:lnTo>
                <a:lnTo>
                  <a:pt x="657888" y="879713"/>
                </a:lnTo>
                <a:lnTo>
                  <a:pt x="1116848" y="879713"/>
                </a:lnTo>
                <a:lnTo>
                  <a:pt x="1116848" y="1197168"/>
                </a:lnTo>
                <a:lnTo>
                  <a:pt x="1597874" y="1197168"/>
                </a:lnTo>
                <a:lnTo>
                  <a:pt x="1597874" y="807564"/>
                </a:lnTo>
                <a:lnTo>
                  <a:pt x="1701140" y="807564"/>
                </a:lnTo>
                <a:lnTo>
                  <a:pt x="1701140" y="662931"/>
                </a:lnTo>
                <a:lnTo>
                  <a:pt x="2018881" y="662931"/>
                </a:lnTo>
                <a:lnTo>
                  <a:pt x="2018881" y="807564"/>
                </a:lnTo>
                <a:lnTo>
                  <a:pt x="2122148" y="807564"/>
                </a:lnTo>
                <a:lnTo>
                  <a:pt x="2122148" y="939446"/>
                </a:lnTo>
                <a:lnTo>
                  <a:pt x="2484020" y="939446"/>
                </a:lnTo>
                <a:lnTo>
                  <a:pt x="2484020" y="744644"/>
                </a:lnTo>
                <a:lnTo>
                  <a:pt x="2549333" y="744644"/>
                </a:lnTo>
                <a:lnTo>
                  <a:pt x="2976519" y="744644"/>
                </a:lnTo>
                <a:lnTo>
                  <a:pt x="3008294" y="744644"/>
                </a:lnTo>
                <a:lnTo>
                  <a:pt x="3008294" y="879713"/>
                </a:lnTo>
                <a:lnTo>
                  <a:pt x="3356927" y="879713"/>
                </a:lnTo>
                <a:lnTo>
                  <a:pt x="3356927" y="172822"/>
                </a:lnTo>
                <a:lnTo>
                  <a:pt x="3743513" y="172822"/>
                </a:lnTo>
                <a:lnTo>
                  <a:pt x="3743513" y="606386"/>
                </a:lnTo>
                <a:lnTo>
                  <a:pt x="4305739" y="606386"/>
                </a:lnTo>
                <a:lnTo>
                  <a:pt x="4305739" y="744644"/>
                </a:lnTo>
                <a:lnTo>
                  <a:pt x="4796473" y="744644"/>
                </a:lnTo>
                <a:lnTo>
                  <a:pt x="4796473" y="907753"/>
                </a:lnTo>
                <a:lnTo>
                  <a:pt x="4966423" y="907753"/>
                </a:lnTo>
                <a:lnTo>
                  <a:pt x="4966423" y="939446"/>
                </a:lnTo>
                <a:lnTo>
                  <a:pt x="5157463" y="939446"/>
                </a:lnTo>
                <a:lnTo>
                  <a:pt x="5157463" y="483901"/>
                </a:lnTo>
                <a:lnTo>
                  <a:pt x="5264259" y="483901"/>
                </a:lnTo>
                <a:lnTo>
                  <a:pt x="5264259" y="339268"/>
                </a:lnTo>
                <a:lnTo>
                  <a:pt x="5578471" y="339268"/>
                </a:lnTo>
                <a:lnTo>
                  <a:pt x="5578471" y="483901"/>
                </a:lnTo>
                <a:lnTo>
                  <a:pt x="5679089" y="483901"/>
                </a:lnTo>
                <a:close/>
              </a:path>
            </a:pathLst>
          </a:custGeom>
          <a:solidFill>
            <a:srgbClr val="409AE1">
              <a:alpha val="4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1211264"/>
            <a:ext cx="9143936" cy="1828800"/>
          </a:xfrm>
          <a:noFill/>
        </p:spPr>
        <p:txBody>
          <a:bodyPr lIns="146304" tIns="91440" rIns="146304" bIns="91440" anchor="b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040063"/>
            <a:ext cx="9143937" cy="730183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639" y="3770246"/>
            <a:ext cx="9144000" cy="461665"/>
          </a:xfrm>
        </p:spPr>
        <p:txBody>
          <a:bodyPr/>
          <a:lstStyle>
            <a:lvl1pPr marL="0" indent="0">
              <a:buNone/>
              <a:defRPr lang="en-US" sz="2000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Optional (City, State or venue)</a:t>
            </a:r>
          </a:p>
        </p:txBody>
      </p:sp>
      <p:pic>
        <p:nvPicPr>
          <p:cNvPr id="141" name="Picture 14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  <p:grpSp>
        <p:nvGrpSpPr>
          <p:cNvPr id="142" name="Group 141"/>
          <p:cNvGrpSpPr>
            <a:grpSpLocks noChangeAspect="1"/>
          </p:cNvGrpSpPr>
          <p:nvPr userDrawn="1"/>
        </p:nvGrpSpPr>
        <p:grpSpPr bwMode="gray">
          <a:xfrm>
            <a:off x="7462446" y="3200401"/>
            <a:ext cx="4577461" cy="3539940"/>
            <a:chOff x="8496600" y="3495586"/>
            <a:chExt cx="3009906" cy="2327684"/>
          </a:xfrm>
        </p:grpSpPr>
        <p:sp>
          <p:nvSpPr>
            <p:cNvPr id="143" name="Freeform 9"/>
            <p:cNvSpPr>
              <a:spLocks/>
            </p:cNvSpPr>
            <p:nvPr/>
          </p:nvSpPr>
          <p:spPr bwMode="gray">
            <a:xfrm>
              <a:off x="8496600" y="5501008"/>
              <a:ext cx="646113" cy="82550"/>
            </a:xfrm>
            <a:custGeom>
              <a:avLst/>
              <a:gdLst>
                <a:gd name="T0" fmla="*/ 437 w 467"/>
                <a:gd name="T1" fmla="*/ 60 h 60"/>
                <a:gd name="T2" fmla="*/ 30 w 467"/>
                <a:gd name="T3" fmla="*/ 60 h 60"/>
                <a:gd name="T4" fmla="*/ 0 w 467"/>
                <a:gd name="T5" fmla="*/ 30 h 60"/>
                <a:gd name="T6" fmla="*/ 30 w 467"/>
                <a:gd name="T7" fmla="*/ 0 h 60"/>
                <a:gd name="T8" fmla="*/ 437 w 467"/>
                <a:gd name="T9" fmla="*/ 0 h 60"/>
                <a:gd name="T10" fmla="*/ 467 w 467"/>
                <a:gd name="T11" fmla="*/ 30 h 60"/>
                <a:gd name="T12" fmla="*/ 437 w 467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7" h="60">
                  <a:moveTo>
                    <a:pt x="437" y="60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13" y="60"/>
                    <a:pt x="0" y="46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37" y="0"/>
                    <a:pt x="437" y="0"/>
                    <a:pt x="437" y="0"/>
                  </a:cubicBezTo>
                  <a:cubicBezTo>
                    <a:pt x="453" y="0"/>
                    <a:pt x="467" y="13"/>
                    <a:pt x="467" y="30"/>
                  </a:cubicBezTo>
                  <a:cubicBezTo>
                    <a:pt x="467" y="46"/>
                    <a:pt x="453" y="60"/>
                    <a:pt x="437" y="6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10"/>
            <p:cNvSpPr>
              <a:spLocks/>
            </p:cNvSpPr>
            <p:nvPr/>
          </p:nvSpPr>
          <p:spPr bwMode="gray">
            <a:xfrm>
              <a:off x="10804831" y="3495586"/>
              <a:ext cx="701675" cy="371475"/>
            </a:xfrm>
            <a:custGeom>
              <a:avLst/>
              <a:gdLst>
                <a:gd name="T0" fmla="*/ 440 w 507"/>
                <a:gd name="T1" fmla="*/ 127 h 271"/>
                <a:gd name="T2" fmla="*/ 306 w 507"/>
                <a:gd name="T3" fmla="*/ 0 h 271"/>
                <a:gd name="T4" fmla="*/ 174 w 507"/>
                <a:gd name="T5" fmla="*/ 106 h 271"/>
                <a:gd name="T6" fmla="*/ 99 w 507"/>
                <a:gd name="T7" fmla="*/ 72 h 271"/>
                <a:gd name="T8" fmla="*/ 0 w 507"/>
                <a:gd name="T9" fmla="*/ 171 h 271"/>
                <a:gd name="T10" fmla="*/ 99 w 507"/>
                <a:gd name="T11" fmla="*/ 271 h 271"/>
                <a:gd name="T12" fmla="*/ 435 w 507"/>
                <a:gd name="T13" fmla="*/ 271 h 271"/>
                <a:gd name="T14" fmla="*/ 507 w 507"/>
                <a:gd name="T15" fmla="*/ 199 h 271"/>
                <a:gd name="T16" fmla="*/ 440 w 507"/>
                <a:gd name="T17" fmla="*/ 127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7" h="271">
                  <a:moveTo>
                    <a:pt x="440" y="127"/>
                  </a:moveTo>
                  <a:cubicBezTo>
                    <a:pt x="436" y="56"/>
                    <a:pt x="378" y="0"/>
                    <a:pt x="306" y="0"/>
                  </a:cubicBezTo>
                  <a:cubicBezTo>
                    <a:pt x="241" y="0"/>
                    <a:pt x="187" y="46"/>
                    <a:pt x="174" y="106"/>
                  </a:cubicBezTo>
                  <a:cubicBezTo>
                    <a:pt x="156" y="85"/>
                    <a:pt x="129" y="72"/>
                    <a:pt x="99" y="72"/>
                  </a:cubicBezTo>
                  <a:cubicBezTo>
                    <a:pt x="44" y="72"/>
                    <a:pt x="0" y="116"/>
                    <a:pt x="0" y="171"/>
                  </a:cubicBezTo>
                  <a:cubicBezTo>
                    <a:pt x="0" y="226"/>
                    <a:pt x="44" y="271"/>
                    <a:pt x="99" y="271"/>
                  </a:cubicBezTo>
                  <a:cubicBezTo>
                    <a:pt x="99" y="271"/>
                    <a:pt x="434" y="271"/>
                    <a:pt x="435" y="271"/>
                  </a:cubicBezTo>
                  <a:cubicBezTo>
                    <a:pt x="475" y="271"/>
                    <a:pt x="507" y="238"/>
                    <a:pt x="507" y="199"/>
                  </a:cubicBezTo>
                  <a:cubicBezTo>
                    <a:pt x="507" y="161"/>
                    <a:pt x="478" y="130"/>
                    <a:pt x="440" y="1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11"/>
            <p:cNvSpPr>
              <a:spLocks/>
            </p:cNvSpPr>
            <p:nvPr/>
          </p:nvSpPr>
          <p:spPr bwMode="gray">
            <a:xfrm>
              <a:off x="10001550" y="5497833"/>
              <a:ext cx="1504950" cy="82550"/>
            </a:xfrm>
            <a:custGeom>
              <a:avLst/>
              <a:gdLst>
                <a:gd name="T0" fmla="*/ 1059 w 1089"/>
                <a:gd name="T1" fmla="*/ 60 h 60"/>
                <a:gd name="T2" fmla="*/ 30 w 1089"/>
                <a:gd name="T3" fmla="*/ 60 h 60"/>
                <a:gd name="T4" fmla="*/ 0 w 1089"/>
                <a:gd name="T5" fmla="*/ 30 h 60"/>
                <a:gd name="T6" fmla="*/ 30 w 1089"/>
                <a:gd name="T7" fmla="*/ 0 h 60"/>
                <a:gd name="T8" fmla="*/ 1059 w 1089"/>
                <a:gd name="T9" fmla="*/ 0 h 60"/>
                <a:gd name="T10" fmla="*/ 1089 w 1089"/>
                <a:gd name="T11" fmla="*/ 30 h 60"/>
                <a:gd name="T12" fmla="*/ 1059 w 1089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9" h="60">
                  <a:moveTo>
                    <a:pt x="1059" y="60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14" y="60"/>
                    <a:pt x="0" y="46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1059" y="0"/>
                    <a:pt x="1059" y="0"/>
                    <a:pt x="1059" y="0"/>
                  </a:cubicBezTo>
                  <a:cubicBezTo>
                    <a:pt x="1076" y="0"/>
                    <a:pt x="1089" y="13"/>
                    <a:pt x="1089" y="30"/>
                  </a:cubicBezTo>
                  <a:cubicBezTo>
                    <a:pt x="1089" y="46"/>
                    <a:pt x="1076" y="60"/>
                    <a:pt x="1059" y="6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12"/>
            <p:cNvSpPr>
              <a:spLocks/>
            </p:cNvSpPr>
            <p:nvPr/>
          </p:nvSpPr>
          <p:spPr bwMode="gray">
            <a:xfrm>
              <a:off x="9110962" y="5713733"/>
              <a:ext cx="1012825" cy="109537"/>
            </a:xfrm>
            <a:custGeom>
              <a:avLst/>
              <a:gdLst>
                <a:gd name="T0" fmla="*/ 692 w 732"/>
                <a:gd name="T1" fmla="*/ 80 h 80"/>
                <a:gd name="T2" fmla="*/ 40 w 732"/>
                <a:gd name="T3" fmla="*/ 80 h 80"/>
                <a:gd name="T4" fmla="*/ 0 w 732"/>
                <a:gd name="T5" fmla="*/ 40 h 80"/>
                <a:gd name="T6" fmla="*/ 40 w 732"/>
                <a:gd name="T7" fmla="*/ 0 h 80"/>
                <a:gd name="T8" fmla="*/ 692 w 732"/>
                <a:gd name="T9" fmla="*/ 0 h 80"/>
                <a:gd name="T10" fmla="*/ 732 w 732"/>
                <a:gd name="T11" fmla="*/ 40 h 80"/>
                <a:gd name="T12" fmla="*/ 692 w 732"/>
                <a:gd name="T13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2" h="80">
                  <a:moveTo>
                    <a:pt x="692" y="80"/>
                  </a:moveTo>
                  <a:cubicBezTo>
                    <a:pt x="40" y="80"/>
                    <a:pt x="40" y="80"/>
                    <a:pt x="40" y="80"/>
                  </a:cubicBezTo>
                  <a:cubicBezTo>
                    <a:pt x="18" y="80"/>
                    <a:pt x="0" y="62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692" y="0"/>
                    <a:pt x="692" y="0"/>
                    <a:pt x="692" y="0"/>
                  </a:cubicBezTo>
                  <a:cubicBezTo>
                    <a:pt x="714" y="0"/>
                    <a:pt x="732" y="18"/>
                    <a:pt x="732" y="40"/>
                  </a:cubicBezTo>
                  <a:cubicBezTo>
                    <a:pt x="732" y="62"/>
                    <a:pt x="714" y="80"/>
                    <a:pt x="692" y="8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13"/>
            <p:cNvSpPr>
              <a:spLocks/>
            </p:cNvSpPr>
            <p:nvPr/>
          </p:nvSpPr>
          <p:spPr bwMode="gray">
            <a:xfrm>
              <a:off x="8910937" y="4935858"/>
              <a:ext cx="33338" cy="77787"/>
            </a:xfrm>
            <a:custGeom>
              <a:avLst/>
              <a:gdLst>
                <a:gd name="T0" fmla="*/ 0 w 21"/>
                <a:gd name="T1" fmla="*/ 0 h 49"/>
                <a:gd name="T2" fmla="*/ 1 w 21"/>
                <a:gd name="T3" fmla="*/ 10 h 49"/>
                <a:gd name="T4" fmla="*/ 0 w 21"/>
                <a:gd name="T5" fmla="*/ 49 h 49"/>
                <a:gd name="T6" fmla="*/ 12 w 21"/>
                <a:gd name="T7" fmla="*/ 49 h 49"/>
                <a:gd name="T8" fmla="*/ 21 w 21"/>
                <a:gd name="T9" fmla="*/ 11 h 49"/>
                <a:gd name="T10" fmla="*/ 21 w 21"/>
                <a:gd name="T11" fmla="*/ 0 h 49"/>
                <a:gd name="T12" fmla="*/ 0 w 21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49">
                  <a:moveTo>
                    <a:pt x="0" y="0"/>
                  </a:moveTo>
                  <a:lnTo>
                    <a:pt x="1" y="10"/>
                  </a:lnTo>
                  <a:lnTo>
                    <a:pt x="0" y="49"/>
                  </a:lnTo>
                  <a:lnTo>
                    <a:pt x="12" y="49"/>
                  </a:lnTo>
                  <a:lnTo>
                    <a:pt x="21" y="11"/>
                  </a:lnTo>
                  <a:lnTo>
                    <a:pt x="2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14"/>
            <p:cNvSpPr>
              <a:spLocks/>
            </p:cNvSpPr>
            <p:nvPr/>
          </p:nvSpPr>
          <p:spPr bwMode="gray">
            <a:xfrm>
              <a:off x="8929987" y="4935858"/>
              <a:ext cx="14288" cy="77787"/>
            </a:xfrm>
            <a:custGeom>
              <a:avLst/>
              <a:gdLst>
                <a:gd name="T0" fmla="*/ 5 w 9"/>
                <a:gd name="T1" fmla="*/ 0 h 49"/>
                <a:gd name="T2" fmla="*/ 5 w 9"/>
                <a:gd name="T3" fmla="*/ 11 h 49"/>
                <a:gd name="T4" fmla="*/ 0 w 9"/>
                <a:gd name="T5" fmla="*/ 49 h 49"/>
                <a:gd name="T6" fmla="*/ 9 w 9"/>
                <a:gd name="T7" fmla="*/ 11 h 49"/>
                <a:gd name="T8" fmla="*/ 9 w 9"/>
                <a:gd name="T9" fmla="*/ 0 h 49"/>
                <a:gd name="T10" fmla="*/ 5 w 9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49">
                  <a:moveTo>
                    <a:pt x="5" y="0"/>
                  </a:moveTo>
                  <a:lnTo>
                    <a:pt x="5" y="11"/>
                  </a:lnTo>
                  <a:lnTo>
                    <a:pt x="0" y="49"/>
                  </a:lnTo>
                  <a:lnTo>
                    <a:pt x="9" y="11"/>
                  </a:lnTo>
                  <a:lnTo>
                    <a:pt x="9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99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15"/>
            <p:cNvSpPr>
              <a:spLocks/>
            </p:cNvSpPr>
            <p:nvPr/>
          </p:nvSpPr>
          <p:spPr bwMode="gray">
            <a:xfrm>
              <a:off x="8910937" y="4935858"/>
              <a:ext cx="6350" cy="77787"/>
            </a:xfrm>
            <a:custGeom>
              <a:avLst/>
              <a:gdLst>
                <a:gd name="T0" fmla="*/ 0 w 4"/>
                <a:gd name="T1" fmla="*/ 0 h 49"/>
                <a:gd name="T2" fmla="*/ 1 w 4"/>
                <a:gd name="T3" fmla="*/ 10 h 49"/>
                <a:gd name="T4" fmla="*/ 0 w 4"/>
                <a:gd name="T5" fmla="*/ 49 h 49"/>
                <a:gd name="T6" fmla="*/ 4 w 4"/>
                <a:gd name="T7" fmla="*/ 10 h 49"/>
                <a:gd name="T8" fmla="*/ 4 w 4"/>
                <a:gd name="T9" fmla="*/ 0 h 49"/>
                <a:gd name="T10" fmla="*/ 0 w 4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9">
                  <a:moveTo>
                    <a:pt x="0" y="0"/>
                  </a:moveTo>
                  <a:lnTo>
                    <a:pt x="1" y="10"/>
                  </a:lnTo>
                  <a:lnTo>
                    <a:pt x="0" y="49"/>
                  </a:lnTo>
                  <a:lnTo>
                    <a:pt x="4" y="1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16"/>
            <p:cNvSpPr>
              <a:spLocks/>
            </p:cNvSpPr>
            <p:nvPr/>
          </p:nvSpPr>
          <p:spPr bwMode="gray">
            <a:xfrm>
              <a:off x="8912525" y="4997770"/>
              <a:ext cx="33338" cy="47625"/>
            </a:xfrm>
            <a:custGeom>
              <a:avLst/>
              <a:gdLst>
                <a:gd name="T0" fmla="*/ 0 w 24"/>
                <a:gd name="T1" fmla="*/ 0 h 34"/>
                <a:gd name="T2" fmla="*/ 0 w 24"/>
                <a:gd name="T3" fmla="*/ 34 h 34"/>
                <a:gd name="T4" fmla="*/ 22 w 24"/>
                <a:gd name="T5" fmla="*/ 34 h 34"/>
                <a:gd name="T6" fmla="*/ 24 w 24"/>
                <a:gd name="T7" fmla="*/ 32 h 34"/>
                <a:gd name="T8" fmla="*/ 24 w 24"/>
                <a:gd name="T9" fmla="*/ 27 h 34"/>
                <a:gd name="T10" fmla="*/ 22 w 24"/>
                <a:gd name="T11" fmla="*/ 24 h 34"/>
                <a:gd name="T12" fmla="*/ 15 w 24"/>
                <a:gd name="T13" fmla="*/ 16 h 34"/>
                <a:gd name="T14" fmla="*/ 15 w 24"/>
                <a:gd name="T15" fmla="*/ 0 h 34"/>
                <a:gd name="T16" fmla="*/ 0 w 24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34">
                  <a:moveTo>
                    <a:pt x="0" y="0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4" y="34"/>
                    <a:pt x="24" y="32"/>
                  </a:cubicBezTo>
                  <a:cubicBezTo>
                    <a:pt x="24" y="30"/>
                    <a:pt x="24" y="27"/>
                    <a:pt x="24" y="27"/>
                  </a:cubicBezTo>
                  <a:cubicBezTo>
                    <a:pt x="24" y="27"/>
                    <a:pt x="24" y="26"/>
                    <a:pt x="22" y="24"/>
                  </a:cubicBezTo>
                  <a:cubicBezTo>
                    <a:pt x="20" y="23"/>
                    <a:pt x="16" y="18"/>
                    <a:pt x="15" y="16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17"/>
            <p:cNvSpPr>
              <a:spLocks/>
            </p:cNvSpPr>
            <p:nvPr/>
          </p:nvSpPr>
          <p:spPr bwMode="gray">
            <a:xfrm>
              <a:off x="8912525" y="5042220"/>
              <a:ext cx="33338" cy="4762"/>
            </a:xfrm>
            <a:custGeom>
              <a:avLst/>
              <a:gdLst>
                <a:gd name="T0" fmla="*/ 24 w 24"/>
                <a:gd name="T1" fmla="*/ 0 h 4"/>
                <a:gd name="T2" fmla="*/ 24 w 24"/>
                <a:gd name="T3" fmla="*/ 2 h 4"/>
                <a:gd name="T4" fmla="*/ 22 w 24"/>
                <a:gd name="T5" fmla="*/ 4 h 4"/>
                <a:gd name="T6" fmla="*/ 0 w 24"/>
                <a:gd name="T7" fmla="*/ 4 h 4"/>
                <a:gd name="T8" fmla="*/ 0 w 24"/>
                <a:gd name="T9" fmla="*/ 2 h 4"/>
                <a:gd name="T10" fmla="*/ 22 w 24"/>
                <a:gd name="T11" fmla="*/ 2 h 4"/>
                <a:gd name="T12" fmla="*/ 24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4" y="0"/>
                  </a:moveTo>
                  <a:cubicBezTo>
                    <a:pt x="24" y="0"/>
                    <a:pt x="24" y="1"/>
                    <a:pt x="24" y="2"/>
                  </a:cubicBezTo>
                  <a:cubicBezTo>
                    <a:pt x="24" y="4"/>
                    <a:pt x="22" y="4"/>
                    <a:pt x="22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2"/>
                    <a:pt x="24" y="2"/>
                    <a:pt x="24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18"/>
            <p:cNvSpPr>
              <a:spLocks/>
            </p:cNvSpPr>
            <p:nvPr/>
          </p:nvSpPr>
          <p:spPr bwMode="gray">
            <a:xfrm>
              <a:off x="8933162" y="5019995"/>
              <a:ext cx="12700" cy="25400"/>
            </a:xfrm>
            <a:custGeom>
              <a:avLst/>
              <a:gdLst>
                <a:gd name="T0" fmla="*/ 7 w 9"/>
                <a:gd name="T1" fmla="*/ 18 h 18"/>
                <a:gd name="T2" fmla="*/ 9 w 9"/>
                <a:gd name="T3" fmla="*/ 16 h 18"/>
                <a:gd name="T4" fmla="*/ 9 w 9"/>
                <a:gd name="T5" fmla="*/ 11 h 18"/>
                <a:gd name="T6" fmla="*/ 7 w 9"/>
                <a:gd name="T7" fmla="*/ 8 h 18"/>
                <a:gd name="T8" fmla="*/ 0 w 9"/>
                <a:gd name="T9" fmla="*/ 0 h 18"/>
                <a:gd name="T10" fmla="*/ 0 w 9"/>
                <a:gd name="T11" fmla="*/ 18 h 18"/>
                <a:gd name="T12" fmla="*/ 7 w 9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8">
                  <a:moveTo>
                    <a:pt x="7" y="18"/>
                  </a:moveTo>
                  <a:cubicBezTo>
                    <a:pt x="7" y="18"/>
                    <a:pt x="9" y="18"/>
                    <a:pt x="9" y="16"/>
                  </a:cubicBezTo>
                  <a:cubicBezTo>
                    <a:pt x="9" y="14"/>
                    <a:pt x="9" y="11"/>
                    <a:pt x="9" y="11"/>
                  </a:cubicBezTo>
                  <a:cubicBezTo>
                    <a:pt x="9" y="11"/>
                    <a:pt x="9" y="10"/>
                    <a:pt x="7" y="8"/>
                  </a:cubicBezTo>
                  <a:cubicBezTo>
                    <a:pt x="5" y="7"/>
                    <a:pt x="1" y="2"/>
                    <a:pt x="0" y="0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7" y="18"/>
                  </a:lnTo>
                  <a:close/>
                </a:path>
              </a:pathLst>
            </a:custGeom>
            <a:solidFill>
              <a:srgbClr val="3131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19"/>
            <p:cNvSpPr>
              <a:spLocks/>
            </p:cNvSpPr>
            <p:nvPr/>
          </p:nvSpPr>
          <p:spPr bwMode="gray">
            <a:xfrm>
              <a:off x="8874425" y="4935858"/>
              <a:ext cx="33338" cy="77787"/>
            </a:xfrm>
            <a:custGeom>
              <a:avLst/>
              <a:gdLst>
                <a:gd name="T0" fmla="*/ 0 w 21"/>
                <a:gd name="T1" fmla="*/ 0 h 49"/>
                <a:gd name="T2" fmla="*/ 0 w 21"/>
                <a:gd name="T3" fmla="*/ 10 h 49"/>
                <a:gd name="T4" fmla="*/ 0 w 21"/>
                <a:gd name="T5" fmla="*/ 49 h 49"/>
                <a:gd name="T6" fmla="*/ 13 w 21"/>
                <a:gd name="T7" fmla="*/ 49 h 49"/>
                <a:gd name="T8" fmla="*/ 21 w 21"/>
                <a:gd name="T9" fmla="*/ 11 h 49"/>
                <a:gd name="T10" fmla="*/ 21 w 21"/>
                <a:gd name="T11" fmla="*/ 0 h 49"/>
                <a:gd name="T12" fmla="*/ 0 w 21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49">
                  <a:moveTo>
                    <a:pt x="0" y="0"/>
                  </a:moveTo>
                  <a:lnTo>
                    <a:pt x="0" y="10"/>
                  </a:lnTo>
                  <a:lnTo>
                    <a:pt x="0" y="49"/>
                  </a:lnTo>
                  <a:lnTo>
                    <a:pt x="13" y="49"/>
                  </a:lnTo>
                  <a:lnTo>
                    <a:pt x="21" y="11"/>
                  </a:lnTo>
                  <a:lnTo>
                    <a:pt x="2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20"/>
            <p:cNvSpPr>
              <a:spLocks/>
            </p:cNvSpPr>
            <p:nvPr/>
          </p:nvSpPr>
          <p:spPr bwMode="gray">
            <a:xfrm>
              <a:off x="8895062" y="4935858"/>
              <a:ext cx="12700" cy="77787"/>
            </a:xfrm>
            <a:custGeom>
              <a:avLst/>
              <a:gdLst>
                <a:gd name="T0" fmla="*/ 4 w 8"/>
                <a:gd name="T1" fmla="*/ 0 h 49"/>
                <a:gd name="T2" fmla="*/ 4 w 8"/>
                <a:gd name="T3" fmla="*/ 11 h 49"/>
                <a:gd name="T4" fmla="*/ 0 w 8"/>
                <a:gd name="T5" fmla="*/ 49 h 49"/>
                <a:gd name="T6" fmla="*/ 8 w 8"/>
                <a:gd name="T7" fmla="*/ 11 h 49"/>
                <a:gd name="T8" fmla="*/ 8 w 8"/>
                <a:gd name="T9" fmla="*/ 0 h 49"/>
                <a:gd name="T10" fmla="*/ 4 w 8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49">
                  <a:moveTo>
                    <a:pt x="4" y="0"/>
                  </a:moveTo>
                  <a:lnTo>
                    <a:pt x="4" y="11"/>
                  </a:lnTo>
                  <a:lnTo>
                    <a:pt x="0" y="49"/>
                  </a:lnTo>
                  <a:lnTo>
                    <a:pt x="8" y="11"/>
                  </a:lnTo>
                  <a:lnTo>
                    <a:pt x="8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99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21"/>
            <p:cNvSpPr>
              <a:spLocks/>
            </p:cNvSpPr>
            <p:nvPr/>
          </p:nvSpPr>
          <p:spPr bwMode="gray">
            <a:xfrm>
              <a:off x="8874425" y="4935858"/>
              <a:ext cx="6350" cy="77787"/>
            </a:xfrm>
            <a:custGeom>
              <a:avLst/>
              <a:gdLst>
                <a:gd name="T0" fmla="*/ 0 w 4"/>
                <a:gd name="T1" fmla="*/ 0 h 49"/>
                <a:gd name="T2" fmla="*/ 0 w 4"/>
                <a:gd name="T3" fmla="*/ 10 h 49"/>
                <a:gd name="T4" fmla="*/ 0 w 4"/>
                <a:gd name="T5" fmla="*/ 49 h 49"/>
                <a:gd name="T6" fmla="*/ 4 w 4"/>
                <a:gd name="T7" fmla="*/ 10 h 49"/>
                <a:gd name="T8" fmla="*/ 4 w 4"/>
                <a:gd name="T9" fmla="*/ 0 h 49"/>
                <a:gd name="T10" fmla="*/ 0 w 4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9">
                  <a:moveTo>
                    <a:pt x="0" y="0"/>
                  </a:moveTo>
                  <a:lnTo>
                    <a:pt x="0" y="10"/>
                  </a:lnTo>
                  <a:lnTo>
                    <a:pt x="0" y="49"/>
                  </a:lnTo>
                  <a:lnTo>
                    <a:pt x="4" y="1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22"/>
            <p:cNvSpPr>
              <a:spLocks/>
            </p:cNvSpPr>
            <p:nvPr/>
          </p:nvSpPr>
          <p:spPr bwMode="gray">
            <a:xfrm>
              <a:off x="8874425" y="4997770"/>
              <a:ext cx="34925" cy="47625"/>
            </a:xfrm>
            <a:custGeom>
              <a:avLst/>
              <a:gdLst>
                <a:gd name="T0" fmla="*/ 0 w 25"/>
                <a:gd name="T1" fmla="*/ 0 h 34"/>
                <a:gd name="T2" fmla="*/ 0 w 25"/>
                <a:gd name="T3" fmla="*/ 34 h 34"/>
                <a:gd name="T4" fmla="*/ 23 w 25"/>
                <a:gd name="T5" fmla="*/ 34 h 34"/>
                <a:gd name="T6" fmla="*/ 24 w 25"/>
                <a:gd name="T7" fmla="*/ 32 h 34"/>
                <a:gd name="T8" fmla="*/ 24 w 25"/>
                <a:gd name="T9" fmla="*/ 27 h 34"/>
                <a:gd name="T10" fmla="*/ 22 w 25"/>
                <a:gd name="T11" fmla="*/ 24 h 34"/>
                <a:gd name="T12" fmla="*/ 16 w 25"/>
                <a:gd name="T13" fmla="*/ 16 h 34"/>
                <a:gd name="T14" fmla="*/ 16 w 25"/>
                <a:gd name="T15" fmla="*/ 0 h 34"/>
                <a:gd name="T16" fmla="*/ 0 w 25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34">
                  <a:moveTo>
                    <a:pt x="0" y="0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23" y="34"/>
                    <a:pt x="24" y="34"/>
                    <a:pt x="24" y="32"/>
                  </a:cubicBezTo>
                  <a:cubicBezTo>
                    <a:pt x="24" y="30"/>
                    <a:pt x="24" y="27"/>
                    <a:pt x="24" y="27"/>
                  </a:cubicBezTo>
                  <a:cubicBezTo>
                    <a:pt x="24" y="27"/>
                    <a:pt x="25" y="26"/>
                    <a:pt x="22" y="24"/>
                  </a:cubicBezTo>
                  <a:cubicBezTo>
                    <a:pt x="20" y="23"/>
                    <a:pt x="16" y="18"/>
                    <a:pt x="16" y="16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23"/>
            <p:cNvSpPr>
              <a:spLocks/>
            </p:cNvSpPr>
            <p:nvPr/>
          </p:nvSpPr>
          <p:spPr bwMode="gray">
            <a:xfrm>
              <a:off x="8874425" y="5042220"/>
              <a:ext cx="33338" cy="4762"/>
            </a:xfrm>
            <a:custGeom>
              <a:avLst/>
              <a:gdLst>
                <a:gd name="T0" fmla="*/ 24 w 24"/>
                <a:gd name="T1" fmla="*/ 0 h 4"/>
                <a:gd name="T2" fmla="*/ 24 w 24"/>
                <a:gd name="T3" fmla="*/ 2 h 4"/>
                <a:gd name="T4" fmla="*/ 23 w 24"/>
                <a:gd name="T5" fmla="*/ 4 h 4"/>
                <a:gd name="T6" fmla="*/ 0 w 24"/>
                <a:gd name="T7" fmla="*/ 4 h 4"/>
                <a:gd name="T8" fmla="*/ 0 w 24"/>
                <a:gd name="T9" fmla="*/ 2 h 4"/>
                <a:gd name="T10" fmla="*/ 23 w 24"/>
                <a:gd name="T11" fmla="*/ 2 h 4"/>
                <a:gd name="T12" fmla="*/ 24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4" y="0"/>
                  </a:moveTo>
                  <a:cubicBezTo>
                    <a:pt x="24" y="0"/>
                    <a:pt x="24" y="1"/>
                    <a:pt x="24" y="2"/>
                  </a:cubicBezTo>
                  <a:cubicBezTo>
                    <a:pt x="24" y="4"/>
                    <a:pt x="23" y="4"/>
                    <a:pt x="23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3" y="2"/>
                    <a:pt x="24" y="2"/>
                    <a:pt x="24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24"/>
            <p:cNvSpPr>
              <a:spLocks/>
            </p:cNvSpPr>
            <p:nvPr/>
          </p:nvSpPr>
          <p:spPr bwMode="gray">
            <a:xfrm>
              <a:off x="8896650" y="5019995"/>
              <a:ext cx="11113" cy="25400"/>
            </a:xfrm>
            <a:custGeom>
              <a:avLst/>
              <a:gdLst>
                <a:gd name="T0" fmla="*/ 0 w 8"/>
                <a:gd name="T1" fmla="*/ 0 h 18"/>
                <a:gd name="T2" fmla="*/ 0 w 8"/>
                <a:gd name="T3" fmla="*/ 18 h 18"/>
                <a:gd name="T4" fmla="*/ 7 w 8"/>
                <a:gd name="T5" fmla="*/ 18 h 18"/>
                <a:gd name="T6" fmla="*/ 8 w 8"/>
                <a:gd name="T7" fmla="*/ 16 h 18"/>
                <a:gd name="T8" fmla="*/ 8 w 8"/>
                <a:gd name="T9" fmla="*/ 11 h 18"/>
                <a:gd name="T10" fmla="*/ 8 w 8"/>
                <a:gd name="T11" fmla="*/ 11 h 18"/>
                <a:gd name="T12" fmla="*/ 8 w 8"/>
                <a:gd name="T13" fmla="*/ 11 h 18"/>
                <a:gd name="T14" fmla="*/ 8 w 8"/>
                <a:gd name="T15" fmla="*/ 11 h 18"/>
                <a:gd name="T16" fmla="*/ 6 w 8"/>
                <a:gd name="T17" fmla="*/ 8 h 18"/>
                <a:gd name="T18" fmla="*/ 0 w 8"/>
                <a:gd name="T1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18">
                  <a:moveTo>
                    <a:pt x="0" y="0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7" y="18"/>
                    <a:pt x="8" y="18"/>
                    <a:pt x="8" y="16"/>
                  </a:cubicBezTo>
                  <a:cubicBezTo>
                    <a:pt x="8" y="14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0"/>
                    <a:pt x="8" y="9"/>
                    <a:pt x="6" y="8"/>
                  </a:cubicBezTo>
                  <a:cubicBezTo>
                    <a:pt x="4" y="7"/>
                    <a:pt x="0" y="2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25"/>
            <p:cNvSpPr>
              <a:spLocks/>
            </p:cNvSpPr>
            <p:nvPr/>
          </p:nvSpPr>
          <p:spPr bwMode="gray">
            <a:xfrm>
              <a:off x="8929987" y="4756470"/>
              <a:ext cx="9525" cy="1587"/>
            </a:xfrm>
            <a:custGeom>
              <a:avLst/>
              <a:gdLst>
                <a:gd name="T0" fmla="*/ 0 w 6"/>
                <a:gd name="T1" fmla="*/ 0 h 1"/>
                <a:gd name="T2" fmla="*/ 6 w 6"/>
                <a:gd name="T3" fmla="*/ 1 h 1"/>
                <a:gd name="T4" fmla="*/ 6 w 6"/>
                <a:gd name="T5" fmla="*/ 1 h 1"/>
                <a:gd name="T6" fmla="*/ 0 w 6"/>
                <a:gd name="T7" fmla="*/ 0 h 1"/>
                <a:gd name="T8" fmla="*/ 0 w 6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">
                  <a:moveTo>
                    <a:pt x="0" y="0"/>
                  </a:moveTo>
                  <a:lnTo>
                    <a:pt x="6" y="1"/>
                  </a:lnTo>
                  <a:lnTo>
                    <a:pt x="6" y="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BD9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26"/>
            <p:cNvSpPr>
              <a:spLocks/>
            </p:cNvSpPr>
            <p:nvPr/>
          </p:nvSpPr>
          <p:spPr bwMode="gray">
            <a:xfrm>
              <a:off x="8917287" y="4731070"/>
              <a:ext cx="0" cy="1587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F6CA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27"/>
            <p:cNvSpPr>
              <a:spLocks/>
            </p:cNvSpPr>
            <p:nvPr/>
          </p:nvSpPr>
          <p:spPr bwMode="gray">
            <a:xfrm>
              <a:off x="8899825" y="4724720"/>
              <a:ext cx="50800" cy="57150"/>
            </a:xfrm>
            <a:custGeom>
              <a:avLst/>
              <a:gdLst>
                <a:gd name="T0" fmla="*/ 33 w 36"/>
                <a:gd name="T1" fmla="*/ 16 h 42"/>
                <a:gd name="T2" fmla="*/ 28 w 36"/>
                <a:gd name="T3" fmla="*/ 7 h 42"/>
                <a:gd name="T4" fmla="*/ 27 w 36"/>
                <a:gd name="T5" fmla="*/ 5 h 42"/>
                <a:gd name="T6" fmla="*/ 27 w 36"/>
                <a:gd name="T7" fmla="*/ 5 h 42"/>
                <a:gd name="T8" fmla="*/ 17 w 36"/>
                <a:gd name="T9" fmla="*/ 4 h 42"/>
                <a:gd name="T10" fmla="*/ 13 w 36"/>
                <a:gd name="T11" fmla="*/ 0 h 42"/>
                <a:gd name="T12" fmla="*/ 13 w 36"/>
                <a:gd name="T13" fmla="*/ 0 h 42"/>
                <a:gd name="T14" fmla="*/ 13 w 36"/>
                <a:gd name="T15" fmla="*/ 5 h 42"/>
                <a:gd name="T16" fmla="*/ 13 w 36"/>
                <a:gd name="T17" fmla="*/ 6 h 42"/>
                <a:gd name="T18" fmla="*/ 13 w 36"/>
                <a:gd name="T19" fmla="*/ 11 h 42"/>
                <a:gd name="T20" fmla="*/ 14 w 36"/>
                <a:gd name="T21" fmla="*/ 14 h 42"/>
                <a:gd name="T22" fmla="*/ 11 w 36"/>
                <a:gd name="T23" fmla="*/ 14 h 42"/>
                <a:gd name="T24" fmla="*/ 6 w 36"/>
                <a:gd name="T25" fmla="*/ 11 h 42"/>
                <a:gd name="T26" fmla="*/ 3 w 36"/>
                <a:gd name="T27" fmla="*/ 12 h 42"/>
                <a:gd name="T28" fmla="*/ 4 w 36"/>
                <a:gd name="T29" fmla="*/ 17 h 42"/>
                <a:gd name="T30" fmla="*/ 5 w 36"/>
                <a:gd name="T31" fmla="*/ 20 h 42"/>
                <a:gd name="T32" fmla="*/ 6 w 36"/>
                <a:gd name="T33" fmla="*/ 22 h 42"/>
                <a:gd name="T34" fmla="*/ 6 w 36"/>
                <a:gd name="T35" fmla="*/ 22 h 42"/>
                <a:gd name="T36" fmla="*/ 6 w 36"/>
                <a:gd name="T37" fmla="*/ 22 h 42"/>
                <a:gd name="T38" fmla="*/ 2 w 36"/>
                <a:gd name="T39" fmla="*/ 31 h 42"/>
                <a:gd name="T40" fmla="*/ 0 w 36"/>
                <a:gd name="T41" fmla="*/ 30 h 42"/>
                <a:gd name="T42" fmla="*/ 2 w 36"/>
                <a:gd name="T43" fmla="*/ 41 h 42"/>
                <a:gd name="T44" fmla="*/ 19 w 36"/>
                <a:gd name="T45" fmla="*/ 42 h 42"/>
                <a:gd name="T46" fmla="*/ 18 w 36"/>
                <a:gd name="T47" fmla="*/ 36 h 42"/>
                <a:gd name="T48" fmla="*/ 23 w 36"/>
                <a:gd name="T49" fmla="*/ 37 h 42"/>
                <a:gd name="T50" fmla="*/ 28 w 36"/>
                <a:gd name="T51" fmla="*/ 34 h 42"/>
                <a:gd name="T52" fmla="*/ 29 w 36"/>
                <a:gd name="T53" fmla="*/ 29 h 42"/>
                <a:gd name="T54" fmla="*/ 29 w 36"/>
                <a:gd name="T55" fmla="*/ 24 h 42"/>
                <a:gd name="T56" fmla="*/ 30 w 36"/>
                <a:gd name="T57" fmla="*/ 20 h 42"/>
                <a:gd name="T58" fmla="*/ 33 w 36"/>
                <a:gd name="T59" fmla="*/ 1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6" h="42">
                  <a:moveTo>
                    <a:pt x="33" y="16"/>
                  </a:moveTo>
                  <a:cubicBezTo>
                    <a:pt x="33" y="16"/>
                    <a:pt x="28" y="8"/>
                    <a:pt x="28" y="7"/>
                  </a:cubicBezTo>
                  <a:cubicBezTo>
                    <a:pt x="27" y="6"/>
                    <a:pt x="27" y="5"/>
                    <a:pt x="27" y="5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3" y="6"/>
                    <a:pt x="20" y="5"/>
                    <a:pt x="17" y="4"/>
                  </a:cubicBezTo>
                  <a:cubicBezTo>
                    <a:pt x="15" y="2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13" y="9"/>
                    <a:pt x="13" y="11"/>
                  </a:cubicBezTo>
                  <a:cubicBezTo>
                    <a:pt x="14" y="12"/>
                    <a:pt x="14" y="14"/>
                    <a:pt x="14" y="14"/>
                  </a:cubicBezTo>
                  <a:cubicBezTo>
                    <a:pt x="14" y="16"/>
                    <a:pt x="11" y="14"/>
                    <a:pt x="11" y="14"/>
                  </a:cubicBezTo>
                  <a:cubicBezTo>
                    <a:pt x="11" y="14"/>
                    <a:pt x="9" y="12"/>
                    <a:pt x="6" y="11"/>
                  </a:cubicBezTo>
                  <a:cubicBezTo>
                    <a:pt x="5" y="11"/>
                    <a:pt x="4" y="11"/>
                    <a:pt x="3" y="12"/>
                  </a:cubicBezTo>
                  <a:cubicBezTo>
                    <a:pt x="3" y="13"/>
                    <a:pt x="3" y="15"/>
                    <a:pt x="4" y="17"/>
                  </a:cubicBezTo>
                  <a:cubicBezTo>
                    <a:pt x="4" y="18"/>
                    <a:pt x="4" y="20"/>
                    <a:pt x="5" y="20"/>
                  </a:cubicBezTo>
                  <a:cubicBezTo>
                    <a:pt x="5" y="21"/>
                    <a:pt x="6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6" y="28"/>
                    <a:pt x="2" y="31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20" y="37"/>
                    <a:pt x="21" y="37"/>
                    <a:pt x="23" y="37"/>
                  </a:cubicBezTo>
                  <a:cubicBezTo>
                    <a:pt x="28" y="37"/>
                    <a:pt x="28" y="34"/>
                    <a:pt x="28" y="34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6" y="19"/>
                    <a:pt x="34" y="17"/>
                    <a:pt x="33" y="16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28"/>
            <p:cNvSpPr>
              <a:spLocks/>
            </p:cNvSpPr>
            <p:nvPr/>
          </p:nvSpPr>
          <p:spPr bwMode="gray">
            <a:xfrm>
              <a:off x="8907762" y="4772345"/>
              <a:ext cx="17463" cy="4762"/>
            </a:xfrm>
            <a:custGeom>
              <a:avLst/>
              <a:gdLst>
                <a:gd name="T0" fmla="*/ 0 w 12"/>
                <a:gd name="T1" fmla="*/ 0 h 3"/>
                <a:gd name="T2" fmla="*/ 12 w 12"/>
                <a:gd name="T3" fmla="*/ 3 h 3"/>
                <a:gd name="T4" fmla="*/ 12 w 12"/>
                <a:gd name="T5" fmla="*/ 1 h 3"/>
                <a:gd name="T6" fmla="*/ 0 w 1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3">
                  <a:moveTo>
                    <a:pt x="0" y="0"/>
                  </a:moveTo>
                  <a:cubicBezTo>
                    <a:pt x="1" y="1"/>
                    <a:pt x="4" y="3"/>
                    <a:pt x="12" y="3"/>
                  </a:cubicBezTo>
                  <a:cubicBezTo>
                    <a:pt x="12" y="2"/>
                    <a:pt x="12" y="2"/>
                    <a:pt x="12" y="1"/>
                  </a:cubicBezTo>
                  <a:cubicBezTo>
                    <a:pt x="8" y="1"/>
                    <a:pt x="4" y="1"/>
                    <a:pt x="0" y="0"/>
                  </a:cubicBezTo>
                  <a:close/>
                </a:path>
              </a:pathLst>
            </a:custGeom>
            <a:solidFill>
              <a:srgbClr val="8054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9"/>
            <p:cNvSpPr>
              <a:spLocks/>
            </p:cNvSpPr>
            <p:nvPr/>
          </p:nvSpPr>
          <p:spPr bwMode="gray">
            <a:xfrm>
              <a:off x="8934750" y="4758058"/>
              <a:ext cx="4763" cy="4762"/>
            </a:xfrm>
            <a:custGeom>
              <a:avLst/>
              <a:gdLst>
                <a:gd name="T0" fmla="*/ 4 w 4"/>
                <a:gd name="T1" fmla="*/ 3 h 4"/>
                <a:gd name="T2" fmla="*/ 2 w 4"/>
                <a:gd name="T3" fmla="*/ 0 h 4"/>
                <a:gd name="T4" fmla="*/ 0 w 4"/>
                <a:gd name="T5" fmla="*/ 0 h 4"/>
                <a:gd name="T6" fmla="*/ 4 w 4"/>
                <a:gd name="T7" fmla="*/ 4 h 4"/>
                <a:gd name="T8" fmla="*/ 4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4" y="3"/>
                  </a:moveTo>
                  <a:cubicBezTo>
                    <a:pt x="3" y="2"/>
                    <a:pt x="2" y="1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2" y="2"/>
                    <a:pt x="4" y="4"/>
                  </a:cubicBezTo>
                  <a:lnTo>
                    <a:pt x="4" y="3"/>
                  </a:lnTo>
                  <a:close/>
                </a:path>
              </a:pathLst>
            </a:custGeom>
            <a:solidFill>
              <a:srgbClr val="8054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30"/>
            <p:cNvSpPr>
              <a:spLocks/>
            </p:cNvSpPr>
            <p:nvPr/>
          </p:nvSpPr>
          <p:spPr bwMode="gray">
            <a:xfrm>
              <a:off x="8937925" y="4758058"/>
              <a:ext cx="1588" cy="3175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0 h 3"/>
                <a:gd name="T4" fmla="*/ 2 w 2"/>
                <a:gd name="T5" fmla="*/ 3 h 3"/>
                <a:gd name="T6" fmla="*/ 2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2"/>
                    <a:pt x="2" y="3"/>
                  </a:cubicBezTo>
                  <a:lnTo>
                    <a:pt x="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31"/>
            <p:cNvSpPr>
              <a:spLocks/>
            </p:cNvSpPr>
            <p:nvPr/>
          </p:nvSpPr>
          <p:spPr bwMode="gray">
            <a:xfrm>
              <a:off x="8934750" y="4739008"/>
              <a:ext cx="4763" cy="3175"/>
            </a:xfrm>
            <a:custGeom>
              <a:avLst/>
              <a:gdLst>
                <a:gd name="T0" fmla="*/ 3 w 3"/>
                <a:gd name="T1" fmla="*/ 1 h 3"/>
                <a:gd name="T2" fmla="*/ 1 w 3"/>
                <a:gd name="T3" fmla="*/ 3 h 3"/>
                <a:gd name="T4" fmla="*/ 0 w 3"/>
                <a:gd name="T5" fmla="*/ 2 h 3"/>
                <a:gd name="T6" fmla="*/ 1 w 3"/>
                <a:gd name="T7" fmla="*/ 0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3" y="2"/>
                    <a:pt x="2" y="3"/>
                    <a:pt x="1" y="3"/>
                  </a:cubicBezTo>
                  <a:cubicBezTo>
                    <a:pt x="1" y="3"/>
                    <a:pt x="0" y="3"/>
                    <a:pt x="0" y="2"/>
                  </a:cubicBezTo>
                  <a:cubicBezTo>
                    <a:pt x="0" y="1"/>
                    <a:pt x="0" y="1"/>
                    <a:pt x="1" y="0"/>
                  </a:cubicBezTo>
                  <a:cubicBezTo>
                    <a:pt x="2" y="0"/>
                    <a:pt x="2" y="1"/>
                    <a:pt x="3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32"/>
            <p:cNvSpPr>
              <a:spLocks/>
            </p:cNvSpPr>
            <p:nvPr/>
          </p:nvSpPr>
          <p:spPr bwMode="gray">
            <a:xfrm>
              <a:off x="8893475" y="4772345"/>
              <a:ext cx="34925" cy="22225"/>
            </a:xfrm>
            <a:custGeom>
              <a:avLst/>
              <a:gdLst>
                <a:gd name="T0" fmla="*/ 0 w 22"/>
                <a:gd name="T1" fmla="*/ 8 h 14"/>
                <a:gd name="T2" fmla="*/ 2 w 22"/>
                <a:gd name="T3" fmla="*/ 0 h 14"/>
                <a:gd name="T4" fmla="*/ 22 w 22"/>
                <a:gd name="T5" fmla="*/ 4 h 14"/>
                <a:gd name="T6" fmla="*/ 22 w 22"/>
                <a:gd name="T7" fmla="*/ 14 h 14"/>
                <a:gd name="T8" fmla="*/ 0 w 22"/>
                <a:gd name="T9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4">
                  <a:moveTo>
                    <a:pt x="0" y="8"/>
                  </a:moveTo>
                  <a:lnTo>
                    <a:pt x="2" y="0"/>
                  </a:lnTo>
                  <a:lnTo>
                    <a:pt x="22" y="4"/>
                  </a:lnTo>
                  <a:lnTo>
                    <a:pt x="22" y="14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33"/>
            <p:cNvSpPr>
              <a:spLocks/>
            </p:cNvSpPr>
            <p:nvPr/>
          </p:nvSpPr>
          <p:spPr bwMode="gray">
            <a:xfrm>
              <a:off x="8855375" y="4777108"/>
              <a:ext cx="103188" cy="166687"/>
            </a:xfrm>
            <a:custGeom>
              <a:avLst/>
              <a:gdLst>
                <a:gd name="T0" fmla="*/ 31 w 74"/>
                <a:gd name="T1" fmla="*/ 4 h 121"/>
                <a:gd name="T2" fmla="*/ 14 w 74"/>
                <a:gd name="T3" fmla="*/ 24 h 121"/>
                <a:gd name="T4" fmla="*/ 0 w 74"/>
                <a:gd name="T5" fmla="*/ 119 h 121"/>
                <a:gd name="T6" fmla="*/ 68 w 74"/>
                <a:gd name="T7" fmla="*/ 115 h 121"/>
                <a:gd name="T8" fmla="*/ 62 w 74"/>
                <a:gd name="T9" fmla="*/ 16 h 121"/>
                <a:gd name="T10" fmla="*/ 31 w 74"/>
                <a:gd name="T11" fmla="*/ 4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121">
                  <a:moveTo>
                    <a:pt x="31" y="4"/>
                  </a:moveTo>
                  <a:cubicBezTo>
                    <a:pt x="17" y="5"/>
                    <a:pt x="14" y="22"/>
                    <a:pt x="14" y="24"/>
                  </a:cubicBezTo>
                  <a:cubicBezTo>
                    <a:pt x="13" y="49"/>
                    <a:pt x="11" y="118"/>
                    <a:pt x="0" y="119"/>
                  </a:cubicBezTo>
                  <a:cubicBezTo>
                    <a:pt x="60" y="119"/>
                    <a:pt x="62" y="121"/>
                    <a:pt x="68" y="115"/>
                  </a:cubicBezTo>
                  <a:cubicBezTo>
                    <a:pt x="74" y="109"/>
                    <a:pt x="62" y="16"/>
                    <a:pt x="62" y="16"/>
                  </a:cubicBezTo>
                  <a:cubicBezTo>
                    <a:pt x="61" y="0"/>
                    <a:pt x="48" y="3"/>
                    <a:pt x="31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34"/>
            <p:cNvSpPr>
              <a:spLocks/>
            </p:cNvSpPr>
            <p:nvPr/>
          </p:nvSpPr>
          <p:spPr bwMode="gray">
            <a:xfrm>
              <a:off x="8855375" y="4780283"/>
              <a:ext cx="69850" cy="160337"/>
            </a:xfrm>
            <a:custGeom>
              <a:avLst/>
              <a:gdLst>
                <a:gd name="T0" fmla="*/ 31 w 50"/>
                <a:gd name="T1" fmla="*/ 1 h 116"/>
                <a:gd name="T2" fmla="*/ 14 w 50"/>
                <a:gd name="T3" fmla="*/ 21 h 116"/>
                <a:gd name="T4" fmla="*/ 0 w 50"/>
                <a:gd name="T5" fmla="*/ 116 h 116"/>
                <a:gd name="T6" fmla="*/ 9 w 50"/>
                <a:gd name="T7" fmla="*/ 116 h 116"/>
                <a:gd name="T8" fmla="*/ 8 w 50"/>
                <a:gd name="T9" fmla="*/ 116 h 116"/>
                <a:gd name="T10" fmla="*/ 22 w 50"/>
                <a:gd name="T11" fmla="*/ 31 h 116"/>
                <a:gd name="T12" fmla="*/ 40 w 50"/>
                <a:gd name="T13" fmla="*/ 2 h 116"/>
                <a:gd name="T14" fmla="*/ 49 w 50"/>
                <a:gd name="T15" fmla="*/ 0 h 116"/>
                <a:gd name="T16" fmla="*/ 31 w 50"/>
                <a:gd name="T17" fmla="*/ 1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" h="116">
                  <a:moveTo>
                    <a:pt x="31" y="1"/>
                  </a:moveTo>
                  <a:cubicBezTo>
                    <a:pt x="17" y="2"/>
                    <a:pt x="14" y="19"/>
                    <a:pt x="14" y="21"/>
                  </a:cubicBezTo>
                  <a:cubicBezTo>
                    <a:pt x="13" y="46"/>
                    <a:pt x="11" y="115"/>
                    <a:pt x="0" y="116"/>
                  </a:cubicBezTo>
                  <a:cubicBezTo>
                    <a:pt x="3" y="116"/>
                    <a:pt x="6" y="116"/>
                    <a:pt x="9" y="116"/>
                  </a:cubicBezTo>
                  <a:cubicBezTo>
                    <a:pt x="8" y="116"/>
                    <a:pt x="8" y="116"/>
                    <a:pt x="8" y="116"/>
                  </a:cubicBezTo>
                  <a:cubicBezTo>
                    <a:pt x="20" y="115"/>
                    <a:pt x="21" y="55"/>
                    <a:pt x="22" y="31"/>
                  </a:cubicBezTo>
                  <a:cubicBezTo>
                    <a:pt x="22" y="29"/>
                    <a:pt x="26" y="3"/>
                    <a:pt x="40" y="2"/>
                  </a:cubicBezTo>
                  <a:cubicBezTo>
                    <a:pt x="43" y="2"/>
                    <a:pt x="50" y="1"/>
                    <a:pt x="49" y="0"/>
                  </a:cubicBezTo>
                  <a:cubicBezTo>
                    <a:pt x="44" y="0"/>
                    <a:pt x="38" y="0"/>
                    <a:pt x="31" y="1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35"/>
            <p:cNvSpPr>
              <a:spLocks/>
            </p:cNvSpPr>
            <p:nvPr/>
          </p:nvSpPr>
          <p:spPr bwMode="gray">
            <a:xfrm>
              <a:off x="8890300" y="4850133"/>
              <a:ext cx="87313" cy="55562"/>
            </a:xfrm>
            <a:custGeom>
              <a:avLst/>
              <a:gdLst>
                <a:gd name="T0" fmla="*/ 63 w 63"/>
                <a:gd name="T1" fmla="*/ 36 h 41"/>
                <a:gd name="T2" fmla="*/ 57 w 63"/>
                <a:gd name="T3" fmla="*/ 41 h 41"/>
                <a:gd name="T4" fmla="*/ 6 w 63"/>
                <a:gd name="T5" fmla="*/ 41 h 41"/>
                <a:gd name="T6" fmla="*/ 0 w 63"/>
                <a:gd name="T7" fmla="*/ 36 h 41"/>
                <a:gd name="T8" fmla="*/ 0 w 63"/>
                <a:gd name="T9" fmla="*/ 6 h 41"/>
                <a:gd name="T10" fmla="*/ 6 w 63"/>
                <a:gd name="T11" fmla="*/ 0 h 41"/>
                <a:gd name="T12" fmla="*/ 57 w 63"/>
                <a:gd name="T13" fmla="*/ 0 h 41"/>
                <a:gd name="T14" fmla="*/ 63 w 63"/>
                <a:gd name="T15" fmla="*/ 6 h 41"/>
                <a:gd name="T16" fmla="*/ 63 w 63"/>
                <a:gd name="T17" fmla="*/ 3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3" h="41">
                  <a:moveTo>
                    <a:pt x="63" y="36"/>
                  </a:moveTo>
                  <a:cubicBezTo>
                    <a:pt x="63" y="39"/>
                    <a:pt x="60" y="41"/>
                    <a:pt x="57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3" y="41"/>
                    <a:pt x="0" y="39"/>
                    <a:pt x="0" y="3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60" y="0"/>
                    <a:pt x="63" y="3"/>
                    <a:pt x="63" y="6"/>
                  </a:cubicBezTo>
                  <a:lnTo>
                    <a:pt x="63" y="36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36"/>
            <p:cNvSpPr>
              <a:spLocks/>
            </p:cNvSpPr>
            <p:nvPr/>
          </p:nvSpPr>
          <p:spPr bwMode="gray">
            <a:xfrm>
              <a:off x="8960150" y="4897758"/>
              <a:ext cx="19050" cy="20637"/>
            </a:xfrm>
            <a:custGeom>
              <a:avLst/>
              <a:gdLst>
                <a:gd name="T0" fmla="*/ 0 w 14"/>
                <a:gd name="T1" fmla="*/ 10 h 15"/>
                <a:gd name="T2" fmla="*/ 0 w 14"/>
                <a:gd name="T3" fmla="*/ 10 h 15"/>
                <a:gd name="T4" fmla="*/ 1 w 14"/>
                <a:gd name="T5" fmla="*/ 12 h 15"/>
                <a:gd name="T6" fmla="*/ 6 w 14"/>
                <a:gd name="T7" fmla="*/ 15 h 15"/>
                <a:gd name="T8" fmla="*/ 8 w 14"/>
                <a:gd name="T9" fmla="*/ 14 h 15"/>
                <a:gd name="T10" fmla="*/ 9 w 14"/>
                <a:gd name="T11" fmla="*/ 13 h 15"/>
                <a:gd name="T12" fmla="*/ 11 w 14"/>
                <a:gd name="T13" fmla="*/ 12 h 15"/>
                <a:gd name="T14" fmla="*/ 11 w 14"/>
                <a:gd name="T15" fmla="*/ 10 h 15"/>
                <a:gd name="T16" fmla="*/ 13 w 14"/>
                <a:gd name="T17" fmla="*/ 9 h 15"/>
                <a:gd name="T18" fmla="*/ 12 w 14"/>
                <a:gd name="T19" fmla="*/ 6 h 15"/>
                <a:gd name="T20" fmla="*/ 11 w 14"/>
                <a:gd name="T21" fmla="*/ 6 h 15"/>
                <a:gd name="T22" fmla="*/ 13 w 14"/>
                <a:gd name="T23" fmla="*/ 5 h 15"/>
                <a:gd name="T24" fmla="*/ 13 w 14"/>
                <a:gd name="T25" fmla="*/ 3 h 15"/>
                <a:gd name="T26" fmla="*/ 8 w 14"/>
                <a:gd name="T27" fmla="*/ 0 h 15"/>
                <a:gd name="T28" fmla="*/ 6 w 14"/>
                <a:gd name="T29" fmla="*/ 0 h 15"/>
                <a:gd name="T30" fmla="*/ 0 w 14"/>
                <a:gd name="T31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" h="15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1" y="12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5"/>
                    <a:pt x="8" y="15"/>
                    <a:pt x="8" y="14"/>
                  </a:cubicBezTo>
                  <a:cubicBezTo>
                    <a:pt x="9" y="14"/>
                    <a:pt x="9" y="13"/>
                    <a:pt x="9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1" y="11"/>
                    <a:pt x="11" y="10"/>
                    <a:pt x="11" y="10"/>
                  </a:cubicBezTo>
                  <a:cubicBezTo>
                    <a:pt x="11" y="10"/>
                    <a:pt x="12" y="10"/>
                    <a:pt x="13" y="9"/>
                  </a:cubicBezTo>
                  <a:cubicBezTo>
                    <a:pt x="13" y="8"/>
                    <a:pt x="13" y="7"/>
                    <a:pt x="1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3" y="6"/>
                    <a:pt x="13" y="5"/>
                  </a:cubicBezTo>
                  <a:cubicBezTo>
                    <a:pt x="14" y="4"/>
                    <a:pt x="14" y="3"/>
                    <a:pt x="13" y="3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2" y="2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37"/>
            <p:cNvSpPr>
              <a:spLocks/>
            </p:cNvSpPr>
            <p:nvPr/>
          </p:nvSpPr>
          <p:spPr bwMode="gray">
            <a:xfrm>
              <a:off x="8960150" y="4892995"/>
              <a:ext cx="15875" cy="6350"/>
            </a:xfrm>
            <a:custGeom>
              <a:avLst/>
              <a:gdLst>
                <a:gd name="T0" fmla="*/ 0 w 11"/>
                <a:gd name="T1" fmla="*/ 2 h 4"/>
                <a:gd name="T2" fmla="*/ 2 w 11"/>
                <a:gd name="T3" fmla="*/ 0 h 4"/>
                <a:gd name="T4" fmla="*/ 10 w 11"/>
                <a:gd name="T5" fmla="*/ 0 h 4"/>
                <a:gd name="T6" fmla="*/ 11 w 11"/>
                <a:gd name="T7" fmla="*/ 2 h 4"/>
                <a:gd name="T8" fmla="*/ 11 w 11"/>
                <a:gd name="T9" fmla="*/ 2 h 4"/>
                <a:gd name="T10" fmla="*/ 10 w 11"/>
                <a:gd name="T11" fmla="*/ 4 h 4"/>
                <a:gd name="T12" fmla="*/ 2 w 11"/>
                <a:gd name="T13" fmla="*/ 4 h 4"/>
                <a:gd name="T14" fmla="*/ 0 w 11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4"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1" y="1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0" y="4"/>
                    <a:pt x="10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38"/>
            <p:cNvSpPr>
              <a:spLocks/>
            </p:cNvSpPr>
            <p:nvPr/>
          </p:nvSpPr>
          <p:spPr bwMode="gray">
            <a:xfrm>
              <a:off x="8893475" y="4797745"/>
              <a:ext cx="77788" cy="115887"/>
            </a:xfrm>
            <a:custGeom>
              <a:avLst/>
              <a:gdLst>
                <a:gd name="T0" fmla="*/ 48 w 57"/>
                <a:gd name="T1" fmla="*/ 84 h 84"/>
                <a:gd name="T2" fmla="*/ 42 w 57"/>
                <a:gd name="T3" fmla="*/ 82 h 84"/>
                <a:gd name="T4" fmla="*/ 18 w 57"/>
                <a:gd name="T5" fmla="*/ 59 h 84"/>
                <a:gd name="T6" fmla="*/ 1 w 57"/>
                <a:gd name="T7" fmla="*/ 11 h 84"/>
                <a:gd name="T8" fmla="*/ 6 w 57"/>
                <a:gd name="T9" fmla="*/ 1 h 84"/>
                <a:gd name="T10" fmla="*/ 16 w 57"/>
                <a:gd name="T11" fmla="*/ 6 h 84"/>
                <a:gd name="T12" fmla="*/ 32 w 57"/>
                <a:gd name="T13" fmla="*/ 50 h 84"/>
                <a:gd name="T14" fmla="*/ 53 w 57"/>
                <a:gd name="T15" fmla="*/ 70 h 84"/>
                <a:gd name="T16" fmla="*/ 54 w 57"/>
                <a:gd name="T17" fmla="*/ 81 h 84"/>
                <a:gd name="T18" fmla="*/ 48 w 57"/>
                <a:gd name="T1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84">
                  <a:moveTo>
                    <a:pt x="48" y="84"/>
                  </a:moveTo>
                  <a:cubicBezTo>
                    <a:pt x="46" y="84"/>
                    <a:pt x="44" y="83"/>
                    <a:pt x="42" y="82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7"/>
                    <a:pt x="2" y="2"/>
                    <a:pt x="6" y="1"/>
                  </a:cubicBezTo>
                  <a:cubicBezTo>
                    <a:pt x="10" y="0"/>
                    <a:pt x="15" y="2"/>
                    <a:pt x="16" y="6"/>
                  </a:cubicBezTo>
                  <a:cubicBezTo>
                    <a:pt x="32" y="50"/>
                    <a:pt x="32" y="50"/>
                    <a:pt x="32" y="50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57" y="73"/>
                    <a:pt x="57" y="78"/>
                    <a:pt x="54" y="81"/>
                  </a:cubicBezTo>
                  <a:cubicBezTo>
                    <a:pt x="52" y="83"/>
                    <a:pt x="50" y="84"/>
                    <a:pt x="48" y="8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9"/>
            <p:cNvSpPr>
              <a:spLocks/>
            </p:cNvSpPr>
            <p:nvPr/>
          </p:nvSpPr>
          <p:spPr bwMode="gray">
            <a:xfrm>
              <a:off x="8893475" y="4799333"/>
              <a:ext cx="69850" cy="114300"/>
            </a:xfrm>
            <a:custGeom>
              <a:avLst/>
              <a:gdLst>
                <a:gd name="T0" fmla="*/ 48 w 51"/>
                <a:gd name="T1" fmla="*/ 76 h 82"/>
                <a:gd name="T2" fmla="*/ 23 w 51"/>
                <a:gd name="T3" fmla="*/ 53 h 82"/>
                <a:gd name="T4" fmla="*/ 5 w 51"/>
                <a:gd name="T5" fmla="*/ 2 h 82"/>
                <a:gd name="T6" fmla="*/ 4 w 51"/>
                <a:gd name="T7" fmla="*/ 0 h 82"/>
                <a:gd name="T8" fmla="*/ 1 w 51"/>
                <a:gd name="T9" fmla="*/ 9 h 82"/>
                <a:gd name="T10" fmla="*/ 18 w 51"/>
                <a:gd name="T11" fmla="*/ 57 h 82"/>
                <a:gd name="T12" fmla="*/ 42 w 51"/>
                <a:gd name="T13" fmla="*/ 80 h 82"/>
                <a:gd name="T14" fmla="*/ 48 w 51"/>
                <a:gd name="T15" fmla="*/ 82 h 82"/>
                <a:gd name="T16" fmla="*/ 51 w 51"/>
                <a:gd name="T17" fmla="*/ 81 h 82"/>
                <a:gd name="T18" fmla="*/ 48 w 51"/>
                <a:gd name="T19" fmla="*/ 76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82">
                  <a:moveTo>
                    <a:pt x="48" y="76"/>
                  </a:moveTo>
                  <a:cubicBezTo>
                    <a:pt x="23" y="53"/>
                    <a:pt x="23" y="53"/>
                    <a:pt x="23" y="53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1"/>
                    <a:pt x="5" y="1"/>
                    <a:pt x="4" y="0"/>
                  </a:cubicBezTo>
                  <a:cubicBezTo>
                    <a:pt x="1" y="2"/>
                    <a:pt x="0" y="6"/>
                    <a:pt x="1" y="9"/>
                  </a:cubicBezTo>
                  <a:cubicBezTo>
                    <a:pt x="18" y="57"/>
                    <a:pt x="18" y="57"/>
                    <a:pt x="18" y="57"/>
                  </a:cubicBezTo>
                  <a:cubicBezTo>
                    <a:pt x="42" y="80"/>
                    <a:pt x="42" y="80"/>
                    <a:pt x="42" y="80"/>
                  </a:cubicBezTo>
                  <a:cubicBezTo>
                    <a:pt x="44" y="81"/>
                    <a:pt x="46" y="82"/>
                    <a:pt x="48" y="82"/>
                  </a:cubicBezTo>
                  <a:cubicBezTo>
                    <a:pt x="49" y="82"/>
                    <a:pt x="50" y="82"/>
                    <a:pt x="51" y="81"/>
                  </a:cubicBezTo>
                  <a:cubicBezTo>
                    <a:pt x="51" y="79"/>
                    <a:pt x="50" y="78"/>
                    <a:pt x="48" y="76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40"/>
            <p:cNvSpPr>
              <a:spLocks/>
            </p:cNvSpPr>
            <p:nvPr/>
          </p:nvSpPr>
          <p:spPr bwMode="gray">
            <a:xfrm>
              <a:off x="8869662" y="4696145"/>
              <a:ext cx="73025" cy="73025"/>
            </a:xfrm>
            <a:custGeom>
              <a:avLst/>
              <a:gdLst>
                <a:gd name="T0" fmla="*/ 49 w 53"/>
                <a:gd name="T1" fmla="*/ 11 h 53"/>
                <a:gd name="T2" fmla="*/ 42 w 53"/>
                <a:gd name="T3" fmla="*/ 6 h 53"/>
                <a:gd name="T4" fmla="*/ 40 w 53"/>
                <a:gd name="T5" fmla="*/ 6 h 53"/>
                <a:gd name="T6" fmla="*/ 33 w 53"/>
                <a:gd name="T7" fmla="*/ 1 h 53"/>
                <a:gd name="T8" fmla="*/ 29 w 53"/>
                <a:gd name="T9" fmla="*/ 3 h 53"/>
                <a:gd name="T10" fmla="*/ 23 w 53"/>
                <a:gd name="T11" fmla="*/ 0 h 53"/>
                <a:gd name="T12" fmla="*/ 15 w 53"/>
                <a:gd name="T13" fmla="*/ 4 h 53"/>
                <a:gd name="T14" fmla="*/ 14 w 53"/>
                <a:gd name="T15" fmla="*/ 4 h 53"/>
                <a:gd name="T16" fmla="*/ 6 w 53"/>
                <a:gd name="T17" fmla="*/ 12 h 53"/>
                <a:gd name="T18" fmla="*/ 6 w 53"/>
                <a:gd name="T19" fmla="*/ 13 h 53"/>
                <a:gd name="T20" fmla="*/ 0 w 53"/>
                <a:gd name="T21" fmla="*/ 21 h 53"/>
                <a:gd name="T22" fmla="*/ 1 w 53"/>
                <a:gd name="T23" fmla="*/ 25 h 53"/>
                <a:gd name="T24" fmla="*/ 0 w 53"/>
                <a:gd name="T25" fmla="*/ 30 h 53"/>
                <a:gd name="T26" fmla="*/ 4 w 53"/>
                <a:gd name="T27" fmla="*/ 37 h 53"/>
                <a:gd name="T28" fmla="*/ 4 w 53"/>
                <a:gd name="T29" fmla="*/ 38 h 53"/>
                <a:gd name="T30" fmla="*/ 3 w 53"/>
                <a:gd name="T31" fmla="*/ 39 h 53"/>
                <a:gd name="T32" fmla="*/ 11 w 53"/>
                <a:gd name="T33" fmla="*/ 48 h 53"/>
                <a:gd name="T34" fmla="*/ 11 w 53"/>
                <a:gd name="T35" fmla="*/ 48 h 53"/>
                <a:gd name="T36" fmla="*/ 16 w 53"/>
                <a:gd name="T37" fmla="*/ 52 h 53"/>
                <a:gd name="T38" fmla="*/ 19 w 53"/>
                <a:gd name="T39" fmla="*/ 52 h 53"/>
                <a:gd name="T40" fmla="*/ 22 w 53"/>
                <a:gd name="T41" fmla="*/ 53 h 53"/>
                <a:gd name="T42" fmla="*/ 22 w 53"/>
                <a:gd name="T43" fmla="*/ 53 h 53"/>
                <a:gd name="T44" fmla="*/ 22 w 53"/>
                <a:gd name="T45" fmla="*/ 53 h 53"/>
                <a:gd name="T46" fmla="*/ 26 w 53"/>
                <a:gd name="T47" fmla="*/ 50 h 53"/>
                <a:gd name="T48" fmla="*/ 31 w 53"/>
                <a:gd name="T49" fmla="*/ 49 h 53"/>
                <a:gd name="T50" fmla="*/ 31 w 53"/>
                <a:gd name="T51" fmla="*/ 40 h 53"/>
                <a:gd name="T52" fmla="*/ 38 w 53"/>
                <a:gd name="T53" fmla="*/ 39 h 53"/>
                <a:gd name="T54" fmla="*/ 38 w 53"/>
                <a:gd name="T55" fmla="*/ 31 h 53"/>
                <a:gd name="T56" fmla="*/ 43 w 53"/>
                <a:gd name="T57" fmla="*/ 30 h 53"/>
                <a:gd name="T58" fmla="*/ 45 w 53"/>
                <a:gd name="T59" fmla="*/ 26 h 53"/>
                <a:gd name="T60" fmla="*/ 49 w 53"/>
                <a:gd name="T61" fmla="*/ 26 h 53"/>
                <a:gd name="T62" fmla="*/ 49 w 53"/>
                <a:gd name="T63" fmla="*/ 26 h 53"/>
                <a:gd name="T64" fmla="*/ 53 w 53"/>
                <a:gd name="T65" fmla="*/ 17 h 53"/>
                <a:gd name="T66" fmla="*/ 49 w 53"/>
                <a:gd name="T67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3" h="53">
                  <a:moveTo>
                    <a:pt x="49" y="11"/>
                  </a:moveTo>
                  <a:cubicBezTo>
                    <a:pt x="48" y="8"/>
                    <a:pt x="45" y="6"/>
                    <a:pt x="42" y="6"/>
                  </a:cubicBezTo>
                  <a:cubicBezTo>
                    <a:pt x="41" y="6"/>
                    <a:pt x="41" y="6"/>
                    <a:pt x="40" y="6"/>
                  </a:cubicBezTo>
                  <a:cubicBezTo>
                    <a:pt x="39" y="3"/>
                    <a:pt x="36" y="1"/>
                    <a:pt x="33" y="1"/>
                  </a:cubicBezTo>
                  <a:cubicBezTo>
                    <a:pt x="32" y="1"/>
                    <a:pt x="30" y="2"/>
                    <a:pt x="29" y="3"/>
                  </a:cubicBezTo>
                  <a:cubicBezTo>
                    <a:pt x="27" y="1"/>
                    <a:pt x="25" y="0"/>
                    <a:pt x="23" y="0"/>
                  </a:cubicBezTo>
                  <a:cubicBezTo>
                    <a:pt x="19" y="0"/>
                    <a:pt x="16" y="2"/>
                    <a:pt x="15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0" y="4"/>
                    <a:pt x="6" y="8"/>
                    <a:pt x="6" y="12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3" y="14"/>
                    <a:pt x="0" y="17"/>
                    <a:pt x="0" y="21"/>
                  </a:cubicBezTo>
                  <a:cubicBezTo>
                    <a:pt x="0" y="22"/>
                    <a:pt x="1" y="24"/>
                    <a:pt x="1" y="25"/>
                  </a:cubicBezTo>
                  <a:cubicBezTo>
                    <a:pt x="0" y="26"/>
                    <a:pt x="0" y="28"/>
                    <a:pt x="0" y="30"/>
                  </a:cubicBezTo>
                  <a:cubicBezTo>
                    <a:pt x="0" y="33"/>
                    <a:pt x="1" y="36"/>
                    <a:pt x="4" y="37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3" y="38"/>
                    <a:pt x="3" y="39"/>
                    <a:pt x="3" y="39"/>
                  </a:cubicBezTo>
                  <a:cubicBezTo>
                    <a:pt x="3" y="44"/>
                    <a:pt x="7" y="47"/>
                    <a:pt x="11" y="48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50"/>
                    <a:pt x="14" y="52"/>
                    <a:pt x="16" y="52"/>
                  </a:cubicBezTo>
                  <a:cubicBezTo>
                    <a:pt x="17" y="52"/>
                    <a:pt x="18" y="52"/>
                    <a:pt x="19" y="52"/>
                  </a:cubicBezTo>
                  <a:cubicBezTo>
                    <a:pt x="20" y="52"/>
                    <a:pt x="21" y="53"/>
                    <a:pt x="22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4" y="52"/>
                    <a:pt x="25" y="51"/>
                    <a:pt x="26" y="50"/>
                  </a:cubicBezTo>
                  <a:cubicBezTo>
                    <a:pt x="27" y="50"/>
                    <a:pt x="29" y="50"/>
                    <a:pt x="31" y="49"/>
                  </a:cubicBezTo>
                  <a:cubicBezTo>
                    <a:pt x="39" y="46"/>
                    <a:pt x="32" y="45"/>
                    <a:pt x="31" y="40"/>
                  </a:cubicBezTo>
                  <a:cubicBezTo>
                    <a:pt x="31" y="35"/>
                    <a:pt x="36" y="40"/>
                    <a:pt x="38" y="39"/>
                  </a:cubicBezTo>
                  <a:cubicBezTo>
                    <a:pt x="40" y="39"/>
                    <a:pt x="38" y="35"/>
                    <a:pt x="38" y="31"/>
                  </a:cubicBezTo>
                  <a:cubicBezTo>
                    <a:pt x="37" y="27"/>
                    <a:pt x="39" y="30"/>
                    <a:pt x="43" y="30"/>
                  </a:cubicBezTo>
                  <a:cubicBezTo>
                    <a:pt x="46" y="29"/>
                    <a:pt x="46" y="28"/>
                    <a:pt x="45" y="26"/>
                  </a:cubicBezTo>
                  <a:cubicBezTo>
                    <a:pt x="47" y="26"/>
                    <a:pt x="48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52" y="24"/>
                    <a:pt x="53" y="20"/>
                    <a:pt x="53" y="17"/>
                  </a:cubicBezTo>
                  <a:cubicBezTo>
                    <a:pt x="52" y="14"/>
                    <a:pt x="51" y="13"/>
                    <a:pt x="49" y="1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41"/>
            <p:cNvSpPr>
              <a:spLocks/>
            </p:cNvSpPr>
            <p:nvPr/>
          </p:nvSpPr>
          <p:spPr bwMode="gray">
            <a:xfrm>
              <a:off x="8861725" y="4683445"/>
              <a:ext cx="82550" cy="65087"/>
            </a:xfrm>
            <a:custGeom>
              <a:avLst/>
              <a:gdLst>
                <a:gd name="T0" fmla="*/ 60 w 60"/>
                <a:gd name="T1" fmla="*/ 26 h 47"/>
                <a:gd name="T2" fmla="*/ 59 w 60"/>
                <a:gd name="T3" fmla="*/ 21 h 47"/>
                <a:gd name="T4" fmla="*/ 22 w 60"/>
                <a:gd name="T5" fmla="*/ 6 h 47"/>
                <a:gd name="T6" fmla="*/ 6 w 60"/>
                <a:gd name="T7" fmla="*/ 43 h 47"/>
                <a:gd name="T8" fmla="*/ 8 w 60"/>
                <a:gd name="T9" fmla="*/ 47 h 47"/>
                <a:gd name="T10" fmla="*/ 60 w 60"/>
                <a:gd name="T11" fmla="*/ 2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47">
                  <a:moveTo>
                    <a:pt x="60" y="26"/>
                  </a:moveTo>
                  <a:cubicBezTo>
                    <a:pt x="60" y="24"/>
                    <a:pt x="59" y="23"/>
                    <a:pt x="59" y="21"/>
                  </a:cubicBezTo>
                  <a:cubicBezTo>
                    <a:pt x="53" y="7"/>
                    <a:pt x="36" y="0"/>
                    <a:pt x="22" y="6"/>
                  </a:cubicBezTo>
                  <a:cubicBezTo>
                    <a:pt x="7" y="12"/>
                    <a:pt x="0" y="29"/>
                    <a:pt x="6" y="43"/>
                  </a:cubicBezTo>
                  <a:cubicBezTo>
                    <a:pt x="7" y="44"/>
                    <a:pt x="7" y="46"/>
                    <a:pt x="8" y="47"/>
                  </a:cubicBezTo>
                  <a:lnTo>
                    <a:pt x="60" y="26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42"/>
            <p:cNvSpPr>
              <a:spLocks/>
            </p:cNvSpPr>
            <p:nvPr/>
          </p:nvSpPr>
          <p:spPr bwMode="gray">
            <a:xfrm>
              <a:off x="8885537" y="4683445"/>
              <a:ext cx="58738" cy="38100"/>
            </a:xfrm>
            <a:custGeom>
              <a:avLst/>
              <a:gdLst>
                <a:gd name="T0" fmla="*/ 34 w 42"/>
                <a:gd name="T1" fmla="*/ 24 h 28"/>
                <a:gd name="T2" fmla="*/ 35 w 42"/>
                <a:gd name="T3" fmla="*/ 28 h 28"/>
                <a:gd name="T4" fmla="*/ 42 w 42"/>
                <a:gd name="T5" fmla="*/ 26 h 28"/>
                <a:gd name="T6" fmla="*/ 41 w 42"/>
                <a:gd name="T7" fmla="*/ 21 h 28"/>
                <a:gd name="T8" fmla="*/ 4 w 42"/>
                <a:gd name="T9" fmla="*/ 6 h 28"/>
                <a:gd name="T10" fmla="*/ 0 w 42"/>
                <a:gd name="T11" fmla="*/ 8 h 28"/>
                <a:gd name="T12" fmla="*/ 34 w 42"/>
                <a:gd name="T13" fmla="*/ 2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28">
                  <a:moveTo>
                    <a:pt x="34" y="24"/>
                  </a:moveTo>
                  <a:cubicBezTo>
                    <a:pt x="34" y="26"/>
                    <a:pt x="34" y="27"/>
                    <a:pt x="35" y="28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2" y="24"/>
                    <a:pt x="41" y="23"/>
                    <a:pt x="41" y="21"/>
                  </a:cubicBezTo>
                  <a:cubicBezTo>
                    <a:pt x="35" y="7"/>
                    <a:pt x="18" y="0"/>
                    <a:pt x="4" y="6"/>
                  </a:cubicBezTo>
                  <a:cubicBezTo>
                    <a:pt x="2" y="7"/>
                    <a:pt x="1" y="7"/>
                    <a:pt x="0" y="8"/>
                  </a:cubicBezTo>
                  <a:cubicBezTo>
                    <a:pt x="14" y="4"/>
                    <a:pt x="28" y="11"/>
                    <a:pt x="34" y="24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43"/>
            <p:cNvSpPr>
              <a:spLocks/>
            </p:cNvSpPr>
            <p:nvPr/>
          </p:nvSpPr>
          <p:spPr bwMode="gray">
            <a:xfrm>
              <a:off x="8864900" y="4692970"/>
              <a:ext cx="26988" cy="55562"/>
            </a:xfrm>
            <a:custGeom>
              <a:avLst/>
              <a:gdLst>
                <a:gd name="T0" fmla="*/ 20 w 20"/>
                <a:gd name="T1" fmla="*/ 0 h 40"/>
                <a:gd name="T2" fmla="*/ 16 w 20"/>
                <a:gd name="T3" fmla="*/ 1 h 40"/>
                <a:gd name="T4" fmla="*/ 3 w 20"/>
                <a:gd name="T5" fmla="*/ 30 h 40"/>
                <a:gd name="T6" fmla="*/ 3 w 20"/>
                <a:gd name="T7" fmla="*/ 30 h 40"/>
                <a:gd name="T8" fmla="*/ 3 w 20"/>
                <a:gd name="T9" fmla="*/ 31 h 40"/>
                <a:gd name="T10" fmla="*/ 4 w 20"/>
                <a:gd name="T11" fmla="*/ 36 h 40"/>
                <a:gd name="T12" fmla="*/ 6 w 20"/>
                <a:gd name="T13" fmla="*/ 40 h 40"/>
                <a:gd name="T14" fmla="*/ 10 w 20"/>
                <a:gd name="T15" fmla="*/ 38 h 40"/>
                <a:gd name="T16" fmla="*/ 13 w 20"/>
                <a:gd name="T17" fmla="*/ 37 h 40"/>
                <a:gd name="T18" fmla="*/ 11 w 20"/>
                <a:gd name="T19" fmla="*/ 33 h 40"/>
                <a:gd name="T20" fmla="*/ 20 w 20"/>
                <a:gd name="T2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0">
                  <a:moveTo>
                    <a:pt x="20" y="0"/>
                  </a:moveTo>
                  <a:cubicBezTo>
                    <a:pt x="18" y="0"/>
                    <a:pt x="17" y="1"/>
                    <a:pt x="16" y="1"/>
                  </a:cubicBezTo>
                  <a:cubicBezTo>
                    <a:pt x="6" y="7"/>
                    <a:pt x="0" y="19"/>
                    <a:pt x="3" y="30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3" y="33"/>
                    <a:pt x="4" y="34"/>
                    <a:pt x="4" y="36"/>
                  </a:cubicBezTo>
                  <a:cubicBezTo>
                    <a:pt x="5" y="37"/>
                    <a:pt x="6" y="39"/>
                    <a:pt x="6" y="40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36"/>
                    <a:pt x="12" y="34"/>
                    <a:pt x="11" y="33"/>
                  </a:cubicBezTo>
                  <a:cubicBezTo>
                    <a:pt x="6" y="21"/>
                    <a:pt x="10" y="8"/>
                    <a:pt x="20" y="0"/>
                  </a:cubicBez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44"/>
            <p:cNvSpPr>
              <a:spLocks/>
            </p:cNvSpPr>
            <p:nvPr/>
          </p:nvSpPr>
          <p:spPr bwMode="gray">
            <a:xfrm>
              <a:off x="8864900" y="4708845"/>
              <a:ext cx="84138" cy="39687"/>
            </a:xfrm>
            <a:custGeom>
              <a:avLst/>
              <a:gdLst>
                <a:gd name="T0" fmla="*/ 58 w 61"/>
                <a:gd name="T1" fmla="*/ 0 h 29"/>
                <a:gd name="T2" fmla="*/ 1 w 61"/>
                <a:gd name="T3" fmla="*/ 23 h 29"/>
                <a:gd name="T4" fmla="*/ 1 w 61"/>
                <a:gd name="T5" fmla="*/ 27 h 29"/>
                <a:gd name="T6" fmla="*/ 3 w 61"/>
                <a:gd name="T7" fmla="*/ 29 h 29"/>
                <a:gd name="T8" fmla="*/ 61 w 61"/>
                <a:gd name="T9" fmla="*/ 5 h 29"/>
                <a:gd name="T10" fmla="*/ 61 w 61"/>
                <a:gd name="T11" fmla="*/ 2 h 29"/>
                <a:gd name="T12" fmla="*/ 58 w 61"/>
                <a:gd name="T13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29">
                  <a:moveTo>
                    <a:pt x="58" y="0"/>
                  </a:move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0" y="25"/>
                    <a:pt x="1" y="27"/>
                  </a:cubicBezTo>
                  <a:cubicBezTo>
                    <a:pt x="2" y="28"/>
                    <a:pt x="3" y="29"/>
                    <a:pt x="3" y="29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5"/>
                    <a:pt x="61" y="4"/>
                    <a:pt x="61" y="2"/>
                  </a:cubicBezTo>
                  <a:cubicBezTo>
                    <a:pt x="60" y="0"/>
                    <a:pt x="58" y="0"/>
                    <a:pt x="58" y="0"/>
                  </a:cubicBez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45"/>
            <p:cNvSpPr>
              <a:spLocks noEditPoints="1"/>
            </p:cNvSpPr>
            <p:nvPr/>
          </p:nvSpPr>
          <p:spPr bwMode="gray">
            <a:xfrm>
              <a:off x="8693450" y="5112070"/>
              <a:ext cx="246063" cy="301625"/>
            </a:xfrm>
            <a:custGeom>
              <a:avLst/>
              <a:gdLst>
                <a:gd name="T0" fmla="*/ 100 w 178"/>
                <a:gd name="T1" fmla="*/ 161 h 219"/>
                <a:gd name="T2" fmla="*/ 175 w 178"/>
                <a:gd name="T3" fmla="*/ 114 h 219"/>
                <a:gd name="T4" fmla="*/ 176 w 178"/>
                <a:gd name="T5" fmla="*/ 113 h 219"/>
                <a:gd name="T6" fmla="*/ 176 w 178"/>
                <a:gd name="T7" fmla="*/ 113 h 219"/>
                <a:gd name="T8" fmla="*/ 177 w 178"/>
                <a:gd name="T9" fmla="*/ 112 h 219"/>
                <a:gd name="T10" fmla="*/ 177 w 178"/>
                <a:gd name="T11" fmla="*/ 110 h 219"/>
                <a:gd name="T12" fmla="*/ 177 w 178"/>
                <a:gd name="T13" fmla="*/ 109 h 219"/>
                <a:gd name="T14" fmla="*/ 177 w 178"/>
                <a:gd name="T15" fmla="*/ 108 h 219"/>
                <a:gd name="T16" fmla="*/ 176 w 178"/>
                <a:gd name="T17" fmla="*/ 107 h 219"/>
                <a:gd name="T18" fmla="*/ 176 w 178"/>
                <a:gd name="T19" fmla="*/ 107 h 219"/>
                <a:gd name="T20" fmla="*/ 175 w 178"/>
                <a:gd name="T21" fmla="*/ 106 h 219"/>
                <a:gd name="T22" fmla="*/ 174 w 178"/>
                <a:gd name="T23" fmla="*/ 105 h 219"/>
                <a:gd name="T24" fmla="*/ 100 w 178"/>
                <a:gd name="T25" fmla="*/ 58 h 219"/>
                <a:gd name="T26" fmla="*/ 176 w 178"/>
                <a:gd name="T27" fmla="*/ 3 h 219"/>
                <a:gd name="T28" fmla="*/ 89 w 178"/>
                <a:gd name="T29" fmla="*/ 51 h 219"/>
                <a:gd name="T30" fmla="*/ 2 w 178"/>
                <a:gd name="T31" fmla="*/ 3 h 219"/>
                <a:gd name="T32" fmla="*/ 78 w 178"/>
                <a:gd name="T33" fmla="*/ 58 h 219"/>
                <a:gd name="T34" fmla="*/ 3 w 178"/>
                <a:gd name="T35" fmla="*/ 105 h 219"/>
                <a:gd name="T36" fmla="*/ 2 w 178"/>
                <a:gd name="T37" fmla="*/ 106 h 219"/>
                <a:gd name="T38" fmla="*/ 2 w 178"/>
                <a:gd name="T39" fmla="*/ 107 h 219"/>
                <a:gd name="T40" fmla="*/ 2 w 178"/>
                <a:gd name="T41" fmla="*/ 107 h 219"/>
                <a:gd name="T42" fmla="*/ 1 w 178"/>
                <a:gd name="T43" fmla="*/ 108 h 219"/>
                <a:gd name="T44" fmla="*/ 1 w 178"/>
                <a:gd name="T45" fmla="*/ 109 h 219"/>
                <a:gd name="T46" fmla="*/ 1 w 178"/>
                <a:gd name="T47" fmla="*/ 110 h 219"/>
                <a:gd name="T48" fmla="*/ 1 w 178"/>
                <a:gd name="T49" fmla="*/ 112 h 219"/>
                <a:gd name="T50" fmla="*/ 1 w 178"/>
                <a:gd name="T51" fmla="*/ 113 h 219"/>
                <a:gd name="T52" fmla="*/ 2 w 178"/>
                <a:gd name="T53" fmla="*/ 113 h 219"/>
                <a:gd name="T54" fmla="*/ 3 w 178"/>
                <a:gd name="T55" fmla="*/ 114 h 219"/>
                <a:gd name="T56" fmla="*/ 78 w 178"/>
                <a:gd name="T57" fmla="*/ 161 h 219"/>
                <a:gd name="T58" fmla="*/ 2 w 178"/>
                <a:gd name="T59" fmla="*/ 216 h 219"/>
                <a:gd name="T60" fmla="*/ 10 w 178"/>
                <a:gd name="T61" fmla="*/ 218 h 219"/>
                <a:gd name="T62" fmla="*/ 168 w 178"/>
                <a:gd name="T63" fmla="*/ 218 h 219"/>
                <a:gd name="T64" fmla="*/ 176 w 178"/>
                <a:gd name="T65" fmla="*/ 216 h 219"/>
                <a:gd name="T66" fmla="*/ 18 w 178"/>
                <a:gd name="T67" fmla="*/ 110 h 219"/>
                <a:gd name="T68" fmla="*/ 160 w 178"/>
                <a:gd name="T69" fmla="*/ 110 h 219"/>
                <a:gd name="T70" fmla="*/ 18 w 178"/>
                <a:gd name="T71" fmla="*/ 11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78" h="219">
                  <a:moveTo>
                    <a:pt x="174" y="208"/>
                  </a:moveTo>
                  <a:cubicBezTo>
                    <a:pt x="100" y="161"/>
                    <a:pt x="100" y="161"/>
                    <a:pt x="100" y="161"/>
                  </a:cubicBezTo>
                  <a:cubicBezTo>
                    <a:pt x="174" y="115"/>
                    <a:pt x="174" y="115"/>
                    <a:pt x="174" y="115"/>
                  </a:cubicBezTo>
                  <a:cubicBezTo>
                    <a:pt x="175" y="114"/>
                    <a:pt x="175" y="114"/>
                    <a:pt x="175" y="114"/>
                  </a:cubicBezTo>
                  <a:cubicBezTo>
                    <a:pt x="175" y="114"/>
                    <a:pt x="175" y="114"/>
                    <a:pt x="175" y="114"/>
                  </a:cubicBezTo>
                  <a:cubicBezTo>
                    <a:pt x="175" y="114"/>
                    <a:pt x="176" y="114"/>
                    <a:pt x="176" y="113"/>
                  </a:cubicBezTo>
                  <a:cubicBezTo>
                    <a:pt x="176" y="113"/>
                    <a:pt x="176" y="113"/>
                    <a:pt x="176" y="113"/>
                  </a:cubicBezTo>
                  <a:cubicBezTo>
                    <a:pt x="176" y="113"/>
                    <a:pt x="176" y="113"/>
                    <a:pt x="176" y="113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77" y="111"/>
                    <a:pt x="177" y="111"/>
                    <a:pt x="177" y="111"/>
                  </a:cubicBezTo>
                  <a:cubicBezTo>
                    <a:pt x="177" y="110"/>
                    <a:pt x="177" y="110"/>
                    <a:pt x="177" y="110"/>
                  </a:cubicBezTo>
                  <a:cubicBezTo>
                    <a:pt x="177" y="110"/>
                    <a:pt x="177" y="110"/>
                    <a:pt x="177" y="110"/>
                  </a:cubicBezTo>
                  <a:cubicBezTo>
                    <a:pt x="177" y="109"/>
                    <a:pt x="177" y="109"/>
                    <a:pt x="177" y="109"/>
                  </a:cubicBezTo>
                  <a:cubicBezTo>
                    <a:pt x="177" y="109"/>
                    <a:pt x="177" y="109"/>
                    <a:pt x="177" y="109"/>
                  </a:cubicBezTo>
                  <a:cubicBezTo>
                    <a:pt x="177" y="108"/>
                    <a:pt x="177" y="108"/>
                    <a:pt x="177" y="108"/>
                  </a:cubicBezTo>
                  <a:cubicBezTo>
                    <a:pt x="177" y="108"/>
                    <a:pt x="177" y="108"/>
                    <a:pt x="177" y="108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6"/>
                    <a:pt x="176" y="106"/>
                    <a:pt x="176" y="106"/>
                  </a:cubicBezTo>
                  <a:cubicBezTo>
                    <a:pt x="175" y="106"/>
                    <a:pt x="175" y="106"/>
                    <a:pt x="175" y="106"/>
                  </a:cubicBezTo>
                  <a:cubicBezTo>
                    <a:pt x="175" y="105"/>
                    <a:pt x="175" y="105"/>
                    <a:pt x="175" y="105"/>
                  </a:cubicBezTo>
                  <a:cubicBezTo>
                    <a:pt x="174" y="105"/>
                    <a:pt x="174" y="105"/>
                    <a:pt x="174" y="105"/>
                  </a:cubicBezTo>
                  <a:cubicBezTo>
                    <a:pt x="174" y="105"/>
                    <a:pt x="174" y="105"/>
                    <a:pt x="174" y="105"/>
                  </a:cubicBezTo>
                  <a:cubicBezTo>
                    <a:pt x="100" y="58"/>
                    <a:pt x="100" y="58"/>
                    <a:pt x="100" y="58"/>
                  </a:cubicBezTo>
                  <a:cubicBezTo>
                    <a:pt x="174" y="12"/>
                    <a:pt x="174" y="12"/>
                    <a:pt x="174" y="12"/>
                  </a:cubicBezTo>
                  <a:cubicBezTo>
                    <a:pt x="177" y="10"/>
                    <a:pt x="178" y="6"/>
                    <a:pt x="176" y="3"/>
                  </a:cubicBezTo>
                  <a:cubicBezTo>
                    <a:pt x="174" y="1"/>
                    <a:pt x="171" y="0"/>
                    <a:pt x="168" y="2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7" y="0"/>
                    <a:pt x="3" y="1"/>
                    <a:pt x="2" y="3"/>
                  </a:cubicBezTo>
                  <a:cubicBezTo>
                    <a:pt x="0" y="6"/>
                    <a:pt x="1" y="10"/>
                    <a:pt x="4" y="12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4" y="105"/>
                    <a:pt x="4" y="105"/>
                    <a:pt x="4" y="105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11"/>
                    <a:pt x="1" y="111"/>
                    <a:pt x="1" y="111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1" y="113"/>
                    <a:pt x="1" y="113"/>
                    <a:pt x="1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4"/>
                    <a:pt x="2" y="114"/>
                    <a:pt x="3" y="114"/>
                  </a:cubicBezTo>
                  <a:cubicBezTo>
                    <a:pt x="3" y="114"/>
                    <a:pt x="3" y="114"/>
                    <a:pt x="3" y="114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78" y="161"/>
                    <a:pt x="78" y="161"/>
                    <a:pt x="78" y="161"/>
                  </a:cubicBezTo>
                  <a:cubicBezTo>
                    <a:pt x="4" y="208"/>
                    <a:pt x="4" y="208"/>
                    <a:pt x="4" y="208"/>
                  </a:cubicBezTo>
                  <a:cubicBezTo>
                    <a:pt x="1" y="210"/>
                    <a:pt x="0" y="213"/>
                    <a:pt x="2" y="216"/>
                  </a:cubicBezTo>
                  <a:cubicBezTo>
                    <a:pt x="3" y="218"/>
                    <a:pt x="5" y="219"/>
                    <a:pt x="7" y="219"/>
                  </a:cubicBezTo>
                  <a:cubicBezTo>
                    <a:pt x="8" y="219"/>
                    <a:pt x="9" y="219"/>
                    <a:pt x="10" y="218"/>
                  </a:cubicBezTo>
                  <a:cubicBezTo>
                    <a:pt x="89" y="169"/>
                    <a:pt x="89" y="169"/>
                    <a:pt x="89" y="169"/>
                  </a:cubicBezTo>
                  <a:cubicBezTo>
                    <a:pt x="168" y="218"/>
                    <a:pt x="168" y="218"/>
                    <a:pt x="168" y="218"/>
                  </a:cubicBezTo>
                  <a:cubicBezTo>
                    <a:pt x="169" y="219"/>
                    <a:pt x="170" y="219"/>
                    <a:pt x="171" y="219"/>
                  </a:cubicBezTo>
                  <a:cubicBezTo>
                    <a:pt x="173" y="219"/>
                    <a:pt x="175" y="218"/>
                    <a:pt x="176" y="216"/>
                  </a:cubicBezTo>
                  <a:cubicBezTo>
                    <a:pt x="178" y="213"/>
                    <a:pt x="177" y="210"/>
                    <a:pt x="174" y="208"/>
                  </a:cubicBezTo>
                  <a:close/>
                  <a:moveTo>
                    <a:pt x="18" y="110"/>
                  </a:moveTo>
                  <a:cubicBezTo>
                    <a:pt x="89" y="65"/>
                    <a:pt x="89" y="65"/>
                    <a:pt x="89" y="65"/>
                  </a:cubicBezTo>
                  <a:cubicBezTo>
                    <a:pt x="160" y="110"/>
                    <a:pt x="160" y="110"/>
                    <a:pt x="160" y="110"/>
                  </a:cubicBezTo>
                  <a:cubicBezTo>
                    <a:pt x="89" y="154"/>
                    <a:pt x="89" y="154"/>
                    <a:pt x="89" y="154"/>
                  </a:cubicBezTo>
                  <a:lnTo>
                    <a:pt x="18" y="11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46"/>
            <p:cNvSpPr>
              <a:spLocks/>
            </p:cNvSpPr>
            <p:nvPr/>
          </p:nvSpPr>
          <p:spPr bwMode="gray">
            <a:xfrm>
              <a:off x="8642650" y="5386708"/>
              <a:ext cx="346075" cy="112712"/>
            </a:xfrm>
            <a:custGeom>
              <a:avLst/>
              <a:gdLst>
                <a:gd name="T0" fmla="*/ 250 w 250"/>
                <a:gd name="T1" fmla="*/ 72 h 81"/>
                <a:gd name="T2" fmla="*/ 241 w 250"/>
                <a:gd name="T3" fmla="*/ 81 h 81"/>
                <a:gd name="T4" fmla="*/ 9 w 250"/>
                <a:gd name="T5" fmla="*/ 81 h 81"/>
                <a:gd name="T6" fmla="*/ 0 w 250"/>
                <a:gd name="T7" fmla="*/ 72 h 81"/>
                <a:gd name="T8" fmla="*/ 0 w 250"/>
                <a:gd name="T9" fmla="*/ 9 h 81"/>
                <a:gd name="T10" fmla="*/ 9 w 250"/>
                <a:gd name="T11" fmla="*/ 0 h 81"/>
                <a:gd name="T12" fmla="*/ 241 w 250"/>
                <a:gd name="T13" fmla="*/ 0 h 81"/>
                <a:gd name="T14" fmla="*/ 250 w 250"/>
                <a:gd name="T15" fmla="*/ 9 h 81"/>
                <a:gd name="T16" fmla="*/ 250 w 250"/>
                <a:gd name="T17" fmla="*/ 7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81">
                  <a:moveTo>
                    <a:pt x="250" y="72"/>
                  </a:moveTo>
                  <a:cubicBezTo>
                    <a:pt x="250" y="77"/>
                    <a:pt x="246" y="81"/>
                    <a:pt x="241" y="81"/>
                  </a:cubicBezTo>
                  <a:cubicBezTo>
                    <a:pt x="9" y="81"/>
                    <a:pt x="9" y="81"/>
                    <a:pt x="9" y="81"/>
                  </a:cubicBezTo>
                  <a:cubicBezTo>
                    <a:pt x="4" y="81"/>
                    <a:pt x="0" y="77"/>
                    <a:pt x="0" y="72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lnTo>
                    <a:pt x="250" y="7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47"/>
            <p:cNvSpPr>
              <a:spLocks/>
            </p:cNvSpPr>
            <p:nvPr/>
          </p:nvSpPr>
          <p:spPr bwMode="gray">
            <a:xfrm>
              <a:off x="8642650" y="5405758"/>
              <a:ext cx="327025" cy="93662"/>
            </a:xfrm>
            <a:custGeom>
              <a:avLst/>
              <a:gdLst>
                <a:gd name="T0" fmla="*/ 22 w 236"/>
                <a:gd name="T1" fmla="*/ 55 h 68"/>
                <a:gd name="T2" fmla="*/ 14 w 236"/>
                <a:gd name="T3" fmla="*/ 46 h 68"/>
                <a:gd name="T4" fmla="*/ 14 w 236"/>
                <a:gd name="T5" fmla="*/ 0 h 68"/>
                <a:gd name="T6" fmla="*/ 0 w 236"/>
                <a:gd name="T7" fmla="*/ 0 h 68"/>
                <a:gd name="T8" fmla="*/ 0 w 236"/>
                <a:gd name="T9" fmla="*/ 59 h 68"/>
                <a:gd name="T10" fmla="*/ 9 w 236"/>
                <a:gd name="T11" fmla="*/ 68 h 68"/>
                <a:gd name="T12" fmla="*/ 236 w 236"/>
                <a:gd name="T13" fmla="*/ 68 h 68"/>
                <a:gd name="T14" fmla="*/ 236 w 236"/>
                <a:gd name="T15" fmla="*/ 55 h 68"/>
                <a:gd name="T16" fmla="*/ 22 w 236"/>
                <a:gd name="T17" fmla="*/ 55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6" h="68">
                  <a:moveTo>
                    <a:pt x="22" y="55"/>
                  </a:moveTo>
                  <a:cubicBezTo>
                    <a:pt x="17" y="55"/>
                    <a:pt x="14" y="51"/>
                    <a:pt x="14" y="46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64"/>
                    <a:pt x="4" y="68"/>
                    <a:pt x="9" y="68"/>
                  </a:cubicBezTo>
                  <a:cubicBezTo>
                    <a:pt x="236" y="68"/>
                    <a:pt x="236" y="68"/>
                    <a:pt x="236" y="68"/>
                  </a:cubicBezTo>
                  <a:cubicBezTo>
                    <a:pt x="236" y="55"/>
                    <a:pt x="236" y="55"/>
                    <a:pt x="236" y="55"/>
                  </a:cubicBezTo>
                  <a:lnTo>
                    <a:pt x="22" y="55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48"/>
            <p:cNvSpPr>
              <a:spLocks/>
            </p:cNvSpPr>
            <p:nvPr/>
          </p:nvSpPr>
          <p:spPr bwMode="gray">
            <a:xfrm>
              <a:off x="8642650" y="5386708"/>
              <a:ext cx="346075" cy="112712"/>
            </a:xfrm>
            <a:custGeom>
              <a:avLst/>
              <a:gdLst>
                <a:gd name="T0" fmla="*/ 241 w 250"/>
                <a:gd name="T1" fmla="*/ 81 h 81"/>
                <a:gd name="T2" fmla="*/ 236 w 250"/>
                <a:gd name="T3" fmla="*/ 81 h 81"/>
                <a:gd name="T4" fmla="*/ 236 w 250"/>
                <a:gd name="T5" fmla="*/ 22 h 81"/>
                <a:gd name="T6" fmla="*/ 228 w 250"/>
                <a:gd name="T7" fmla="*/ 13 h 81"/>
                <a:gd name="T8" fmla="*/ 0 w 250"/>
                <a:gd name="T9" fmla="*/ 13 h 81"/>
                <a:gd name="T10" fmla="*/ 0 w 250"/>
                <a:gd name="T11" fmla="*/ 9 h 81"/>
                <a:gd name="T12" fmla="*/ 9 w 250"/>
                <a:gd name="T13" fmla="*/ 0 h 81"/>
                <a:gd name="T14" fmla="*/ 241 w 250"/>
                <a:gd name="T15" fmla="*/ 0 h 81"/>
                <a:gd name="T16" fmla="*/ 250 w 250"/>
                <a:gd name="T17" fmla="*/ 9 h 81"/>
                <a:gd name="T18" fmla="*/ 250 w 250"/>
                <a:gd name="T19" fmla="*/ 72 h 81"/>
                <a:gd name="T20" fmla="*/ 241 w 250"/>
                <a:gd name="T21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" h="81">
                  <a:moveTo>
                    <a:pt x="241" y="81"/>
                  </a:moveTo>
                  <a:cubicBezTo>
                    <a:pt x="236" y="81"/>
                    <a:pt x="236" y="81"/>
                    <a:pt x="236" y="81"/>
                  </a:cubicBezTo>
                  <a:cubicBezTo>
                    <a:pt x="236" y="22"/>
                    <a:pt x="236" y="22"/>
                    <a:pt x="236" y="22"/>
                  </a:cubicBezTo>
                  <a:cubicBezTo>
                    <a:pt x="236" y="17"/>
                    <a:pt x="232" y="13"/>
                    <a:pt x="228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cubicBezTo>
                    <a:pt x="250" y="72"/>
                    <a:pt x="250" y="72"/>
                    <a:pt x="250" y="72"/>
                  </a:cubicBezTo>
                  <a:cubicBezTo>
                    <a:pt x="250" y="77"/>
                    <a:pt x="246" y="81"/>
                    <a:pt x="241" y="8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Oval 49"/>
            <p:cNvSpPr>
              <a:spLocks noChangeArrowheads="1"/>
            </p:cNvSpPr>
            <p:nvPr/>
          </p:nvSpPr>
          <p:spPr bwMode="gray">
            <a:xfrm>
              <a:off x="8674400" y="5454970"/>
              <a:ext cx="87313" cy="873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Oval 50"/>
            <p:cNvSpPr>
              <a:spLocks noChangeArrowheads="1"/>
            </p:cNvSpPr>
            <p:nvPr/>
          </p:nvSpPr>
          <p:spPr bwMode="gray">
            <a:xfrm>
              <a:off x="8693450" y="5474020"/>
              <a:ext cx="49213" cy="49212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Freeform 51"/>
            <p:cNvSpPr>
              <a:spLocks/>
            </p:cNvSpPr>
            <p:nvPr/>
          </p:nvSpPr>
          <p:spPr bwMode="gray">
            <a:xfrm>
              <a:off x="8693450" y="5480370"/>
              <a:ext cx="42863" cy="42862"/>
            </a:xfrm>
            <a:custGeom>
              <a:avLst/>
              <a:gdLst>
                <a:gd name="T0" fmla="*/ 18 w 31"/>
                <a:gd name="T1" fmla="*/ 31 h 31"/>
                <a:gd name="T2" fmla="*/ 31 w 31"/>
                <a:gd name="T3" fmla="*/ 26 h 31"/>
                <a:gd name="T4" fmla="*/ 6 w 31"/>
                <a:gd name="T5" fmla="*/ 0 h 31"/>
                <a:gd name="T6" fmla="*/ 0 w 31"/>
                <a:gd name="T7" fmla="*/ 13 h 31"/>
                <a:gd name="T8" fmla="*/ 18 w 31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18" y="31"/>
                  </a:moveTo>
                  <a:cubicBezTo>
                    <a:pt x="23" y="31"/>
                    <a:pt x="28" y="29"/>
                    <a:pt x="31" y="2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4"/>
                    <a:pt x="0" y="8"/>
                    <a:pt x="0" y="13"/>
                  </a:cubicBezTo>
                  <a:cubicBezTo>
                    <a:pt x="0" y="23"/>
                    <a:pt x="8" y="31"/>
                    <a:pt x="18" y="3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Oval 52"/>
            <p:cNvSpPr>
              <a:spLocks noChangeArrowheads="1"/>
            </p:cNvSpPr>
            <p:nvPr/>
          </p:nvSpPr>
          <p:spPr bwMode="gray">
            <a:xfrm>
              <a:off x="8869662" y="5454970"/>
              <a:ext cx="87313" cy="873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Oval 53"/>
            <p:cNvSpPr>
              <a:spLocks noChangeArrowheads="1"/>
            </p:cNvSpPr>
            <p:nvPr/>
          </p:nvSpPr>
          <p:spPr bwMode="gray">
            <a:xfrm>
              <a:off x="8887125" y="5474020"/>
              <a:ext cx="50800" cy="49212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54"/>
            <p:cNvSpPr>
              <a:spLocks/>
            </p:cNvSpPr>
            <p:nvPr/>
          </p:nvSpPr>
          <p:spPr bwMode="gray">
            <a:xfrm>
              <a:off x="8887125" y="5480370"/>
              <a:ext cx="42863" cy="42862"/>
            </a:xfrm>
            <a:custGeom>
              <a:avLst/>
              <a:gdLst>
                <a:gd name="T0" fmla="*/ 18 w 31"/>
                <a:gd name="T1" fmla="*/ 31 h 31"/>
                <a:gd name="T2" fmla="*/ 31 w 31"/>
                <a:gd name="T3" fmla="*/ 26 h 31"/>
                <a:gd name="T4" fmla="*/ 6 w 31"/>
                <a:gd name="T5" fmla="*/ 0 h 31"/>
                <a:gd name="T6" fmla="*/ 0 w 31"/>
                <a:gd name="T7" fmla="*/ 13 h 31"/>
                <a:gd name="T8" fmla="*/ 18 w 31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18" y="31"/>
                  </a:moveTo>
                  <a:cubicBezTo>
                    <a:pt x="23" y="31"/>
                    <a:pt x="28" y="29"/>
                    <a:pt x="31" y="2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4"/>
                    <a:pt x="0" y="8"/>
                    <a:pt x="0" y="13"/>
                  </a:cubicBezTo>
                  <a:cubicBezTo>
                    <a:pt x="0" y="23"/>
                    <a:pt x="8" y="31"/>
                    <a:pt x="18" y="3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55"/>
            <p:cNvSpPr>
              <a:spLocks noEditPoints="1"/>
            </p:cNvSpPr>
            <p:nvPr/>
          </p:nvSpPr>
          <p:spPr bwMode="gray">
            <a:xfrm>
              <a:off x="8631537" y="4907283"/>
              <a:ext cx="368300" cy="223837"/>
            </a:xfrm>
            <a:custGeom>
              <a:avLst/>
              <a:gdLst>
                <a:gd name="T0" fmla="*/ 258 w 266"/>
                <a:gd name="T1" fmla="*/ 0 h 163"/>
                <a:gd name="T2" fmla="*/ 8 w 266"/>
                <a:gd name="T3" fmla="*/ 0 h 163"/>
                <a:gd name="T4" fmla="*/ 0 w 266"/>
                <a:gd name="T5" fmla="*/ 8 h 163"/>
                <a:gd name="T6" fmla="*/ 8 w 266"/>
                <a:gd name="T7" fmla="*/ 16 h 163"/>
                <a:gd name="T8" fmla="*/ 23 w 266"/>
                <a:gd name="T9" fmla="*/ 16 h 163"/>
                <a:gd name="T10" fmla="*/ 23 w 266"/>
                <a:gd name="T11" fmla="*/ 102 h 163"/>
                <a:gd name="T12" fmla="*/ 17 w 266"/>
                <a:gd name="T13" fmla="*/ 102 h 163"/>
                <a:gd name="T14" fmla="*/ 8 w 266"/>
                <a:gd name="T15" fmla="*/ 111 h 163"/>
                <a:gd name="T16" fmla="*/ 8 w 266"/>
                <a:gd name="T17" fmla="*/ 155 h 163"/>
                <a:gd name="T18" fmla="*/ 17 w 266"/>
                <a:gd name="T19" fmla="*/ 163 h 163"/>
                <a:gd name="T20" fmla="*/ 249 w 266"/>
                <a:gd name="T21" fmla="*/ 163 h 163"/>
                <a:gd name="T22" fmla="*/ 258 w 266"/>
                <a:gd name="T23" fmla="*/ 155 h 163"/>
                <a:gd name="T24" fmla="*/ 258 w 266"/>
                <a:gd name="T25" fmla="*/ 111 h 163"/>
                <a:gd name="T26" fmla="*/ 249 w 266"/>
                <a:gd name="T27" fmla="*/ 102 h 163"/>
                <a:gd name="T28" fmla="*/ 243 w 266"/>
                <a:gd name="T29" fmla="*/ 102 h 163"/>
                <a:gd name="T30" fmla="*/ 243 w 266"/>
                <a:gd name="T31" fmla="*/ 16 h 163"/>
                <a:gd name="T32" fmla="*/ 258 w 266"/>
                <a:gd name="T33" fmla="*/ 16 h 163"/>
                <a:gd name="T34" fmla="*/ 266 w 266"/>
                <a:gd name="T35" fmla="*/ 8 h 163"/>
                <a:gd name="T36" fmla="*/ 258 w 266"/>
                <a:gd name="T37" fmla="*/ 0 h 163"/>
                <a:gd name="T38" fmla="*/ 189 w 266"/>
                <a:gd name="T39" fmla="*/ 16 h 163"/>
                <a:gd name="T40" fmla="*/ 189 w 266"/>
                <a:gd name="T41" fmla="*/ 102 h 163"/>
                <a:gd name="T42" fmla="*/ 160 w 266"/>
                <a:gd name="T43" fmla="*/ 102 h 163"/>
                <a:gd name="T44" fmla="*/ 160 w 266"/>
                <a:gd name="T45" fmla="*/ 16 h 163"/>
                <a:gd name="T46" fmla="*/ 189 w 266"/>
                <a:gd name="T47" fmla="*/ 16 h 163"/>
                <a:gd name="T48" fmla="*/ 148 w 266"/>
                <a:gd name="T49" fmla="*/ 16 h 163"/>
                <a:gd name="T50" fmla="*/ 148 w 266"/>
                <a:gd name="T51" fmla="*/ 102 h 163"/>
                <a:gd name="T52" fmla="*/ 118 w 266"/>
                <a:gd name="T53" fmla="*/ 102 h 163"/>
                <a:gd name="T54" fmla="*/ 118 w 266"/>
                <a:gd name="T55" fmla="*/ 16 h 163"/>
                <a:gd name="T56" fmla="*/ 148 w 266"/>
                <a:gd name="T57" fmla="*/ 16 h 163"/>
                <a:gd name="T58" fmla="*/ 106 w 266"/>
                <a:gd name="T59" fmla="*/ 16 h 163"/>
                <a:gd name="T60" fmla="*/ 106 w 266"/>
                <a:gd name="T61" fmla="*/ 102 h 163"/>
                <a:gd name="T62" fmla="*/ 77 w 266"/>
                <a:gd name="T63" fmla="*/ 102 h 163"/>
                <a:gd name="T64" fmla="*/ 77 w 266"/>
                <a:gd name="T65" fmla="*/ 16 h 163"/>
                <a:gd name="T66" fmla="*/ 106 w 266"/>
                <a:gd name="T67" fmla="*/ 16 h 163"/>
                <a:gd name="T68" fmla="*/ 35 w 266"/>
                <a:gd name="T69" fmla="*/ 16 h 163"/>
                <a:gd name="T70" fmla="*/ 65 w 266"/>
                <a:gd name="T71" fmla="*/ 16 h 163"/>
                <a:gd name="T72" fmla="*/ 65 w 266"/>
                <a:gd name="T73" fmla="*/ 102 h 163"/>
                <a:gd name="T74" fmla="*/ 35 w 266"/>
                <a:gd name="T75" fmla="*/ 102 h 163"/>
                <a:gd name="T76" fmla="*/ 35 w 266"/>
                <a:gd name="T77" fmla="*/ 16 h 163"/>
                <a:gd name="T78" fmla="*/ 201 w 266"/>
                <a:gd name="T79" fmla="*/ 102 h 163"/>
                <a:gd name="T80" fmla="*/ 201 w 266"/>
                <a:gd name="T81" fmla="*/ 16 h 163"/>
                <a:gd name="T82" fmla="*/ 231 w 266"/>
                <a:gd name="T83" fmla="*/ 16 h 163"/>
                <a:gd name="T84" fmla="*/ 231 w 266"/>
                <a:gd name="T85" fmla="*/ 102 h 163"/>
                <a:gd name="T86" fmla="*/ 201 w 266"/>
                <a:gd name="T87" fmla="*/ 102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66" h="163">
                  <a:moveTo>
                    <a:pt x="25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3"/>
                    <a:pt x="4" y="16"/>
                    <a:pt x="8" y="16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3" y="102"/>
                    <a:pt x="23" y="102"/>
                    <a:pt x="23" y="102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2" y="102"/>
                    <a:pt x="8" y="106"/>
                    <a:pt x="8" y="111"/>
                  </a:cubicBezTo>
                  <a:cubicBezTo>
                    <a:pt x="8" y="155"/>
                    <a:pt x="8" y="155"/>
                    <a:pt x="8" y="155"/>
                  </a:cubicBezTo>
                  <a:cubicBezTo>
                    <a:pt x="8" y="160"/>
                    <a:pt x="12" y="163"/>
                    <a:pt x="17" y="163"/>
                  </a:cubicBezTo>
                  <a:cubicBezTo>
                    <a:pt x="249" y="163"/>
                    <a:pt x="249" y="163"/>
                    <a:pt x="249" y="163"/>
                  </a:cubicBezTo>
                  <a:cubicBezTo>
                    <a:pt x="254" y="163"/>
                    <a:pt x="258" y="160"/>
                    <a:pt x="258" y="155"/>
                  </a:cubicBezTo>
                  <a:cubicBezTo>
                    <a:pt x="258" y="111"/>
                    <a:pt x="258" y="111"/>
                    <a:pt x="258" y="111"/>
                  </a:cubicBezTo>
                  <a:cubicBezTo>
                    <a:pt x="258" y="106"/>
                    <a:pt x="254" y="102"/>
                    <a:pt x="249" y="102"/>
                  </a:cubicBezTo>
                  <a:cubicBezTo>
                    <a:pt x="243" y="102"/>
                    <a:pt x="243" y="102"/>
                    <a:pt x="243" y="102"/>
                  </a:cubicBezTo>
                  <a:cubicBezTo>
                    <a:pt x="243" y="16"/>
                    <a:pt x="243" y="16"/>
                    <a:pt x="243" y="16"/>
                  </a:cubicBezTo>
                  <a:cubicBezTo>
                    <a:pt x="258" y="16"/>
                    <a:pt x="258" y="16"/>
                    <a:pt x="258" y="16"/>
                  </a:cubicBezTo>
                  <a:cubicBezTo>
                    <a:pt x="262" y="16"/>
                    <a:pt x="266" y="13"/>
                    <a:pt x="266" y="8"/>
                  </a:cubicBezTo>
                  <a:cubicBezTo>
                    <a:pt x="266" y="4"/>
                    <a:pt x="262" y="0"/>
                    <a:pt x="258" y="0"/>
                  </a:cubicBezTo>
                  <a:close/>
                  <a:moveTo>
                    <a:pt x="189" y="16"/>
                  </a:moveTo>
                  <a:cubicBezTo>
                    <a:pt x="189" y="102"/>
                    <a:pt x="189" y="102"/>
                    <a:pt x="189" y="102"/>
                  </a:cubicBezTo>
                  <a:cubicBezTo>
                    <a:pt x="160" y="102"/>
                    <a:pt x="160" y="102"/>
                    <a:pt x="160" y="102"/>
                  </a:cubicBezTo>
                  <a:cubicBezTo>
                    <a:pt x="160" y="16"/>
                    <a:pt x="160" y="16"/>
                    <a:pt x="160" y="16"/>
                  </a:cubicBezTo>
                  <a:lnTo>
                    <a:pt x="189" y="16"/>
                  </a:lnTo>
                  <a:close/>
                  <a:moveTo>
                    <a:pt x="148" y="16"/>
                  </a:moveTo>
                  <a:cubicBezTo>
                    <a:pt x="148" y="102"/>
                    <a:pt x="148" y="102"/>
                    <a:pt x="148" y="102"/>
                  </a:cubicBezTo>
                  <a:cubicBezTo>
                    <a:pt x="118" y="102"/>
                    <a:pt x="118" y="102"/>
                    <a:pt x="118" y="102"/>
                  </a:cubicBezTo>
                  <a:cubicBezTo>
                    <a:pt x="118" y="16"/>
                    <a:pt x="118" y="16"/>
                    <a:pt x="118" y="16"/>
                  </a:cubicBezTo>
                  <a:lnTo>
                    <a:pt x="148" y="16"/>
                  </a:lnTo>
                  <a:close/>
                  <a:moveTo>
                    <a:pt x="106" y="16"/>
                  </a:moveTo>
                  <a:cubicBezTo>
                    <a:pt x="106" y="102"/>
                    <a:pt x="106" y="102"/>
                    <a:pt x="106" y="102"/>
                  </a:cubicBezTo>
                  <a:cubicBezTo>
                    <a:pt x="77" y="102"/>
                    <a:pt x="77" y="102"/>
                    <a:pt x="77" y="102"/>
                  </a:cubicBezTo>
                  <a:cubicBezTo>
                    <a:pt x="77" y="16"/>
                    <a:pt x="77" y="16"/>
                    <a:pt x="77" y="16"/>
                  </a:cubicBezTo>
                  <a:lnTo>
                    <a:pt x="106" y="16"/>
                  </a:lnTo>
                  <a:close/>
                  <a:moveTo>
                    <a:pt x="35" y="16"/>
                  </a:moveTo>
                  <a:cubicBezTo>
                    <a:pt x="65" y="16"/>
                    <a:pt x="65" y="16"/>
                    <a:pt x="65" y="16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35" y="102"/>
                    <a:pt x="35" y="102"/>
                    <a:pt x="35" y="102"/>
                  </a:cubicBezTo>
                  <a:lnTo>
                    <a:pt x="35" y="16"/>
                  </a:lnTo>
                  <a:close/>
                  <a:moveTo>
                    <a:pt x="201" y="102"/>
                  </a:moveTo>
                  <a:cubicBezTo>
                    <a:pt x="201" y="16"/>
                    <a:pt x="201" y="16"/>
                    <a:pt x="201" y="16"/>
                  </a:cubicBezTo>
                  <a:cubicBezTo>
                    <a:pt x="231" y="16"/>
                    <a:pt x="231" y="16"/>
                    <a:pt x="231" y="16"/>
                  </a:cubicBezTo>
                  <a:cubicBezTo>
                    <a:pt x="231" y="102"/>
                    <a:pt x="231" y="102"/>
                    <a:pt x="231" y="102"/>
                  </a:cubicBezTo>
                  <a:lnTo>
                    <a:pt x="201" y="10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56"/>
            <p:cNvSpPr>
              <a:spLocks/>
            </p:cNvSpPr>
            <p:nvPr/>
          </p:nvSpPr>
          <p:spPr bwMode="gray">
            <a:xfrm>
              <a:off x="8642650" y="5067620"/>
              <a:ext cx="327025" cy="63500"/>
            </a:xfrm>
            <a:custGeom>
              <a:avLst/>
              <a:gdLst>
                <a:gd name="T0" fmla="*/ 22 w 236"/>
                <a:gd name="T1" fmla="*/ 34 h 47"/>
                <a:gd name="T2" fmla="*/ 14 w 236"/>
                <a:gd name="T3" fmla="*/ 25 h 47"/>
                <a:gd name="T4" fmla="*/ 14 w 236"/>
                <a:gd name="T5" fmla="*/ 0 h 47"/>
                <a:gd name="T6" fmla="*/ 0 w 236"/>
                <a:gd name="T7" fmla="*/ 0 h 47"/>
                <a:gd name="T8" fmla="*/ 0 w 236"/>
                <a:gd name="T9" fmla="*/ 39 h 47"/>
                <a:gd name="T10" fmla="*/ 9 w 236"/>
                <a:gd name="T11" fmla="*/ 47 h 47"/>
                <a:gd name="T12" fmla="*/ 236 w 236"/>
                <a:gd name="T13" fmla="*/ 47 h 47"/>
                <a:gd name="T14" fmla="*/ 236 w 236"/>
                <a:gd name="T15" fmla="*/ 34 h 47"/>
                <a:gd name="T16" fmla="*/ 22 w 236"/>
                <a:gd name="T17" fmla="*/ 34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6" h="47">
                  <a:moveTo>
                    <a:pt x="22" y="34"/>
                  </a:moveTo>
                  <a:cubicBezTo>
                    <a:pt x="17" y="34"/>
                    <a:pt x="14" y="30"/>
                    <a:pt x="14" y="2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4"/>
                    <a:pt x="4" y="47"/>
                    <a:pt x="9" y="47"/>
                  </a:cubicBezTo>
                  <a:cubicBezTo>
                    <a:pt x="236" y="47"/>
                    <a:pt x="236" y="47"/>
                    <a:pt x="236" y="47"/>
                  </a:cubicBezTo>
                  <a:cubicBezTo>
                    <a:pt x="236" y="34"/>
                    <a:pt x="236" y="34"/>
                    <a:pt x="236" y="34"/>
                  </a:cubicBezTo>
                  <a:lnTo>
                    <a:pt x="22" y="34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57"/>
            <p:cNvSpPr>
              <a:spLocks/>
            </p:cNvSpPr>
            <p:nvPr/>
          </p:nvSpPr>
          <p:spPr bwMode="gray">
            <a:xfrm>
              <a:off x="8642650" y="5046983"/>
              <a:ext cx="346075" cy="84137"/>
            </a:xfrm>
            <a:custGeom>
              <a:avLst/>
              <a:gdLst>
                <a:gd name="T0" fmla="*/ 241 w 250"/>
                <a:gd name="T1" fmla="*/ 61 h 61"/>
                <a:gd name="T2" fmla="*/ 236 w 250"/>
                <a:gd name="T3" fmla="*/ 61 h 61"/>
                <a:gd name="T4" fmla="*/ 236 w 250"/>
                <a:gd name="T5" fmla="*/ 22 h 61"/>
                <a:gd name="T6" fmla="*/ 228 w 250"/>
                <a:gd name="T7" fmla="*/ 14 h 61"/>
                <a:gd name="T8" fmla="*/ 0 w 250"/>
                <a:gd name="T9" fmla="*/ 14 h 61"/>
                <a:gd name="T10" fmla="*/ 0 w 250"/>
                <a:gd name="T11" fmla="*/ 9 h 61"/>
                <a:gd name="T12" fmla="*/ 9 w 250"/>
                <a:gd name="T13" fmla="*/ 0 h 61"/>
                <a:gd name="T14" fmla="*/ 241 w 250"/>
                <a:gd name="T15" fmla="*/ 0 h 61"/>
                <a:gd name="T16" fmla="*/ 250 w 250"/>
                <a:gd name="T17" fmla="*/ 9 h 61"/>
                <a:gd name="T18" fmla="*/ 250 w 250"/>
                <a:gd name="T19" fmla="*/ 53 h 61"/>
                <a:gd name="T20" fmla="*/ 241 w 250"/>
                <a:gd name="T2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" h="61">
                  <a:moveTo>
                    <a:pt x="241" y="61"/>
                  </a:moveTo>
                  <a:cubicBezTo>
                    <a:pt x="236" y="61"/>
                    <a:pt x="236" y="61"/>
                    <a:pt x="236" y="61"/>
                  </a:cubicBezTo>
                  <a:cubicBezTo>
                    <a:pt x="236" y="22"/>
                    <a:pt x="236" y="22"/>
                    <a:pt x="236" y="22"/>
                  </a:cubicBezTo>
                  <a:cubicBezTo>
                    <a:pt x="236" y="18"/>
                    <a:pt x="232" y="14"/>
                    <a:pt x="228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cubicBezTo>
                    <a:pt x="250" y="53"/>
                    <a:pt x="250" y="53"/>
                    <a:pt x="250" y="53"/>
                  </a:cubicBezTo>
                  <a:cubicBezTo>
                    <a:pt x="250" y="58"/>
                    <a:pt x="246" y="61"/>
                    <a:pt x="241" y="6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58"/>
            <p:cNvSpPr>
              <a:spLocks/>
            </p:cNvSpPr>
            <p:nvPr/>
          </p:nvSpPr>
          <p:spPr bwMode="gray">
            <a:xfrm>
              <a:off x="10792125" y="4919983"/>
              <a:ext cx="61913" cy="311150"/>
            </a:xfrm>
            <a:custGeom>
              <a:avLst/>
              <a:gdLst>
                <a:gd name="T0" fmla="*/ 39 w 45"/>
                <a:gd name="T1" fmla="*/ 180 h 226"/>
                <a:gd name="T2" fmla="*/ 33 w 45"/>
                <a:gd name="T3" fmla="*/ 180 h 226"/>
                <a:gd name="T4" fmla="*/ 33 w 45"/>
                <a:gd name="T5" fmla="*/ 0 h 226"/>
                <a:gd name="T6" fmla="*/ 12 w 45"/>
                <a:gd name="T7" fmla="*/ 0 h 226"/>
                <a:gd name="T8" fmla="*/ 12 w 45"/>
                <a:gd name="T9" fmla="*/ 180 h 226"/>
                <a:gd name="T10" fmla="*/ 5 w 45"/>
                <a:gd name="T11" fmla="*/ 180 h 226"/>
                <a:gd name="T12" fmla="*/ 0 w 45"/>
                <a:gd name="T13" fmla="*/ 186 h 226"/>
                <a:gd name="T14" fmla="*/ 0 w 45"/>
                <a:gd name="T15" fmla="*/ 226 h 226"/>
                <a:gd name="T16" fmla="*/ 45 w 45"/>
                <a:gd name="T17" fmla="*/ 226 h 226"/>
                <a:gd name="T18" fmla="*/ 45 w 45"/>
                <a:gd name="T19" fmla="*/ 186 h 226"/>
                <a:gd name="T20" fmla="*/ 39 w 45"/>
                <a:gd name="T21" fmla="*/ 18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" h="226">
                  <a:moveTo>
                    <a:pt x="39" y="180"/>
                  </a:moveTo>
                  <a:cubicBezTo>
                    <a:pt x="33" y="180"/>
                    <a:pt x="33" y="180"/>
                    <a:pt x="33" y="18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80"/>
                    <a:pt x="12" y="180"/>
                    <a:pt x="12" y="180"/>
                  </a:cubicBezTo>
                  <a:cubicBezTo>
                    <a:pt x="5" y="180"/>
                    <a:pt x="5" y="180"/>
                    <a:pt x="5" y="180"/>
                  </a:cubicBezTo>
                  <a:cubicBezTo>
                    <a:pt x="2" y="180"/>
                    <a:pt x="0" y="182"/>
                    <a:pt x="0" y="186"/>
                  </a:cubicBezTo>
                  <a:cubicBezTo>
                    <a:pt x="0" y="226"/>
                    <a:pt x="0" y="226"/>
                    <a:pt x="0" y="226"/>
                  </a:cubicBezTo>
                  <a:cubicBezTo>
                    <a:pt x="45" y="226"/>
                    <a:pt x="45" y="226"/>
                    <a:pt x="45" y="226"/>
                  </a:cubicBezTo>
                  <a:cubicBezTo>
                    <a:pt x="45" y="186"/>
                    <a:pt x="45" y="186"/>
                    <a:pt x="45" y="186"/>
                  </a:cubicBezTo>
                  <a:cubicBezTo>
                    <a:pt x="45" y="182"/>
                    <a:pt x="42" y="180"/>
                    <a:pt x="39" y="180"/>
                  </a:cubicBezTo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9"/>
            <p:cNvSpPr>
              <a:spLocks/>
            </p:cNvSpPr>
            <p:nvPr/>
          </p:nvSpPr>
          <p:spPr bwMode="gray">
            <a:xfrm>
              <a:off x="10827050" y="4919983"/>
              <a:ext cx="26988" cy="311150"/>
            </a:xfrm>
            <a:custGeom>
              <a:avLst/>
              <a:gdLst>
                <a:gd name="T0" fmla="*/ 14 w 20"/>
                <a:gd name="T1" fmla="*/ 180 h 226"/>
                <a:gd name="T2" fmla="*/ 8 w 20"/>
                <a:gd name="T3" fmla="*/ 180 h 226"/>
                <a:gd name="T4" fmla="*/ 8 w 20"/>
                <a:gd name="T5" fmla="*/ 0 h 226"/>
                <a:gd name="T6" fmla="*/ 0 w 20"/>
                <a:gd name="T7" fmla="*/ 0 h 226"/>
                <a:gd name="T8" fmla="*/ 0 w 20"/>
                <a:gd name="T9" fmla="*/ 180 h 226"/>
                <a:gd name="T10" fmla="*/ 6 w 20"/>
                <a:gd name="T11" fmla="*/ 180 h 226"/>
                <a:gd name="T12" fmla="*/ 12 w 20"/>
                <a:gd name="T13" fmla="*/ 186 h 226"/>
                <a:gd name="T14" fmla="*/ 12 w 20"/>
                <a:gd name="T15" fmla="*/ 226 h 226"/>
                <a:gd name="T16" fmla="*/ 20 w 20"/>
                <a:gd name="T17" fmla="*/ 226 h 226"/>
                <a:gd name="T18" fmla="*/ 20 w 20"/>
                <a:gd name="T19" fmla="*/ 186 h 226"/>
                <a:gd name="T20" fmla="*/ 14 w 20"/>
                <a:gd name="T21" fmla="*/ 18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26">
                  <a:moveTo>
                    <a:pt x="14" y="180"/>
                  </a:moveTo>
                  <a:cubicBezTo>
                    <a:pt x="8" y="180"/>
                    <a:pt x="8" y="180"/>
                    <a:pt x="8" y="18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6" y="180"/>
                    <a:pt x="6" y="180"/>
                    <a:pt x="6" y="180"/>
                  </a:cubicBezTo>
                  <a:cubicBezTo>
                    <a:pt x="9" y="180"/>
                    <a:pt x="12" y="182"/>
                    <a:pt x="12" y="186"/>
                  </a:cubicBezTo>
                  <a:cubicBezTo>
                    <a:pt x="12" y="226"/>
                    <a:pt x="12" y="226"/>
                    <a:pt x="12" y="226"/>
                  </a:cubicBezTo>
                  <a:cubicBezTo>
                    <a:pt x="20" y="226"/>
                    <a:pt x="20" y="226"/>
                    <a:pt x="20" y="226"/>
                  </a:cubicBezTo>
                  <a:cubicBezTo>
                    <a:pt x="20" y="186"/>
                    <a:pt x="20" y="186"/>
                    <a:pt x="20" y="186"/>
                  </a:cubicBezTo>
                  <a:cubicBezTo>
                    <a:pt x="20" y="182"/>
                    <a:pt x="17" y="180"/>
                    <a:pt x="14" y="180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60"/>
            <p:cNvSpPr>
              <a:spLocks/>
            </p:cNvSpPr>
            <p:nvPr/>
          </p:nvSpPr>
          <p:spPr bwMode="gray">
            <a:xfrm>
              <a:off x="10792125" y="4919983"/>
              <a:ext cx="25400" cy="311150"/>
            </a:xfrm>
            <a:custGeom>
              <a:avLst/>
              <a:gdLst>
                <a:gd name="T0" fmla="*/ 19 w 19"/>
                <a:gd name="T1" fmla="*/ 0 h 226"/>
                <a:gd name="T2" fmla="*/ 12 w 19"/>
                <a:gd name="T3" fmla="*/ 0 h 226"/>
                <a:gd name="T4" fmla="*/ 12 w 19"/>
                <a:gd name="T5" fmla="*/ 180 h 226"/>
                <a:gd name="T6" fmla="*/ 5 w 19"/>
                <a:gd name="T7" fmla="*/ 180 h 226"/>
                <a:gd name="T8" fmla="*/ 0 w 19"/>
                <a:gd name="T9" fmla="*/ 186 h 226"/>
                <a:gd name="T10" fmla="*/ 0 w 19"/>
                <a:gd name="T11" fmla="*/ 226 h 226"/>
                <a:gd name="T12" fmla="*/ 7 w 19"/>
                <a:gd name="T13" fmla="*/ 226 h 226"/>
                <a:gd name="T14" fmla="*/ 7 w 19"/>
                <a:gd name="T15" fmla="*/ 186 h 226"/>
                <a:gd name="T16" fmla="*/ 13 w 19"/>
                <a:gd name="T17" fmla="*/ 180 h 226"/>
                <a:gd name="T18" fmla="*/ 19 w 19"/>
                <a:gd name="T19" fmla="*/ 180 h 226"/>
                <a:gd name="T20" fmla="*/ 19 w 19"/>
                <a:gd name="T21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226">
                  <a:moveTo>
                    <a:pt x="19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180"/>
                    <a:pt x="12" y="180"/>
                    <a:pt x="12" y="180"/>
                  </a:cubicBezTo>
                  <a:cubicBezTo>
                    <a:pt x="5" y="180"/>
                    <a:pt x="5" y="180"/>
                    <a:pt x="5" y="180"/>
                  </a:cubicBezTo>
                  <a:cubicBezTo>
                    <a:pt x="2" y="180"/>
                    <a:pt x="0" y="182"/>
                    <a:pt x="0" y="186"/>
                  </a:cubicBezTo>
                  <a:cubicBezTo>
                    <a:pt x="0" y="226"/>
                    <a:pt x="0" y="226"/>
                    <a:pt x="0" y="226"/>
                  </a:cubicBezTo>
                  <a:cubicBezTo>
                    <a:pt x="7" y="226"/>
                    <a:pt x="7" y="226"/>
                    <a:pt x="7" y="226"/>
                  </a:cubicBezTo>
                  <a:cubicBezTo>
                    <a:pt x="7" y="186"/>
                    <a:pt x="7" y="186"/>
                    <a:pt x="7" y="186"/>
                  </a:cubicBezTo>
                  <a:cubicBezTo>
                    <a:pt x="7" y="182"/>
                    <a:pt x="10" y="180"/>
                    <a:pt x="13" y="180"/>
                  </a:cubicBezTo>
                  <a:cubicBezTo>
                    <a:pt x="19" y="180"/>
                    <a:pt x="19" y="180"/>
                    <a:pt x="19" y="180"/>
                  </a:cubicBezTo>
                  <a:cubicBezTo>
                    <a:pt x="19" y="0"/>
                    <a:pt x="19" y="0"/>
                    <a:pt x="19" y="0"/>
                  </a:cubicBezTo>
                </a:path>
              </a:pathLst>
            </a:custGeom>
            <a:solidFill>
              <a:srgbClr val="FFC7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61"/>
            <p:cNvSpPr>
              <a:spLocks/>
            </p:cNvSpPr>
            <p:nvPr/>
          </p:nvSpPr>
          <p:spPr bwMode="gray">
            <a:xfrm>
              <a:off x="10068225" y="4172270"/>
              <a:ext cx="242888" cy="239712"/>
            </a:xfrm>
            <a:custGeom>
              <a:avLst/>
              <a:gdLst>
                <a:gd name="T0" fmla="*/ 153 w 153"/>
                <a:gd name="T1" fmla="*/ 98 h 151"/>
                <a:gd name="T2" fmla="*/ 100 w 153"/>
                <a:gd name="T3" fmla="*/ 151 h 151"/>
                <a:gd name="T4" fmla="*/ 0 w 153"/>
                <a:gd name="T5" fmla="*/ 52 h 151"/>
                <a:gd name="T6" fmla="*/ 53 w 153"/>
                <a:gd name="T7" fmla="*/ 0 h 151"/>
                <a:gd name="T8" fmla="*/ 153 w 153"/>
                <a:gd name="T9" fmla="*/ 98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151">
                  <a:moveTo>
                    <a:pt x="153" y="98"/>
                  </a:moveTo>
                  <a:lnTo>
                    <a:pt x="100" y="151"/>
                  </a:lnTo>
                  <a:lnTo>
                    <a:pt x="0" y="52"/>
                  </a:lnTo>
                  <a:lnTo>
                    <a:pt x="53" y="0"/>
                  </a:lnTo>
                  <a:lnTo>
                    <a:pt x="153" y="98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62"/>
            <p:cNvSpPr>
              <a:spLocks/>
            </p:cNvSpPr>
            <p:nvPr/>
          </p:nvSpPr>
          <p:spPr bwMode="gray">
            <a:xfrm>
              <a:off x="9560225" y="3665858"/>
              <a:ext cx="579438" cy="576262"/>
            </a:xfrm>
            <a:custGeom>
              <a:avLst/>
              <a:gdLst>
                <a:gd name="T0" fmla="*/ 415 w 419"/>
                <a:gd name="T1" fmla="*/ 379 h 419"/>
                <a:gd name="T2" fmla="*/ 415 w 419"/>
                <a:gd name="T3" fmla="*/ 392 h 419"/>
                <a:gd name="T4" fmla="*/ 392 w 419"/>
                <a:gd name="T5" fmla="*/ 415 h 419"/>
                <a:gd name="T6" fmla="*/ 380 w 419"/>
                <a:gd name="T7" fmla="*/ 415 h 419"/>
                <a:gd name="T8" fmla="*/ 3 w 419"/>
                <a:gd name="T9" fmla="*/ 39 h 419"/>
                <a:gd name="T10" fmla="*/ 3 w 419"/>
                <a:gd name="T11" fmla="*/ 27 h 419"/>
                <a:gd name="T12" fmla="*/ 27 w 419"/>
                <a:gd name="T13" fmla="*/ 3 h 419"/>
                <a:gd name="T14" fmla="*/ 39 w 419"/>
                <a:gd name="T15" fmla="*/ 3 h 419"/>
                <a:gd name="T16" fmla="*/ 415 w 419"/>
                <a:gd name="T17" fmla="*/ 37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9" h="419">
                  <a:moveTo>
                    <a:pt x="415" y="379"/>
                  </a:moveTo>
                  <a:cubicBezTo>
                    <a:pt x="419" y="383"/>
                    <a:pt x="419" y="388"/>
                    <a:pt x="415" y="392"/>
                  </a:cubicBezTo>
                  <a:cubicBezTo>
                    <a:pt x="392" y="415"/>
                    <a:pt x="392" y="415"/>
                    <a:pt x="392" y="415"/>
                  </a:cubicBezTo>
                  <a:cubicBezTo>
                    <a:pt x="388" y="419"/>
                    <a:pt x="383" y="419"/>
                    <a:pt x="380" y="415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0" y="35"/>
                    <a:pt x="0" y="30"/>
                    <a:pt x="3" y="27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30" y="0"/>
                    <a:pt x="36" y="0"/>
                    <a:pt x="39" y="3"/>
                  </a:cubicBezTo>
                  <a:lnTo>
                    <a:pt x="415" y="37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63"/>
            <p:cNvSpPr>
              <a:spLocks/>
            </p:cNvSpPr>
            <p:nvPr/>
          </p:nvSpPr>
          <p:spPr bwMode="gray">
            <a:xfrm>
              <a:off x="10185700" y="4288158"/>
              <a:ext cx="1066800" cy="1058862"/>
            </a:xfrm>
            <a:custGeom>
              <a:avLst/>
              <a:gdLst>
                <a:gd name="T0" fmla="*/ 672 w 672"/>
                <a:gd name="T1" fmla="*/ 594 h 667"/>
                <a:gd name="T2" fmla="*/ 597 w 672"/>
                <a:gd name="T3" fmla="*/ 667 h 667"/>
                <a:gd name="T4" fmla="*/ 0 w 672"/>
                <a:gd name="T5" fmla="*/ 74 h 667"/>
                <a:gd name="T6" fmla="*/ 74 w 672"/>
                <a:gd name="T7" fmla="*/ 0 h 667"/>
                <a:gd name="T8" fmla="*/ 672 w 672"/>
                <a:gd name="T9" fmla="*/ 594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2" h="667">
                  <a:moveTo>
                    <a:pt x="672" y="594"/>
                  </a:moveTo>
                  <a:lnTo>
                    <a:pt x="597" y="667"/>
                  </a:lnTo>
                  <a:lnTo>
                    <a:pt x="0" y="74"/>
                  </a:lnTo>
                  <a:lnTo>
                    <a:pt x="74" y="0"/>
                  </a:lnTo>
                  <a:lnTo>
                    <a:pt x="672" y="594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64"/>
            <p:cNvSpPr>
              <a:spLocks/>
            </p:cNvSpPr>
            <p:nvPr/>
          </p:nvSpPr>
          <p:spPr bwMode="gray">
            <a:xfrm>
              <a:off x="10055525" y="4159570"/>
              <a:ext cx="109538" cy="106362"/>
            </a:xfrm>
            <a:custGeom>
              <a:avLst/>
              <a:gdLst>
                <a:gd name="T0" fmla="*/ 9 w 79"/>
                <a:gd name="T1" fmla="*/ 77 h 77"/>
                <a:gd name="T2" fmla="*/ 4 w 79"/>
                <a:gd name="T3" fmla="*/ 75 h 77"/>
                <a:gd name="T4" fmla="*/ 4 w 79"/>
                <a:gd name="T5" fmla="*/ 64 h 77"/>
                <a:gd name="T6" fmla="*/ 64 w 79"/>
                <a:gd name="T7" fmla="*/ 3 h 77"/>
                <a:gd name="T8" fmla="*/ 75 w 79"/>
                <a:gd name="T9" fmla="*/ 3 h 77"/>
                <a:gd name="T10" fmla="*/ 75 w 79"/>
                <a:gd name="T11" fmla="*/ 15 h 77"/>
                <a:gd name="T12" fmla="*/ 15 w 79"/>
                <a:gd name="T13" fmla="*/ 75 h 77"/>
                <a:gd name="T14" fmla="*/ 9 w 79"/>
                <a:gd name="T1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9" h="77">
                  <a:moveTo>
                    <a:pt x="9" y="77"/>
                  </a:moveTo>
                  <a:cubicBezTo>
                    <a:pt x="7" y="77"/>
                    <a:pt x="5" y="77"/>
                    <a:pt x="4" y="75"/>
                  </a:cubicBezTo>
                  <a:cubicBezTo>
                    <a:pt x="0" y="72"/>
                    <a:pt x="0" y="67"/>
                    <a:pt x="4" y="64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7" y="0"/>
                    <a:pt x="72" y="0"/>
                    <a:pt x="75" y="3"/>
                  </a:cubicBezTo>
                  <a:cubicBezTo>
                    <a:pt x="79" y="6"/>
                    <a:pt x="79" y="12"/>
                    <a:pt x="75" y="15"/>
                  </a:cubicBezTo>
                  <a:cubicBezTo>
                    <a:pt x="15" y="75"/>
                    <a:pt x="15" y="75"/>
                    <a:pt x="15" y="75"/>
                  </a:cubicBezTo>
                  <a:cubicBezTo>
                    <a:pt x="13" y="77"/>
                    <a:pt x="11" y="77"/>
                    <a:pt x="9" y="77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65"/>
            <p:cNvSpPr>
              <a:spLocks/>
            </p:cNvSpPr>
            <p:nvPr/>
          </p:nvSpPr>
          <p:spPr bwMode="gray">
            <a:xfrm>
              <a:off x="9787237" y="3891283"/>
              <a:ext cx="79375" cy="77787"/>
            </a:xfrm>
            <a:custGeom>
              <a:avLst/>
              <a:gdLst>
                <a:gd name="T0" fmla="*/ 9 w 58"/>
                <a:gd name="T1" fmla="*/ 57 h 57"/>
                <a:gd name="T2" fmla="*/ 3 w 58"/>
                <a:gd name="T3" fmla="*/ 55 h 57"/>
                <a:gd name="T4" fmla="*/ 3 w 58"/>
                <a:gd name="T5" fmla="*/ 44 h 57"/>
                <a:gd name="T6" fmla="*/ 44 w 58"/>
                <a:gd name="T7" fmla="*/ 3 h 57"/>
                <a:gd name="T8" fmla="*/ 55 w 58"/>
                <a:gd name="T9" fmla="*/ 3 h 57"/>
                <a:gd name="T10" fmla="*/ 55 w 58"/>
                <a:gd name="T11" fmla="*/ 14 h 57"/>
                <a:gd name="T12" fmla="*/ 15 w 58"/>
                <a:gd name="T13" fmla="*/ 55 h 57"/>
                <a:gd name="T14" fmla="*/ 9 w 58"/>
                <a:gd name="T15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57">
                  <a:moveTo>
                    <a:pt x="9" y="57"/>
                  </a:moveTo>
                  <a:cubicBezTo>
                    <a:pt x="7" y="57"/>
                    <a:pt x="5" y="56"/>
                    <a:pt x="3" y="55"/>
                  </a:cubicBezTo>
                  <a:cubicBezTo>
                    <a:pt x="0" y="52"/>
                    <a:pt x="0" y="47"/>
                    <a:pt x="3" y="44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7" y="0"/>
                    <a:pt x="52" y="0"/>
                    <a:pt x="55" y="3"/>
                  </a:cubicBezTo>
                  <a:cubicBezTo>
                    <a:pt x="58" y="6"/>
                    <a:pt x="58" y="11"/>
                    <a:pt x="55" y="14"/>
                  </a:cubicBezTo>
                  <a:cubicBezTo>
                    <a:pt x="15" y="55"/>
                    <a:pt x="15" y="55"/>
                    <a:pt x="15" y="55"/>
                  </a:cubicBezTo>
                  <a:cubicBezTo>
                    <a:pt x="13" y="56"/>
                    <a:pt x="11" y="57"/>
                    <a:pt x="9" y="57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66"/>
            <p:cNvSpPr>
              <a:spLocks/>
            </p:cNvSpPr>
            <p:nvPr/>
          </p:nvSpPr>
          <p:spPr bwMode="gray">
            <a:xfrm>
              <a:off x="10168237" y="4270695"/>
              <a:ext cx="153988" cy="150812"/>
            </a:xfrm>
            <a:custGeom>
              <a:avLst/>
              <a:gdLst>
                <a:gd name="T0" fmla="*/ 9 w 111"/>
                <a:gd name="T1" fmla="*/ 110 h 110"/>
                <a:gd name="T2" fmla="*/ 3 w 111"/>
                <a:gd name="T3" fmla="*/ 108 h 110"/>
                <a:gd name="T4" fmla="*/ 3 w 111"/>
                <a:gd name="T5" fmla="*/ 96 h 110"/>
                <a:gd name="T6" fmla="*/ 96 w 111"/>
                <a:gd name="T7" fmla="*/ 3 h 110"/>
                <a:gd name="T8" fmla="*/ 108 w 111"/>
                <a:gd name="T9" fmla="*/ 3 h 110"/>
                <a:gd name="T10" fmla="*/ 108 w 111"/>
                <a:gd name="T11" fmla="*/ 15 h 110"/>
                <a:gd name="T12" fmla="*/ 15 w 111"/>
                <a:gd name="T13" fmla="*/ 108 h 110"/>
                <a:gd name="T14" fmla="*/ 9 w 111"/>
                <a:gd name="T15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1" h="110">
                  <a:moveTo>
                    <a:pt x="9" y="110"/>
                  </a:moveTo>
                  <a:cubicBezTo>
                    <a:pt x="7" y="110"/>
                    <a:pt x="5" y="109"/>
                    <a:pt x="3" y="108"/>
                  </a:cubicBezTo>
                  <a:cubicBezTo>
                    <a:pt x="0" y="104"/>
                    <a:pt x="0" y="99"/>
                    <a:pt x="3" y="96"/>
                  </a:cubicBezTo>
                  <a:cubicBezTo>
                    <a:pt x="96" y="3"/>
                    <a:pt x="96" y="3"/>
                    <a:pt x="96" y="3"/>
                  </a:cubicBezTo>
                  <a:cubicBezTo>
                    <a:pt x="100" y="0"/>
                    <a:pt x="105" y="0"/>
                    <a:pt x="108" y="3"/>
                  </a:cubicBezTo>
                  <a:cubicBezTo>
                    <a:pt x="111" y="6"/>
                    <a:pt x="111" y="11"/>
                    <a:pt x="108" y="15"/>
                  </a:cubicBezTo>
                  <a:cubicBezTo>
                    <a:pt x="15" y="108"/>
                    <a:pt x="15" y="108"/>
                    <a:pt x="15" y="108"/>
                  </a:cubicBezTo>
                  <a:cubicBezTo>
                    <a:pt x="13" y="109"/>
                    <a:pt x="11" y="110"/>
                    <a:pt x="9" y="110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67"/>
            <p:cNvSpPr>
              <a:spLocks/>
            </p:cNvSpPr>
            <p:nvPr/>
          </p:nvSpPr>
          <p:spPr bwMode="gray">
            <a:xfrm>
              <a:off x="10269837" y="4296095"/>
              <a:ext cx="982663" cy="944562"/>
            </a:xfrm>
            <a:custGeom>
              <a:avLst/>
              <a:gdLst>
                <a:gd name="T0" fmla="*/ 619 w 619"/>
                <a:gd name="T1" fmla="*/ 589 h 595"/>
                <a:gd name="T2" fmla="*/ 613 w 619"/>
                <a:gd name="T3" fmla="*/ 595 h 595"/>
                <a:gd name="T4" fmla="*/ 0 w 619"/>
                <a:gd name="T5" fmla="*/ 26 h 595"/>
                <a:gd name="T6" fmla="*/ 27 w 619"/>
                <a:gd name="T7" fmla="*/ 0 h 595"/>
                <a:gd name="T8" fmla="*/ 619 w 619"/>
                <a:gd name="T9" fmla="*/ 589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9" h="595">
                  <a:moveTo>
                    <a:pt x="619" y="589"/>
                  </a:moveTo>
                  <a:lnTo>
                    <a:pt x="613" y="595"/>
                  </a:lnTo>
                  <a:lnTo>
                    <a:pt x="0" y="26"/>
                  </a:lnTo>
                  <a:lnTo>
                    <a:pt x="27" y="0"/>
                  </a:lnTo>
                  <a:lnTo>
                    <a:pt x="619" y="589"/>
                  </a:ln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68"/>
            <p:cNvSpPr>
              <a:spLocks/>
            </p:cNvSpPr>
            <p:nvPr/>
          </p:nvSpPr>
          <p:spPr bwMode="gray">
            <a:xfrm>
              <a:off x="10193637" y="4370708"/>
              <a:ext cx="949325" cy="976312"/>
            </a:xfrm>
            <a:custGeom>
              <a:avLst/>
              <a:gdLst>
                <a:gd name="T0" fmla="*/ 592 w 598"/>
                <a:gd name="T1" fmla="*/ 615 h 615"/>
                <a:gd name="T2" fmla="*/ 598 w 598"/>
                <a:gd name="T3" fmla="*/ 610 h 615"/>
                <a:gd name="T4" fmla="*/ 27 w 598"/>
                <a:gd name="T5" fmla="*/ 0 h 615"/>
                <a:gd name="T6" fmla="*/ 0 w 598"/>
                <a:gd name="T7" fmla="*/ 27 h 615"/>
                <a:gd name="T8" fmla="*/ 592 w 598"/>
                <a:gd name="T9" fmla="*/ 615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8" h="615">
                  <a:moveTo>
                    <a:pt x="592" y="615"/>
                  </a:moveTo>
                  <a:lnTo>
                    <a:pt x="598" y="610"/>
                  </a:lnTo>
                  <a:lnTo>
                    <a:pt x="27" y="0"/>
                  </a:lnTo>
                  <a:lnTo>
                    <a:pt x="0" y="27"/>
                  </a:lnTo>
                  <a:lnTo>
                    <a:pt x="592" y="615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9"/>
            <p:cNvSpPr>
              <a:spLocks/>
            </p:cNvSpPr>
            <p:nvPr/>
          </p:nvSpPr>
          <p:spPr bwMode="gray">
            <a:xfrm>
              <a:off x="10615912" y="5231133"/>
              <a:ext cx="665163" cy="93662"/>
            </a:xfrm>
            <a:custGeom>
              <a:avLst/>
              <a:gdLst>
                <a:gd name="T0" fmla="*/ 481 w 481"/>
                <a:gd name="T1" fmla="*/ 14 h 69"/>
                <a:gd name="T2" fmla="*/ 467 w 481"/>
                <a:gd name="T3" fmla="*/ 0 h 69"/>
                <a:gd name="T4" fmla="*/ 15 w 481"/>
                <a:gd name="T5" fmla="*/ 0 h 69"/>
                <a:gd name="T6" fmla="*/ 0 w 481"/>
                <a:gd name="T7" fmla="*/ 14 h 69"/>
                <a:gd name="T8" fmla="*/ 0 w 481"/>
                <a:gd name="T9" fmla="*/ 55 h 69"/>
                <a:gd name="T10" fmla="*/ 15 w 481"/>
                <a:gd name="T11" fmla="*/ 69 h 69"/>
                <a:gd name="T12" fmla="*/ 467 w 481"/>
                <a:gd name="T13" fmla="*/ 69 h 69"/>
                <a:gd name="T14" fmla="*/ 481 w 481"/>
                <a:gd name="T15" fmla="*/ 55 h 69"/>
                <a:gd name="T16" fmla="*/ 481 w 481"/>
                <a:gd name="T17" fmla="*/ 1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1" h="69">
                  <a:moveTo>
                    <a:pt x="481" y="14"/>
                  </a:moveTo>
                  <a:cubicBezTo>
                    <a:pt x="481" y="6"/>
                    <a:pt x="475" y="0"/>
                    <a:pt x="467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6"/>
                    <a:pt x="0" y="14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63"/>
                    <a:pt x="7" y="69"/>
                    <a:pt x="15" y="69"/>
                  </a:cubicBezTo>
                  <a:cubicBezTo>
                    <a:pt x="467" y="69"/>
                    <a:pt x="467" y="69"/>
                    <a:pt x="467" y="69"/>
                  </a:cubicBezTo>
                  <a:cubicBezTo>
                    <a:pt x="475" y="69"/>
                    <a:pt x="481" y="63"/>
                    <a:pt x="481" y="55"/>
                  </a:cubicBezTo>
                  <a:lnTo>
                    <a:pt x="481" y="1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Oval 70"/>
            <p:cNvSpPr>
              <a:spLocks noChangeArrowheads="1"/>
            </p:cNvSpPr>
            <p:nvPr/>
          </p:nvSpPr>
          <p:spPr bwMode="gray">
            <a:xfrm>
              <a:off x="1031270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Oval 71"/>
            <p:cNvSpPr>
              <a:spLocks noChangeArrowheads="1"/>
            </p:cNvSpPr>
            <p:nvPr/>
          </p:nvSpPr>
          <p:spPr bwMode="gray">
            <a:xfrm>
              <a:off x="10695287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Oval 72"/>
            <p:cNvSpPr>
              <a:spLocks noChangeArrowheads="1"/>
            </p:cNvSpPr>
            <p:nvPr/>
          </p:nvSpPr>
          <p:spPr bwMode="gray">
            <a:xfrm>
              <a:off x="1098580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Freeform 73"/>
            <p:cNvSpPr>
              <a:spLocks/>
            </p:cNvSpPr>
            <p:nvPr/>
          </p:nvSpPr>
          <p:spPr bwMode="gray">
            <a:xfrm>
              <a:off x="10176175" y="5042220"/>
              <a:ext cx="341313" cy="404812"/>
            </a:xfrm>
            <a:custGeom>
              <a:avLst/>
              <a:gdLst>
                <a:gd name="T0" fmla="*/ 247 w 247"/>
                <a:gd name="T1" fmla="*/ 0 h 295"/>
                <a:gd name="T2" fmla="*/ 66 w 247"/>
                <a:gd name="T3" fmla="*/ 0 h 295"/>
                <a:gd name="T4" fmla="*/ 16 w 247"/>
                <a:gd name="T5" fmla="*/ 295 h 295"/>
                <a:gd name="T6" fmla="*/ 197 w 247"/>
                <a:gd name="T7" fmla="*/ 295 h 295"/>
                <a:gd name="T8" fmla="*/ 247 w 247"/>
                <a:gd name="T9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7" h="295">
                  <a:moveTo>
                    <a:pt x="247" y="0"/>
                  </a:moveTo>
                  <a:cubicBezTo>
                    <a:pt x="193" y="0"/>
                    <a:pt x="97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197" y="295"/>
                    <a:pt x="197" y="295"/>
                    <a:pt x="197" y="295"/>
                  </a:cubicBezTo>
                  <a:cubicBezTo>
                    <a:pt x="197" y="295"/>
                    <a:pt x="181" y="76"/>
                    <a:pt x="247" y="0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Freeform 74"/>
            <p:cNvSpPr>
              <a:spLocks/>
            </p:cNvSpPr>
            <p:nvPr/>
          </p:nvSpPr>
          <p:spPr bwMode="gray">
            <a:xfrm>
              <a:off x="10727037" y="5324795"/>
              <a:ext cx="3175" cy="1587"/>
            </a:xfrm>
            <a:custGeom>
              <a:avLst/>
              <a:gdLst>
                <a:gd name="T0" fmla="*/ 0 w 2"/>
                <a:gd name="T1" fmla="*/ 1 h 1"/>
                <a:gd name="T2" fmla="*/ 2 w 2"/>
                <a:gd name="T3" fmla="*/ 0 h 1"/>
                <a:gd name="T4" fmla="*/ 0 w 2"/>
                <a:gd name="T5" fmla="*/ 0 h 1"/>
                <a:gd name="T6" fmla="*/ 0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1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Freeform 75"/>
            <p:cNvSpPr>
              <a:spLocks/>
            </p:cNvSpPr>
            <p:nvPr/>
          </p:nvSpPr>
          <p:spPr bwMode="gray">
            <a:xfrm>
              <a:off x="10512725" y="5324795"/>
              <a:ext cx="3175" cy="1587"/>
            </a:xfrm>
            <a:custGeom>
              <a:avLst/>
              <a:gdLst>
                <a:gd name="T0" fmla="*/ 0 w 3"/>
                <a:gd name="T1" fmla="*/ 1 h 1"/>
                <a:gd name="T2" fmla="*/ 3 w 3"/>
                <a:gd name="T3" fmla="*/ 0 h 1"/>
                <a:gd name="T4" fmla="*/ 0 w 3"/>
                <a:gd name="T5" fmla="*/ 0 h 1"/>
                <a:gd name="T6" fmla="*/ 0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cubicBezTo>
                    <a:pt x="1" y="0"/>
                    <a:pt x="2" y="0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Freeform 76"/>
            <p:cNvSpPr>
              <a:spLocks/>
            </p:cNvSpPr>
            <p:nvPr/>
          </p:nvSpPr>
          <p:spPr bwMode="gray">
            <a:xfrm>
              <a:off x="10176175" y="5042220"/>
              <a:ext cx="127000" cy="404812"/>
            </a:xfrm>
            <a:custGeom>
              <a:avLst/>
              <a:gdLst>
                <a:gd name="T0" fmla="*/ 92 w 92"/>
                <a:gd name="T1" fmla="*/ 0 h 295"/>
                <a:gd name="T2" fmla="*/ 66 w 92"/>
                <a:gd name="T3" fmla="*/ 0 h 295"/>
                <a:gd name="T4" fmla="*/ 16 w 92"/>
                <a:gd name="T5" fmla="*/ 295 h 295"/>
                <a:gd name="T6" fmla="*/ 42 w 92"/>
                <a:gd name="T7" fmla="*/ 295 h 295"/>
                <a:gd name="T8" fmla="*/ 92 w 92"/>
                <a:gd name="T9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295">
                  <a:moveTo>
                    <a:pt x="92" y="0"/>
                  </a:moveTo>
                  <a:cubicBezTo>
                    <a:pt x="82" y="0"/>
                    <a:pt x="73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42" y="295"/>
                    <a:pt x="42" y="295"/>
                    <a:pt x="42" y="295"/>
                  </a:cubicBezTo>
                  <a:cubicBezTo>
                    <a:pt x="42" y="295"/>
                    <a:pt x="26" y="76"/>
                    <a:pt x="92" y="0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Rectangle 77"/>
            <p:cNvSpPr>
              <a:spLocks noChangeArrowheads="1"/>
            </p:cNvSpPr>
            <p:nvPr/>
          </p:nvSpPr>
          <p:spPr bwMode="gray">
            <a:xfrm>
              <a:off x="9574512" y="3729358"/>
              <a:ext cx="22225" cy="693737"/>
            </a:xfrm>
            <a:prstGeom prst="rect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Freeform 78"/>
            <p:cNvSpPr>
              <a:spLocks/>
            </p:cNvSpPr>
            <p:nvPr/>
          </p:nvSpPr>
          <p:spPr bwMode="gray">
            <a:xfrm>
              <a:off x="10393662" y="5042220"/>
              <a:ext cx="906463" cy="404812"/>
            </a:xfrm>
            <a:custGeom>
              <a:avLst/>
              <a:gdLst>
                <a:gd name="T0" fmla="*/ 642 w 656"/>
                <a:gd name="T1" fmla="*/ 206 h 295"/>
                <a:gd name="T2" fmla="*/ 219 w 656"/>
                <a:gd name="T3" fmla="*/ 206 h 295"/>
                <a:gd name="T4" fmla="*/ 217 w 656"/>
                <a:gd name="T5" fmla="*/ 207 h 295"/>
                <a:gd name="T6" fmla="*/ 217 w 656"/>
                <a:gd name="T7" fmla="*/ 0 h 295"/>
                <a:gd name="T8" fmla="*/ 66 w 656"/>
                <a:gd name="T9" fmla="*/ 0 h 295"/>
                <a:gd name="T10" fmla="*/ 16 w 656"/>
                <a:gd name="T11" fmla="*/ 295 h 295"/>
                <a:gd name="T12" fmla="*/ 642 w 656"/>
                <a:gd name="T13" fmla="*/ 295 h 295"/>
                <a:gd name="T14" fmla="*/ 656 w 656"/>
                <a:gd name="T15" fmla="*/ 281 h 295"/>
                <a:gd name="T16" fmla="*/ 656 w 656"/>
                <a:gd name="T17" fmla="*/ 221 h 295"/>
                <a:gd name="T18" fmla="*/ 642 w 656"/>
                <a:gd name="T19" fmla="*/ 206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6" h="295">
                  <a:moveTo>
                    <a:pt x="642" y="206"/>
                  </a:moveTo>
                  <a:cubicBezTo>
                    <a:pt x="219" y="206"/>
                    <a:pt x="219" y="206"/>
                    <a:pt x="219" y="206"/>
                  </a:cubicBezTo>
                  <a:cubicBezTo>
                    <a:pt x="219" y="206"/>
                    <a:pt x="218" y="206"/>
                    <a:pt x="217" y="207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17" y="0"/>
                    <a:pt x="119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642" y="295"/>
                    <a:pt x="642" y="295"/>
                    <a:pt x="642" y="295"/>
                  </a:cubicBezTo>
                  <a:cubicBezTo>
                    <a:pt x="650" y="295"/>
                    <a:pt x="656" y="289"/>
                    <a:pt x="656" y="281"/>
                  </a:cubicBezTo>
                  <a:cubicBezTo>
                    <a:pt x="656" y="221"/>
                    <a:pt x="656" y="221"/>
                    <a:pt x="656" y="221"/>
                  </a:cubicBezTo>
                  <a:cubicBezTo>
                    <a:pt x="656" y="213"/>
                    <a:pt x="650" y="206"/>
                    <a:pt x="642" y="206"/>
                  </a:cubicBez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Freeform 79"/>
            <p:cNvSpPr>
              <a:spLocks/>
            </p:cNvSpPr>
            <p:nvPr/>
          </p:nvSpPr>
          <p:spPr bwMode="gray">
            <a:xfrm>
              <a:off x="10393662" y="5042220"/>
              <a:ext cx="300038" cy="404812"/>
            </a:xfrm>
            <a:custGeom>
              <a:avLst/>
              <a:gdLst>
                <a:gd name="T0" fmla="*/ 81 w 217"/>
                <a:gd name="T1" fmla="*/ 15 h 295"/>
                <a:gd name="T2" fmla="*/ 217 w 217"/>
                <a:gd name="T3" fmla="*/ 15 h 295"/>
                <a:gd name="T4" fmla="*/ 217 w 217"/>
                <a:gd name="T5" fmla="*/ 0 h 295"/>
                <a:gd name="T6" fmla="*/ 66 w 217"/>
                <a:gd name="T7" fmla="*/ 0 h 295"/>
                <a:gd name="T8" fmla="*/ 16 w 217"/>
                <a:gd name="T9" fmla="*/ 295 h 295"/>
                <a:gd name="T10" fmla="*/ 30 w 217"/>
                <a:gd name="T11" fmla="*/ 295 h 295"/>
                <a:gd name="T12" fmla="*/ 81 w 217"/>
                <a:gd name="T13" fmla="*/ 15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7" h="295">
                  <a:moveTo>
                    <a:pt x="81" y="15"/>
                  </a:moveTo>
                  <a:cubicBezTo>
                    <a:pt x="122" y="15"/>
                    <a:pt x="188" y="15"/>
                    <a:pt x="217" y="15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17" y="0"/>
                    <a:pt x="119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30" y="295"/>
                    <a:pt x="30" y="295"/>
                    <a:pt x="30" y="295"/>
                  </a:cubicBezTo>
                  <a:cubicBezTo>
                    <a:pt x="28" y="244"/>
                    <a:pt x="25" y="79"/>
                    <a:pt x="81" y="15"/>
                  </a:cubicBezTo>
                  <a:close/>
                </a:path>
              </a:pathLst>
            </a:custGeom>
            <a:solidFill>
              <a:srgbClr val="FFCB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Freeform 80"/>
            <p:cNvSpPr>
              <a:spLocks/>
            </p:cNvSpPr>
            <p:nvPr/>
          </p:nvSpPr>
          <p:spPr bwMode="gray">
            <a:xfrm>
              <a:off x="10414300" y="542798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Freeform 81"/>
            <p:cNvSpPr>
              <a:spLocks/>
            </p:cNvSpPr>
            <p:nvPr/>
          </p:nvSpPr>
          <p:spPr bwMode="gray">
            <a:xfrm>
              <a:off x="10414300" y="5432745"/>
              <a:ext cx="0" cy="1587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Freeform 82"/>
            <p:cNvSpPr>
              <a:spLocks/>
            </p:cNvSpPr>
            <p:nvPr/>
          </p:nvSpPr>
          <p:spPr bwMode="gray">
            <a:xfrm>
              <a:off x="10414300" y="544068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Freeform 83"/>
            <p:cNvSpPr>
              <a:spLocks/>
            </p:cNvSpPr>
            <p:nvPr/>
          </p:nvSpPr>
          <p:spPr bwMode="gray">
            <a:xfrm>
              <a:off x="10433350" y="5324795"/>
              <a:ext cx="866775" cy="122237"/>
            </a:xfrm>
            <a:custGeom>
              <a:avLst/>
              <a:gdLst>
                <a:gd name="T0" fmla="*/ 613 w 627"/>
                <a:gd name="T1" fmla="*/ 0 h 89"/>
                <a:gd name="T2" fmla="*/ 613 w 627"/>
                <a:gd name="T3" fmla="*/ 56 h 89"/>
                <a:gd name="T4" fmla="*/ 599 w 627"/>
                <a:gd name="T5" fmla="*/ 71 h 89"/>
                <a:gd name="T6" fmla="*/ 0 w 627"/>
                <a:gd name="T7" fmla="*/ 71 h 89"/>
                <a:gd name="T8" fmla="*/ 1 w 627"/>
                <a:gd name="T9" fmla="*/ 89 h 89"/>
                <a:gd name="T10" fmla="*/ 613 w 627"/>
                <a:gd name="T11" fmla="*/ 89 h 89"/>
                <a:gd name="T12" fmla="*/ 627 w 627"/>
                <a:gd name="T13" fmla="*/ 75 h 89"/>
                <a:gd name="T14" fmla="*/ 627 w 627"/>
                <a:gd name="T15" fmla="*/ 15 h 89"/>
                <a:gd name="T16" fmla="*/ 613 w 627"/>
                <a:gd name="T17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7" h="89">
                  <a:moveTo>
                    <a:pt x="613" y="0"/>
                  </a:moveTo>
                  <a:cubicBezTo>
                    <a:pt x="613" y="56"/>
                    <a:pt x="613" y="56"/>
                    <a:pt x="613" y="56"/>
                  </a:cubicBezTo>
                  <a:cubicBezTo>
                    <a:pt x="613" y="64"/>
                    <a:pt x="607" y="71"/>
                    <a:pt x="599" y="71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78"/>
                    <a:pt x="1" y="84"/>
                    <a:pt x="1" y="89"/>
                  </a:cubicBezTo>
                  <a:cubicBezTo>
                    <a:pt x="613" y="89"/>
                    <a:pt x="613" y="89"/>
                    <a:pt x="613" y="89"/>
                  </a:cubicBezTo>
                  <a:cubicBezTo>
                    <a:pt x="621" y="89"/>
                    <a:pt x="627" y="83"/>
                    <a:pt x="627" y="75"/>
                  </a:cubicBezTo>
                  <a:cubicBezTo>
                    <a:pt x="627" y="15"/>
                    <a:pt x="627" y="15"/>
                    <a:pt x="627" y="15"/>
                  </a:cubicBezTo>
                  <a:cubicBezTo>
                    <a:pt x="627" y="7"/>
                    <a:pt x="621" y="1"/>
                    <a:pt x="613" y="0"/>
                  </a:cubicBezTo>
                  <a:close/>
                </a:path>
              </a:pathLst>
            </a:custGeom>
            <a:solidFill>
              <a:srgbClr val="DB9D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Freeform 84"/>
            <p:cNvSpPr>
              <a:spLocks/>
            </p:cNvSpPr>
            <p:nvPr/>
          </p:nvSpPr>
          <p:spPr bwMode="gray">
            <a:xfrm>
              <a:off x="10452400" y="5086670"/>
              <a:ext cx="203200" cy="238125"/>
            </a:xfrm>
            <a:custGeom>
              <a:avLst/>
              <a:gdLst>
                <a:gd name="T0" fmla="*/ 146 w 146"/>
                <a:gd name="T1" fmla="*/ 174 h 174"/>
                <a:gd name="T2" fmla="*/ 146 w 146"/>
                <a:gd name="T3" fmla="*/ 0 h 174"/>
                <a:gd name="T4" fmla="*/ 40 w 146"/>
                <a:gd name="T5" fmla="*/ 0 h 174"/>
                <a:gd name="T6" fmla="*/ 0 w 146"/>
                <a:gd name="T7" fmla="*/ 174 h 174"/>
                <a:gd name="T8" fmla="*/ 146 w 146"/>
                <a:gd name="T9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6" h="174">
                  <a:moveTo>
                    <a:pt x="146" y="174"/>
                  </a:moveTo>
                  <a:cubicBezTo>
                    <a:pt x="146" y="0"/>
                    <a:pt x="146" y="0"/>
                    <a:pt x="146" y="0"/>
                  </a:cubicBezTo>
                  <a:cubicBezTo>
                    <a:pt x="146" y="0"/>
                    <a:pt x="82" y="0"/>
                    <a:pt x="40" y="0"/>
                  </a:cubicBezTo>
                  <a:cubicBezTo>
                    <a:pt x="8" y="38"/>
                    <a:pt x="0" y="119"/>
                    <a:pt x="0" y="174"/>
                  </a:cubicBezTo>
                  <a:lnTo>
                    <a:pt x="146" y="17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Freeform 85"/>
            <p:cNvSpPr>
              <a:spLocks/>
            </p:cNvSpPr>
            <p:nvPr/>
          </p:nvSpPr>
          <p:spPr bwMode="gray">
            <a:xfrm>
              <a:off x="10452400" y="5086670"/>
              <a:ext cx="203200" cy="238125"/>
            </a:xfrm>
            <a:custGeom>
              <a:avLst/>
              <a:gdLst>
                <a:gd name="T0" fmla="*/ 146 w 146"/>
                <a:gd name="T1" fmla="*/ 174 h 174"/>
                <a:gd name="T2" fmla="*/ 40 w 146"/>
                <a:gd name="T3" fmla="*/ 0 h 174"/>
                <a:gd name="T4" fmla="*/ 0 w 146"/>
                <a:gd name="T5" fmla="*/ 174 h 174"/>
                <a:gd name="T6" fmla="*/ 146 w 146"/>
                <a:gd name="T7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6" h="174">
                  <a:moveTo>
                    <a:pt x="146" y="174"/>
                  </a:moveTo>
                  <a:cubicBezTo>
                    <a:pt x="146" y="174"/>
                    <a:pt x="84" y="73"/>
                    <a:pt x="40" y="0"/>
                  </a:cubicBezTo>
                  <a:cubicBezTo>
                    <a:pt x="8" y="38"/>
                    <a:pt x="0" y="119"/>
                    <a:pt x="0" y="174"/>
                  </a:cubicBezTo>
                  <a:lnTo>
                    <a:pt x="146" y="174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Oval 86"/>
            <p:cNvSpPr>
              <a:spLocks noChangeArrowheads="1"/>
            </p:cNvSpPr>
            <p:nvPr/>
          </p:nvSpPr>
          <p:spPr bwMode="gray">
            <a:xfrm>
              <a:off x="10458750" y="5353370"/>
              <a:ext cx="188913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Oval 87"/>
            <p:cNvSpPr>
              <a:spLocks noChangeArrowheads="1"/>
            </p:cNvSpPr>
            <p:nvPr/>
          </p:nvSpPr>
          <p:spPr bwMode="gray">
            <a:xfrm>
              <a:off x="10503200" y="5396233"/>
              <a:ext cx="100013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Oval 88"/>
            <p:cNvSpPr>
              <a:spLocks noChangeArrowheads="1"/>
            </p:cNvSpPr>
            <p:nvPr/>
          </p:nvSpPr>
          <p:spPr bwMode="gray">
            <a:xfrm>
              <a:off x="11041362" y="5353370"/>
              <a:ext cx="192088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Oval 89"/>
            <p:cNvSpPr>
              <a:spLocks noChangeArrowheads="1"/>
            </p:cNvSpPr>
            <p:nvPr/>
          </p:nvSpPr>
          <p:spPr bwMode="gray">
            <a:xfrm>
              <a:off x="1083975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Freeform 90"/>
            <p:cNvSpPr>
              <a:spLocks/>
            </p:cNvSpPr>
            <p:nvPr/>
          </p:nvSpPr>
          <p:spPr bwMode="gray">
            <a:xfrm>
              <a:off x="10503200" y="5412108"/>
              <a:ext cx="85725" cy="87312"/>
            </a:xfrm>
            <a:custGeom>
              <a:avLst/>
              <a:gdLst>
                <a:gd name="T0" fmla="*/ 37 w 62"/>
                <a:gd name="T1" fmla="*/ 63 h 63"/>
                <a:gd name="T2" fmla="*/ 62 w 62"/>
                <a:gd name="T3" fmla="*/ 52 h 63"/>
                <a:gd name="T4" fmla="*/ 10 w 62"/>
                <a:gd name="T5" fmla="*/ 0 h 63"/>
                <a:gd name="T6" fmla="*/ 0 w 62"/>
                <a:gd name="T7" fmla="*/ 26 h 63"/>
                <a:gd name="T8" fmla="*/ 37 w 62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63">
                  <a:moveTo>
                    <a:pt x="37" y="63"/>
                  </a:moveTo>
                  <a:cubicBezTo>
                    <a:pt x="47" y="63"/>
                    <a:pt x="56" y="59"/>
                    <a:pt x="62" y="5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6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Freeform 91"/>
            <p:cNvSpPr>
              <a:spLocks/>
            </p:cNvSpPr>
            <p:nvPr/>
          </p:nvSpPr>
          <p:spPr bwMode="gray">
            <a:xfrm>
              <a:off x="10241262" y="5359720"/>
              <a:ext cx="120650" cy="15875"/>
            </a:xfrm>
            <a:custGeom>
              <a:avLst/>
              <a:gdLst>
                <a:gd name="T0" fmla="*/ 81 w 87"/>
                <a:gd name="T1" fmla="*/ 12 h 12"/>
                <a:gd name="T2" fmla="*/ 6 w 87"/>
                <a:gd name="T3" fmla="*/ 12 h 12"/>
                <a:gd name="T4" fmla="*/ 0 w 87"/>
                <a:gd name="T5" fmla="*/ 6 h 12"/>
                <a:gd name="T6" fmla="*/ 6 w 87"/>
                <a:gd name="T7" fmla="*/ 0 h 12"/>
                <a:gd name="T8" fmla="*/ 81 w 87"/>
                <a:gd name="T9" fmla="*/ 0 h 12"/>
                <a:gd name="T10" fmla="*/ 87 w 87"/>
                <a:gd name="T11" fmla="*/ 6 h 12"/>
                <a:gd name="T12" fmla="*/ 81 w 8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2">
                  <a:moveTo>
                    <a:pt x="8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4" y="0"/>
                    <a:pt x="87" y="3"/>
                    <a:pt x="87" y="6"/>
                  </a:cubicBezTo>
                  <a:cubicBezTo>
                    <a:pt x="87" y="9"/>
                    <a:pt x="84" y="12"/>
                    <a:pt x="81" y="12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Freeform 92"/>
            <p:cNvSpPr>
              <a:spLocks/>
            </p:cNvSpPr>
            <p:nvPr/>
          </p:nvSpPr>
          <p:spPr bwMode="gray">
            <a:xfrm>
              <a:off x="10241262" y="5396233"/>
              <a:ext cx="120650" cy="17462"/>
            </a:xfrm>
            <a:custGeom>
              <a:avLst/>
              <a:gdLst>
                <a:gd name="T0" fmla="*/ 81 w 87"/>
                <a:gd name="T1" fmla="*/ 12 h 12"/>
                <a:gd name="T2" fmla="*/ 6 w 87"/>
                <a:gd name="T3" fmla="*/ 12 h 12"/>
                <a:gd name="T4" fmla="*/ 0 w 87"/>
                <a:gd name="T5" fmla="*/ 6 h 12"/>
                <a:gd name="T6" fmla="*/ 6 w 87"/>
                <a:gd name="T7" fmla="*/ 0 h 12"/>
                <a:gd name="T8" fmla="*/ 81 w 87"/>
                <a:gd name="T9" fmla="*/ 0 h 12"/>
                <a:gd name="T10" fmla="*/ 87 w 87"/>
                <a:gd name="T11" fmla="*/ 6 h 12"/>
                <a:gd name="T12" fmla="*/ 81 w 8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2">
                  <a:moveTo>
                    <a:pt x="8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4" y="0"/>
                    <a:pt x="87" y="3"/>
                    <a:pt x="87" y="6"/>
                  </a:cubicBezTo>
                  <a:cubicBezTo>
                    <a:pt x="87" y="10"/>
                    <a:pt x="84" y="12"/>
                    <a:pt x="81" y="12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Freeform 93"/>
            <p:cNvSpPr>
              <a:spLocks/>
            </p:cNvSpPr>
            <p:nvPr/>
          </p:nvSpPr>
          <p:spPr bwMode="gray">
            <a:xfrm>
              <a:off x="10209512" y="5086670"/>
              <a:ext cx="227013" cy="239712"/>
            </a:xfrm>
            <a:custGeom>
              <a:avLst/>
              <a:gdLst>
                <a:gd name="T0" fmla="*/ 31 w 164"/>
                <a:gd name="T1" fmla="*/ 0 h 175"/>
                <a:gd name="T2" fmla="*/ 0 w 164"/>
                <a:gd name="T3" fmla="*/ 175 h 175"/>
                <a:gd name="T4" fmla="*/ 133 w 164"/>
                <a:gd name="T5" fmla="*/ 175 h 175"/>
                <a:gd name="T6" fmla="*/ 164 w 164"/>
                <a:gd name="T7" fmla="*/ 0 h 175"/>
                <a:gd name="T8" fmla="*/ 31 w 164"/>
                <a:gd name="T9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4" h="175">
                  <a:moveTo>
                    <a:pt x="31" y="0"/>
                  </a:moveTo>
                  <a:cubicBezTo>
                    <a:pt x="9" y="49"/>
                    <a:pt x="1" y="119"/>
                    <a:pt x="0" y="175"/>
                  </a:cubicBezTo>
                  <a:cubicBezTo>
                    <a:pt x="133" y="175"/>
                    <a:pt x="133" y="175"/>
                    <a:pt x="133" y="175"/>
                  </a:cubicBezTo>
                  <a:cubicBezTo>
                    <a:pt x="134" y="119"/>
                    <a:pt x="142" y="49"/>
                    <a:pt x="164" y="0"/>
                  </a:cubicBezTo>
                  <a:lnTo>
                    <a:pt x="31" y="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8" name="Freeform 94"/>
            <p:cNvSpPr>
              <a:spLocks/>
            </p:cNvSpPr>
            <p:nvPr/>
          </p:nvSpPr>
          <p:spPr bwMode="gray">
            <a:xfrm>
              <a:off x="10209512" y="5086670"/>
              <a:ext cx="185738" cy="239712"/>
            </a:xfrm>
            <a:custGeom>
              <a:avLst/>
              <a:gdLst>
                <a:gd name="T0" fmla="*/ 31 w 134"/>
                <a:gd name="T1" fmla="*/ 0 h 175"/>
                <a:gd name="T2" fmla="*/ 0 w 134"/>
                <a:gd name="T3" fmla="*/ 175 h 175"/>
                <a:gd name="T4" fmla="*/ 133 w 134"/>
                <a:gd name="T5" fmla="*/ 175 h 175"/>
                <a:gd name="T6" fmla="*/ 31 w 134"/>
                <a:gd name="T7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4" h="175">
                  <a:moveTo>
                    <a:pt x="31" y="0"/>
                  </a:moveTo>
                  <a:cubicBezTo>
                    <a:pt x="9" y="49"/>
                    <a:pt x="1" y="119"/>
                    <a:pt x="0" y="175"/>
                  </a:cubicBezTo>
                  <a:cubicBezTo>
                    <a:pt x="133" y="175"/>
                    <a:pt x="133" y="175"/>
                    <a:pt x="133" y="175"/>
                  </a:cubicBezTo>
                  <a:cubicBezTo>
                    <a:pt x="134" y="119"/>
                    <a:pt x="31" y="0"/>
                    <a:pt x="31" y="0"/>
                  </a:cubicBez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Freeform 95"/>
            <p:cNvSpPr>
              <a:spLocks noEditPoints="1"/>
            </p:cNvSpPr>
            <p:nvPr/>
          </p:nvSpPr>
          <p:spPr bwMode="gray">
            <a:xfrm>
              <a:off x="9257012" y="4496120"/>
              <a:ext cx="280988" cy="279400"/>
            </a:xfrm>
            <a:custGeom>
              <a:avLst/>
              <a:gdLst>
                <a:gd name="T0" fmla="*/ 203 w 203"/>
                <a:gd name="T1" fmla="*/ 93 h 203"/>
                <a:gd name="T2" fmla="*/ 187 w 203"/>
                <a:gd name="T3" fmla="*/ 77 h 203"/>
                <a:gd name="T4" fmla="*/ 192 w 203"/>
                <a:gd name="T5" fmla="*/ 54 h 203"/>
                <a:gd name="T6" fmla="*/ 170 w 203"/>
                <a:gd name="T7" fmla="*/ 46 h 203"/>
                <a:gd name="T8" fmla="*/ 167 w 203"/>
                <a:gd name="T9" fmla="*/ 23 h 203"/>
                <a:gd name="T10" fmla="*/ 144 w 203"/>
                <a:gd name="T11" fmla="*/ 25 h 203"/>
                <a:gd name="T12" fmla="*/ 132 w 203"/>
                <a:gd name="T13" fmla="*/ 4 h 203"/>
                <a:gd name="T14" fmla="*/ 111 w 203"/>
                <a:gd name="T15" fmla="*/ 15 h 203"/>
                <a:gd name="T16" fmla="*/ 92 w 203"/>
                <a:gd name="T17" fmla="*/ 0 h 203"/>
                <a:gd name="T18" fmla="*/ 77 w 203"/>
                <a:gd name="T19" fmla="*/ 18 h 203"/>
                <a:gd name="T20" fmla="*/ 54 w 203"/>
                <a:gd name="T21" fmla="*/ 11 h 203"/>
                <a:gd name="T22" fmla="*/ 47 w 203"/>
                <a:gd name="T23" fmla="*/ 33 h 203"/>
                <a:gd name="T24" fmla="*/ 23 w 203"/>
                <a:gd name="T25" fmla="*/ 36 h 203"/>
                <a:gd name="T26" fmla="*/ 24 w 203"/>
                <a:gd name="T27" fmla="*/ 59 h 203"/>
                <a:gd name="T28" fmla="*/ 4 w 203"/>
                <a:gd name="T29" fmla="*/ 71 h 203"/>
                <a:gd name="T30" fmla="*/ 14 w 203"/>
                <a:gd name="T31" fmla="*/ 93 h 203"/>
                <a:gd name="T32" fmla="*/ 0 w 203"/>
                <a:gd name="T33" fmla="*/ 112 h 203"/>
                <a:gd name="T34" fmla="*/ 16 w 203"/>
                <a:gd name="T35" fmla="*/ 127 h 203"/>
                <a:gd name="T36" fmla="*/ 11 w 203"/>
                <a:gd name="T37" fmla="*/ 149 h 203"/>
                <a:gd name="T38" fmla="*/ 32 w 203"/>
                <a:gd name="T39" fmla="*/ 158 h 203"/>
                <a:gd name="T40" fmla="*/ 36 w 203"/>
                <a:gd name="T41" fmla="*/ 180 h 203"/>
                <a:gd name="T42" fmla="*/ 59 w 203"/>
                <a:gd name="T43" fmla="*/ 180 h 203"/>
                <a:gd name="T44" fmla="*/ 71 w 203"/>
                <a:gd name="T45" fmla="*/ 199 h 203"/>
                <a:gd name="T46" fmla="*/ 92 w 203"/>
                <a:gd name="T47" fmla="*/ 191 h 203"/>
                <a:gd name="T48" fmla="*/ 111 w 203"/>
                <a:gd name="T49" fmla="*/ 203 h 203"/>
                <a:gd name="T50" fmla="*/ 127 w 203"/>
                <a:gd name="T51" fmla="*/ 188 h 203"/>
                <a:gd name="T52" fmla="*/ 149 w 203"/>
                <a:gd name="T53" fmla="*/ 192 h 203"/>
                <a:gd name="T54" fmla="*/ 158 w 203"/>
                <a:gd name="T55" fmla="*/ 171 h 203"/>
                <a:gd name="T56" fmla="*/ 180 w 203"/>
                <a:gd name="T57" fmla="*/ 167 h 203"/>
                <a:gd name="T58" fmla="*/ 180 w 203"/>
                <a:gd name="T59" fmla="*/ 144 h 203"/>
                <a:gd name="T60" fmla="*/ 199 w 203"/>
                <a:gd name="T61" fmla="*/ 132 h 203"/>
                <a:gd name="T62" fmla="*/ 190 w 203"/>
                <a:gd name="T63" fmla="*/ 112 h 203"/>
                <a:gd name="T64" fmla="*/ 57 w 203"/>
                <a:gd name="T65" fmla="*/ 58 h 203"/>
                <a:gd name="T66" fmla="*/ 93 w 203"/>
                <a:gd name="T67" fmla="*/ 73 h 203"/>
                <a:gd name="T68" fmla="*/ 39 w 203"/>
                <a:gd name="T69" fmla="*/ 95 h 203"/>
                <a:gd name="T70" fmla="*/ 93 w 203"/>
                <a:gd name="T71" fmla="*/ 166 h 203"/>
                <a:gd name="T72" fmla="*/ 39 w 203"/>
                <a:gd name="T73" fmla="*/ 111 h 203"/>
                <a:gd name="T74" fmla="*/ 93 w 203"/>
                <a:gd name="T75" fmla="*/ 133 h 203"/>
                <a:gd name="T76" fmla="*/ 89 w 203"/>
                <a:gd name="T77" fmla="*/ 102 h 203"/>
                <a:gd name="T78" fmla="*/ 114 w 203"/>
                <a:gd name="T79" fmla="*/ 102 h 203"/>
                <a:gd name="T80" fmla="*/ 89 w 203"/>
                <a:gd name="T81" fmla="*/ 102 h 203"/>
                <a:gd name="T82" fmla="*/ 110 w 203"/>
                <a:gd name="T83" fmla="*/ 166 h 203"/>
                <a:gd name="T84" fmla="*/ 124 w 203"/>
                <a:gd name="T85" fmla="*/ 125 h 203"/>
                <a:gd name="T86" fmla="*/ 165 w 203"/>
                <a:gd name="T87" fmla="*/ 111 h 203"/>
                <a:gd name="T88" fmla="*/ 132 w 203"/>
                <a:gd name="T89" fmla="*/ 95 h 203"/>
                <a:gd name="T90" fmla="*/ 110 w 203"/>
                <a:gd name="T91" fmla="*/ 40 h 203"/>
                <a:gd name="T92" fmla="*/ 165 w 203"/>
                <a:gd name="T93" fmla="*/ 9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3" h="203">
                  <a:moveTo>
                    <a:pt x="203" y="112"/>
                  </a:moveTo>
                  <a:cubicBezTo>
                    <a:pt x="203" y="93"/>
                    <a:pt x="203" y="93"/>
                    <a:pt x="203" y="93"/>
                  </a:cubicBezTo>
                  <a:cubicBezTo>
                    <a:pt x="190" y="93"/>
                    <a:pt x="190" y="93"/>
                    <a:pt x="190" y="93"/>
                  </a:cubicBezTo>
                  <a:cubicBezTo>
                    <a:pt x="189" y="88"/>
                    <a:pt x="188" y="82"/>
                    <a:pt x="187" y="77"/>
                  </a:cubicBezTo>
                  <a:cubicBezTo>
                    <a:pt x="199" y="72"/>
                    <a:pt x="199" y="72"/>
                    <a:pt x="199" y="72"/>
                  </a:cubicBezTo>
                  <a:cubicBezTo>
                    <a:pt x="192" y="54"/>
                    <a:pt x="192" y="54"/>
                    <a:pt x="192" y="54"/>
                  </a:cubicBezTo>
                  <a:cubicBezTo>
                    <a:pt x="179" y="60"/>
                    <a:pt x="179" y="60"/>
                    <a:pt x="179" y="60"/>
                  </a:cubicBezTo>
                  <a:cubicBezTo>
                    <a:pt x="177" y="55"/>
                    <a:pt x="174" y="51"/>
                    <a:pt x="170" y="46"/>
                  </a:cubicBezTo>
                  <a:cubicBezTo>
                    <a:pt x="180" y="36"/>
                    <a:pt x="180" y="36"/>
                    <a:pt x="180" y="36"/>
                  </a:cubicBezTo>
                  <a:cubicBezTo>
                    <a:pt x="167" y="23"/>
                    <a:pt x="167" y="23"/>
                    <a:pt x="167" y="23"/>
                  </a:cubicBezTo>
                  <a:cubicBezTo>
                    <a:pt x="157" y="33"/>
                    <a:pt x="157" y="33"/>
                    <a:pt x="157" y="33"/>
                  </a:cubicBezTo>
                  <a:cubicBezTo>
                    <a:pt x="153" y="30"/>
                    <a:pt x="148" y="27"/>
                    <a:pt x="144" y="25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32" y="4"/>
                    <a:pt x="132" y="4"/>
                    <a:pt x="132" y="4"/>
                  </a:cubicBezTo>
                  <a:cubicBezTo>
                    <a:pt x="127" y="18"/>
                    <a:pt x="127" y="18"/>
                    <a:pt x="127" y="18"/>
                  </a:cubicBezTo>
                  <a:cubicBezTo>
                    <a:pt x="122" y="16"/>
                    <a:pt x="116" y="15"/>
                    <a:pt x="111" y="15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5"/>
                    <a:pt x="92" y="15"/>
                    <a:pt x="92" y="15"/>
                  </a:cubicBezTo>
                  <a:cubicBezTo>
                    <a:pt x="87" y="15"/>
                    <a:pt x="82" y="16"/>
                    <a:pt x="77" y="18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55" y="27"/>
                    <a:pt x="51" y="30"/>
                    <a:pt x="47" y="33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0" y="51"/>
                    <a:pt x="27" y="55"/>
                    <a:pt x="24" y="59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4" y="71"/>
                    <a:pt x="4" y="71"/>
                    <a:pt x="4" y="71"/>
                  </a:cubicBezTo>
                  <a:cubicBezTo>
                    <a:pt x="17" y="77"/>
                    <a:pt x="17" y="77"/>
                    <a:pt x="17" y="77"/>
                  </a:cubicBezTo>
                  <a:cubicBezTo>
                    <a:pt x="15" y="82"/>
                    <a:pt x="14" y="88"/>
                    <a:pt x="14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14" y="112"/>
                    <a:pt x="14" y="112"/>
                    <a:pt x="14" y="112"/>
                  </a:cubicBezTo>
                  <a:cubicBezTo>
                    <a:pt x="14" y="117"/>
                    <a:pt x="15" y="122"/>
                    <a:pt x="16" y="127"/>
                  </a:cubicBezTo>
                  <a:cubicBezTo>
                    <a:pt x="4" y="132"/>
                    <a:pt x="4" y="132"/>
                    <a:pt x="4" y="132"/>
                  </a:cubicBezTo>
                  <a:cubicBezTo>
                    <a:pt x="11" y="149"/>
                    <a:pt x="11" y="149"/>
                    <a:pt x="11" y="149"/>
                  </a:cubicBezTo>
                  <a:cubicBezTo>
                    <a:pt x="23" y="144"/>
                    <a:pt x="23" y="144"/>
                    <a:pt x="23" y="144"/>
                  </a:cubicBezTo>
                  <a:cubicBezTo>
                    <a:pt x="26" y="149"/>
                    <a:pt x="29" y="154"/>
                    <a:pt x="32" y="158"/>
                  </a:cubicBezTo>
                  <a:cubicBezTo>
                    <a:pt x="23" y="167"/>
                    <a:pt x="23" y="167"/>
                    <a:pt x="23" y="167"/>
                  </a:cubicBezTo>
                  <a:cubicBezTo>
                    <a:pt x="36" y="180"/>
                    <a:pt x="36" y="180"/>
                    <a:pt x="36" y="180"/>
                  </a:cubicBezTo>
                  <a:cubicBezTo>
                    <a:pt x="45" y="171"/>
                    <a:pt x="45" y="171"/>
                    <a:pt x="45" y="171"/>
                  </a:cubicBezTo>
                  <a:cubicBezTo>
                    <a:pt x="50" y="175"/>
                    <a:pt x="54" y="178"/>
                    <a:pt x="59" y="180"/>
                  </a:cubicBezTo>
                  <a:cubicBezTo>
                    <a:pt x="54" y="192"/>
                    <a:pt x="54" y="192"/>
                    <a:pt x="54" y="192"/>
                  </a:cubicBezTo>
                  <a:cubicBezTo>
                    <a:pt x="71" y="199"/>
                    <a:pt x="71" y="199"/>
                    <a:pt x="71" y="199"/>
                  </a:cubicBezTo>
                  <a:cubicBezTo>
                    <a:pt x="76" y="188"/>
                    <a:pt x="76" y="188"/>
                    <a:pt x="76" y="188"/>
                  </a:cubicBezTo>
                  <a:cubicBezTo>
                    <a:pt x="81" y="189"/>
                    <a:pt x="87" y="190"/>
                    <a:pt x="92" y="191"/>
                  </a:cubicBezTo>
                  <a:cubicBezTo>
                    <a:pt x="92" y="203"/>
                    <a:pt x="92" y="203"/>
                    <a:pt x="92" y="203"/>
                  </a:cubicBezTo>
                  <a:cubicBezTo>
                    <a:pt x="111" y="203"/>
                    <a:pt x="111" y="203"/>
                    <a:pt x="111" y="203"/>
                  </a:cubicBezTo>
                  <a:cubicBezTo>
                    <a:pt x="111" y="191"/>
                    <a:pt x="111" y="191"/>
                    <a:pt x="111" y="191"/>
                  </a:cubicBezTo>
                  <a:cubicBezTo>
                    <a:pt x="117" y="190"/>
                    <a:pt x="122" y="189"/>
                    <a:pt x="127" y="188"/>
                  </a:cubicBezTo>
                  <a:cubicBezTo>
                    <a:pt x="132" y="199"/>
                    <a:pt x="132" y="199"/>
                    <a:pt x="132" y="199"/>
                  </a:cubicBezTo>
                  <a:cubicBezTo>
                    <a:pt x="149" y="192"/>
                    <a:pt x="149" y="192"/>
                    <a:pt x="149" y="192"/>
                  </a:cubicBezTo>
                  <a:cubicBezTo>
                    <a:pt x="144" y="181"/>
                    <a:pt x="144" y="181"/>
                    <a:pt x="144" y="181"/>
                  </a:cubicBezTo>
                  <a:cubicBezTo>
                    <a:pt x="149" y="178"/>
                    <a:pt x="154" y="175"/>
                    <a:pt x="158" y="171"/>
                  </a:cubicBezTo>
                  <a:cubicBezTo>
                    <a:pt x="167" y="180"/>
                    <a:pt x="167" y="180"/>
                    <a:pt x="167" y="180"/>
                  </a:cubicBezTo>
                  <a:cubicBezTo>
                    <a:pt x="180" y="167"/>
                    <a:pt x="180" y="167"/>
                    <a:pt x="180" y="167"/>
                  </a:cubicBezTo>
                  <a:cubicBezTo>
                    <a:pt x="171" y="158"/>
                    <a:pt x="171" y="158"/>
                    <a:pt x="171" y="158"/>
                  </a:cubicBezTo>
                  <a:cubicBezTo>
                    <a:pt x="175" y="154"/>
                    <a:pt x="178" y="149"/>
                    <a:pt x="180" y="144"/>
                  </a:cubicBezTo>
                  <a:cubicBezTo>
                    <a:pt x="192" y="149"/>
                    <a:pt x="192" y="149"/>
                    <a:pt x="192" y="149"/>
                  </a:cubicBezTo>
                  <a:cubicBezTo>
                    <a:pt x="199" y="132"/>
                    <a:pt x="199" y="132"/>
                    <a:pt x="199" y="132"/>
                  </a:cubicBezTo>
                  <a:cubicBezTo>
                    <a:pt x="187" y="127"/>
                    <a:pt x="187" y="127"/>
                    <a:pt x="187" y="127"/>
                  </a:cubicBezTo>
                  <a:cubicBezTo>
                    <a:pt x="188" y="122"/>
                    <a:pt x="189" y="117"/>
                    <a:pt x="190" y="112"/>
                  </a:cubicBezTo>
                  <a:lnTo>
                    <a:pt x="203" y="112"/>
                  </a:lnTo>
                  <a:close/>
                  <a:moveTo>
                    <a:pt x="57" y="58"/>
                  </a:moveTo>
                  <a:cubicBezTo>
                    <a:pt x="67" y="48"/>
                    <a:pt x="80" y="41"/>
                    <a:pt x="93" y="40"/>
                  </a:cubicBezTo>
                  <a:cubicBezTo>
                    <a:pt x="93" y="73"/>
                    <a:pt x="93" y="73"/>
                    <a:pt x="93" y="73"/>
                  </a:cubicBezTo>
                  <a:cubicBezTo>
                    <a:pt x="83" y="76"/>
                    <a:pt x="75" y="84"/>
                    <a:pt x="72" y="95"/>
                  </a:cubicBezTo>
                  <a:cubicBezTo>
                    <a:pt x="39" y="95"/>
                    <a:pt x="39" y="95"/>
                    <a:pt x="39" y="95"/>
                  </a:cubicBezTo>
                  <a:cubicBezTo>
                    <a:pt x="40" y="81"/>
                    <a:pt x="47" y="68"/>
                    <a:pt x="57" y="58"/>
                  </a:cubicBezTo>
                  <a:close/>
                  <a:moveTo>
                    <a:pt x="93" y="166"/>
                  </a:moveTo>
                  <a:cubicBezTo>
                    <a:pt x="80" y="164"/>
                    <a:pt x="67" y="158"/>
                    <a:pt x="57" y="148"/>
                  </a:cubicBezTo>
                  <a:cubicBezTo>
                    <a:pt x="47" y="138"/>
                    <a:pt x="40" y="125"/>
                    <a:pt x="39" y="111"/>
                  </a:cubicBezTo>
                  <a:cubicBezTo>
                    <a:pt x="72" y="111"/>
                    <a:pt x="72" y="111"/>
                    <a:pt x="72" y="111"/>
                  </a:cubicBezTo>
                  <a:cubicBezTo>
                    <a:pt x="75" y="122"/>
                    <a:pt x="83" y="130"/>
                    <a:pt x="93" y="133"/>
                  </a:cubicBezTo>
                  <a:lnTo>
                    <a:pt x="93" y="166"/>
                  </a:lnTo>
                  <a:close/>
                  <a:moveTo>
                    <a:pt x="89" y="102"/>
                  </a:moveTo>
                  <a:cubicBezTo>
                    <a:pt x="89" y="95"/>
                    <a:pt x="95" y="89"/>
                    <a:pt x="102" y="89"/>
                  </a:cubicBezTo>
                  <a:cubicBezTo>
                    <a:pt x="109" y="89"/>
                    <a:pt x="114" y="95"/>
                    <a:pt x="114" y="102"/>
                  </a:cubicBezTo>
                  <a:cubicBezTo>
                    <a:pt x="114" y="109"/>
                    <a:pt x="109" y="114"/>
                    <a:pt x="102" y="114"/>
                  </a:cubicBezTo>
                  <a:cubicBezTo>
                    <a:pt x="95" y="114"/>
                    <a:pt x="89" y="109"/>
                    <a:pt x="89" y="102"/>
                  </a:cubicBezTo>
                  <a:close/>
                  <a:moveTo>
                    <a:pt x="147" y="148"/>
                  </a:moveTo>
                  <a:cubicBezTo>
                    <a:pt x="137" y="158"/>
                    <a:pt x="124" y="164"/>
                    <a:pt x="110" y="166"/>
                  </a:cubicBezTo>
                  <a:cubicBezTo>
                    <a:pt x="110" y="133"/>
                    <a:pt x="110" y="133"/>
                    <a:pt x="110" y="133"/>
                  </a:cubicBezTo>
                  <a:cubicBezTo>
                    <a:pt x="115" y="131"/>
                    <a:pt x="120" y="129"/>
                    <a:pt x="124" y="125"/>
                  </a:cubicBezTo>
                  <a:cubicBezTo>
                    <a:pt x="128" y="121"/>
                    <a:pt x="130" y="116"/>
                    <a:pt x="132" y="111"/>
                  </a:cubicBezTo>
                  <a:cubicBezTo>
                    <a:pt x="165" y="111"/>
                    <a:pt x="165" y="111"/>
                    <a:pt x="165" y="111"/>
                  </a:cubicBezTo>
                  <a:cubicBezTo>
                    <a:pt x="163" y="125"/>
                    <a:pt x="157" y="138"/>
                    <a:pt x="147" y="148"/>
                  </a:cubicBezTo>
                  <a:close/>
                  <a:moveTo>
                    <a:pt x="132" y="95"/>
                  </a:moveTo>
                  <a:cubicBezTo>
                    <a:pt x="129" y="84"/>
                    <a:pt x="121" y="76"/>
                    <a:pt x="110" y="73"/>
                  </a:cubicBezTo>
                  <a:cubicBezTo>
                    <a:pt x="110" y="40"/>
                    <a:pt x="110" y="40"/>
                    <a:pt x="110" y="40"/>
                  </a:cubicBezTo>
                  <a:cubicBezTo>
                    <a:pt x="124" y="41"/>
                    <a:pt x="137" y="48"/>
                    <a:pt x="147" y="58"/>
                  </a:cubicBezTo>
                  <a:cubicBezTo>
                    <a:pt x="157" y="68"/>
                    <a:pt x="163" y="81"/>
                    <a:pt x="165" y="95"/>
                  </a:cubicBezTo>
                  <a:lnTo>
                    <a:pt x="132" y="95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Freeform 96"/>
            <p:cNvSpPr>
              <a:spLocks noEditPoints="1"/>
            </p:cNvSpPr>
            <p:nvPr/>
          </p:nvSpPr>
          <p:spPr bwMode="gray">
            <a:xfrm>
              <a:off x="9109375" y="4723133"/>
              <a:ext cx="254000" cy="254000"/>
            </a:xfrm>
            <a:custGeom>
              <a:avLst/>
              <a:gdLst>
                <a:gd name="T0" fmla="*/ 184 w 184"/>
                <a:gd name="T1" fmla="*/ 112 h 185"/>
                <a:gd name="T2" fmla="*/ 161 w 184"/>
                <a:gd name="T3" fmla="*/ 89 h 185"/>
                <a:gd name="T4" fmla="*/ 181 w 184"/>
                <a:gd name="T5" fmla="*/ 63 h 185"/>
                <a:gd name="T6" fmla="*/ 150 w 184"/>
                <a:gd name="T7" fmla="*/ 55 h 185"/>
                <a:gd name="T8" fmla="*/ 155 w 184"/>
                <a:gd name="T9" fmla="*/ 22 h 185"/>
                <a:gd name="T10" fmla="*/ 123 w 184"/>
                <a:gd name="T11" fmla="*/ 31 h 185"/>
                <a:gd name="T12" fmla="*/ 111 w 184"/>
                <a:gd name="T13" fmla="*/ 0 h 185"/>
                <a:gd name="T14" fmla="*/ 88 w 184"/>
                <a:gd name="T15" fmla="*/ 23 h 185"/>
                <a:gd name="T16" fmla="*/ 63 w 184"/>
                <a:gd name="T17" fmla="*/ 3 h 185"/>
                <a:gd name="T18" fmla="*/ 54 w 184"/>
                <a:gd name="T19" fmla="*/ 34 h 185"/>
                <a:gd name="T20" fmla="*/ 22 w 184"/>
                <a:gd name="T21" fmla="*/ 29 h 185"/>
                <a:gd name="T22" fmla="*/ 30 w 184"/>
                <a:gd name="T23" fmla="*/ 61 h 185"/>
                <a:gd name="T24" fmla="*/ 0 w 184"/>
                <a:gd name="T25" fmla="*/ 73 h 185"/>
                <a:gd name="T26" fmla="*/ 23 w 184"/>
                <a:gd name="T27" fmla="*/ 96 h 185"/>
                <a:gd name="T28" fmla="*/ 2 w 184"/>
                <a:gd name="T29" fmla="*/ 121 h 185"/>
                <a:gd name="T30" fmla="*/ 34 w 184"/>
                <a:gd name="T31" fmla="*/ 130 h 185"/>
                <a:gd name="T32" fmla="*/ 29 w 184"/>
                <a:gd name="T33" fmla="*/ 162 h 185"/>
                <a:gd name="T34" fmla="*/ 60 w 184"/>
                <a:gd name="T35" fmla="*/ 154 h 185"/>
                <a:gd name="T36" fmla="*/ 72 w 184"/>
                <a:gd name="T37" fmla="*/ 185 h 185"/>
                <a:gd name="T38" fmla="*/ 95 w 184"/>
                <a:gd name="T39" fmla="*/ 161 h 185"/>
                <a:gd name="T40" fmla="*/ 121 w 184"/>
                <a:gd name="T41" fmla="*/ 182 h 185"/>
                <a:gd name="T42" fmla="*/ 129 w 184"/>
                <a:gd name="T43" fmla="*/ 150 h 185"/>
                <a:gd name="T44" fmla="*/ 162 w 184"/>
                <a:gd name="T45" fmla="*/ 156 h 185"/>
                <a:gd name="T46" fmla="*/ 153 w 184"/>
                <a:gd name="T47" fmla="*/ 124 h 185"/>
                <a:gd name="T48" fmla="*/ 184 w 184"/>
                <a:gd name="T49" fmla="*/ 112 h 185"/>
                <a:gd name="T50" fmla="*/ 92 w 184"/>
                <a:gd name="T51" fmla="*/ 115 h 185"/>
                <a:gd name="T52" fmla="*/ 69 w 184"/>
                <a:gd name="T53" fmla="*/ 92 h 185"/>
                <a:gd name="T54" fmla="*/ 92 w 184"/>
                <a:gd name="T55" fmla="*/ 70 h 185"/>
                <a:gd name="T56" fmla="*/ 114 w 184"/>
                <a:gd name="T57" fmla="*/ 92 h 185"/>
                <a:gd name="T58" fmla="*/ 92 w 184"/>
                <a:gd name="T59" fmla="*/ 115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84" h="185">
                  <a:moveTo>
                    <a:pt x="184" y="112"/>
                  </a:moveTo>
                  <a:cubicBezTo>
                    <a:pt x="161" y="89"/>
                    <a:pt x="161" y="89"/>
                    <a:pt x="161" y="89"/>
                  </a:cubicBezTo>
                  <a:cubicBezTo>
                    <a:pt x="181" y="63"/>
                    <a:pt x="181" y="63"/>
                    <a:pt x="181" y="63"/>
                  </a:cubicBezTo>
                  <a:cubicBezTo>
                    <a:pt x="150" y="55"/>
                    <a:pt x="150" y="55"/>
                    <a:pt x="150" y="55"/>
                  </a:cubicBezTo>
                  <a:cubicBezTo>
                    <a:pt x="155" y="22"/>
                    <a:pt x="155" y="22"/>
                    <a:pt x="155" y="22"/>
                  </a:cubicBezTo>
                  <a:cubicBezTo>
                    <a:pt x="123" y="31"/>
                    <a:pt x="123" y="31"/>
                    <a:pt x="123" y="31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88" y="23"/>
                    <a:pt x="88" y="23"/>
                    <a:pt x="88" y="23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54" y="34"/>
                    <a:pt x="54" y="34"/>
                    <a:pt x="54" y="34"/>
                  </a:cubicBezTo>
                  <a:cubicBezTo>
                    <a:pt x="22" y="29"/>
                    <a:pt x="22" y="29"/>
                    <a:pt x="22" y="29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23" y="96"/>
                    <a:pt x="23" y="96"/>
                    <a:pt x="23" y="96"/>
                  </a:cubicBezTo>
                  <a:cubicBezTo>
                    <a:pt x="2" y="121"/>
                    <a:pt x="2" y="121"/>
                    <a:pt x="2" y="121"/>
                  </a:cubicBezTo>
                  <a:cubicBezTo>
                    <a:pt x="34" y="130"/>
                    <a:pt x="34" y="130"/>
                    <a:pt x="34" y="130"/>
                  </a:cubicBezTo>
                  <a:cubicBezTo>
                    <a:pt x="29" y="162"/>
                    <a:pt x="29" y="162"/>
                    <a:pt x="29" y="162"/>
                  </a:cubicBezTo>
                  <a:cubicBezTo>
                    <a:pt x="60" y="154"/>
                    <a:pt x="60" y="154"/>
                    <a:pt x="60" y="154"/>
                  </a:cubicBezTo>
                  <a:cubicBezTo>
                    <a:pt x="72" y="185"/>
                    <a:pt x="72" y="185"/>
                    <a:pt x="72" y="185"/>
                  </a:cubicBezTo>
                  <a:cubicBezTo>
                    <a:pt x="95" y="161"/>
                    <a:pt x="95" y="161"/>
                    <a:pt x="95" y="161"/>
                  </a:cubicBezTo>
                  <a:cubicBezTo>
                    <a:pt x="121" y="182"/>
                    <a:pt x="121" y="182"/>
                    <a:pt x="121" y="182"/>
                  </a:cubicBezTo>
                  <a:cubicBezTo>
                    <a:pt x="129" y="150"/>
                    <a:pt x="129" y="150"/>
                    <a:pt x="129" y="150"/>
                  </a:cubicBezTo>
                  <a:cubicBezTo>
                    <a:pt x="162" y="156"/>
                    <a:pt x="162" y="156"/>
                    <a:pt x="162" y="156"/>
                  </a:cubicBezTo>
                  <a:cubicBezTo>
                    <a:pt x="153" y="124"/>
                    <a:pt x="153" y="124"/>
                    <a:pt x="153" y="124"/>
                  </a:cubicBezTo>
                  <a:lnTo>
                    <a:pt x="184" y="112"/>
                  </a:lnTo>
                  <a:close/>
                  <a:moveTo>
                    <a:pt x="92" y="115"/>
                  </a:moveTo>
                  <a:cubicBezTo>
                    <a:pt x="79" y="115"/>
                    <a:pt x="69" y="105"/>
                    <a:pt x="69" y="92"/>
                  </a:cubicBezTo>
                  <a:cubicBezTo>
                    <a:pt x="69" y="80"/>
                    <a:pt x="79" y="70"/>
                    <a:pt x="92" y="70"/>
                  </a:cubicBezTo>
                  <a:cubicBezTo>
                    <a:pt x="104" y="70"/>
                    <a:pt x="114" y="80"/>
                    <a:pt x="114" y="92"/>
                  </a:cubicBezTo>
                  <a:cubicBezTo>
                    <a:pt x="114" y="105"/>
                    <a:pt x="104" y="115"/>
                    <a:pt x="92" y="115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Freeform 97"/>
            <p:cNvSpPr>
              <a:spLocks noEditPoints="1"/>
            </p:cNvSpPr>
            <p:nvPr/>
          </p:nvSpPr>
          <p:spPr bwMode="gray">
            <a:xfrm>
              <a:off x="9464975" y="4650108"/>
              <a:ext cx="358775" cy="355600"/>
            </a:xfrm>
            <a:custGeom>
              <a:avLst/>
              <a:gdLst>
                <a:gd name="T0" fmla="*/ 247 w 259"/>
                <a:gd name="T1" fmla="*/ 139 h 259"/>
                <a:gd name="T2" fmla="*/ 228 w 259"/>
                <a:gd name="T3" fmla="*/ 133 h 259"/>
                <a:gd name="T4" fmla="*/ 224 w 259"/>
                <a:gd name="T5" fmla="*/ 103 h 259"/>
                <a:gd name="T6" fmla="*/ 241 w 259"/>
                <a:gd name="T7" fmla="*/ 94 h 259"/>
                <a:gd name="T8" fmla="*/ 247 w 259"/>
                <a:gd name="T9" fmla="*/ 73 h 259"/>
                <a:gd name="T10" fmla="*/ 239 w 259"/>
                <a:gd name="T11" fmla="*/ 59 h 259"/>
                <a:gd name="T12" fmla="*/ 219 w 259"/>
                <a:gd name="T13" fmla="*/ 53 h 259"/>
                <a:gd name="T14" fmla="*/ 202 w 259"/>
                <a:gd name="T15" fmla="*/ 63 h 259"/>
                <a:gd name="T16" fmla="*/ 178 w 259"/>
                <a:gd name="T17" fmla="*/ 44 h 259"/>
                <a:gd name="T18" fmla="*/ 183 w 259"/>
                <a:gd name="T19" fmla="*/ 25 h 259"/>
                <a:gd name="T20" fmla="*/ 173 w 259"/>
                <a:gd name="T21" fmla="*/ 7 h 259"/>
                <a:gd name="T22" fmla="*/ 157 w 259"/>
                <a:gd name="T23" fmla="*/ 2 h 259"/>
                <a:gd name="T24" fmla="*/ 138 w 259"/>
                <a:gd name="T25" fmla="*/ 12 h 259"/>
                <a:gd name="T26" fmla="*/ 133 w 259"/>
                <a:gd name="T27" fmla="*/ 31 h 259"/>
                <a:gd name="T28" fmla="*/ 103 w 259"/>
                <a:gd name="T29" fmla="*/ 35 h 259"/>
                <a:gd name="T30" fmla="*/ 93 w 259"/>
                <a:gd name="T31" fmla="*/ 18 h 259"/>
                <a:gd name="T32" fmla="*/ 73 w 259"/>
                <a:gd name="T33" fmla="*/ 12 h 259"/>
                <a:gd name="T34" fmla="*/ 59 w 259"/>
                <a:gd name="T35" fmla="*/ 20 h 259"/>
                <a:gd name="T36" fmla="*/ 53 w 259"/>
                <a:gd name="T37" fmla="*/ 40 h 259"/>
                <a:gd name="T38" fmla="*/ 63 w 259"/>
                <a:gd name="T39" fmla="*/ 58 h 259"/>
                <a:gd name="T40" fmla="*/ 44 w 259"/>
                <a:gd name="T41" fmla="*/ 81 h 259"/>
                <a:gd name="T42" fmla="*/ 25 w 259"/>
                <a:gd name="T43" fmla="*/ 76 h 259"/>
                <a:gd name="T44" fmla="*/ 7 w 259"/>
                <a:gd name="T45" fmla="*/ 86 h 259"/>
                <a:gd name="T46" fmla="*/ 2 w 259"/>
                <a:gd name="T47" fmla="*/ 103 h 259"/>
                <a:gd name="T48" fmla="*/ 12 w 259"/>
                <a:gd name="T49" fmla="*/ 121 h 259"/>
                <a:gd name="T50" fmla="*/ 31 w 259"/>
                <a:gd name="T51" fmla="*/ 126 h 259"/>
                <a:gd name="T52" fmla="*/ 35 w 259"/>
                <a:gd name="T53" fmla="*/ 156 h 259"/>
                <a:gd name="T54" fmla="*/ 18 w 259"/>
                <a:gd name="T55" fmla="*/ 166 h 259"/>
                <a:gd name="T56" fmla="*/ 12 w 259"/>
                <a:gd name="T57" fmla="*/ 186 h 259"/>
                <a:gd name="T58" fmla="*/ 20 w 259"/>
                <a:gd name="T59" fmla="*/ 201 h 259"/>
                <a:gd name="T60" fmla="*/ 40 w 259"/>
                <a:gd name="T61" fmla="*/ 206 h 259"/>
                <a:gd name="T62" fmla="*/ 58 w 259"/>
                <a:gd name="T63" fmla="*/ 197 h 259"/>
                <a:gd name="T64" fmla="*/ 81 w 259"/>
                <a:gd name="T65" fmla="*/ 215 h 259"/>
                <a:gd name="T66" fmla="*/ 76 w 259"/>
                <a:gd name="T67" fmla="*/ 234 h 259"/>
                <a:gd name="T68" fmla="*/ 86 w 259"/>
                <a:gd name="T69" fmla="*/ 253 h 259"/>
                <a:gd name="T70" fmla="*/ 102 w 259"/>
                <a:gd name="T71" fmla="*/ 257 h 259"/>
                <a:gd name="T72" fmla="*/ 121 w 259"/>
                <a:gd name="T73" fmla="*/ 247 h 259"/>
                <a:gd name="T74" fmla="*/ 126 w 259"/>
                <a:gd name="T75" fmla="*/ 228 h 259"/>
                <a:gd name="T76" fmla="*/ 156 w 259"/>
                <a:gd name="T77" fmla="*/ 224 h 259"/>
                <a:gd name="T78" fmla="*/ 166 w 259"/>
                <a:gd name="T79" fmla="*/ 242 h 259"/>
                <a:gd name="T80" fmla="*/ 186 w 259"/>
                <a:gd name="T81" fmla="*/ 247 h 259"/>
                <a:gd name="T82" fmla="*/ 200 w 259"/>
                <a:gd name="T83" fmla="*/ 239 h 259"/>
                <a:gd name="T84" fmla="*/ 206 w 259"/>
                <a:gd name="T85" fmla="*/ 219 h 259"/>
                <a:gd name="T86" fmla="*/ 197 w 259"/>
                <a:gd name="T87" fmla="*/ 202 h 259"/>
                <a:gd name="T88" fmla="*/ 215 w 259"/>
                <a:gd name="T89" fmla="*/ 178 h 259"/>
                <a:gd name="T90" fmla="*/ 234 w 259"/>
                <a:gd name="T91" fmla="*/ 183 h 259"/>
                <a:gd name="T92" fmla="*/ 252 w 259"/>
                <a:gd name="T93" fmla="*/ 173 h 259"/>
                <a:gd name="T94" fmla="*/ 257 w 259"/>
                <a:gd name="T95" fmla="*/ 157 h 259"/>
                <a:gd name="T96" fmla="*/ 247 w 259"/>
                <a:gd name="T97" fmla="*/ 139 h 259"/>
                <a:gd name="T98" fmla="*/ 116 w 259"/>
                <a:gd name="T99" fmla="*/ 178 h 259"/>
                <a:gd name="T100" fmla="*/ 82 w 259"/>
                <a:gd name="T101" fmla="*/ 116 h 259"/>
                <a:gd name="T102" fmla="*/ 143 w 259"/>
                <a:gd name="T103" fmla="*/ 82 h 259"/>
                <a:gd name="T104" fmla="*/ 177 w 259"/>
                <a:gd name="T105" fmla="*/ 143 h 259"/>
                <a:gd name="T106" fmla="*/ 116 w 259"/>
                <a:gd name="T107" fmla="*/ 178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59" h="259">
                  <a:moveTo>
                    <a:pt x="247" y="139"/>
                  </a:moveTo>
                  <a:cubicBezTo>
                    <a:pt x="228" y="133"/>
                    <a:pt x="228" y="133"/>
                    <a:pt x="228" y="133"/>
                  </a:cubicBezTo>
                  <a:cubicBezTo>
                    <a:pt x="228" y="123"/>
                    <a:pt x="227" y="113"/>
                    <a:pt x="224" y="103"/>
                  </a:cubicBezTo>
                  <a:cubicBezTo>
                    <a:pt x="241" y="94"/>
                    <a:pt x="241" y="94"/>
                    <a:pt x="241" y="94"/>
                  </a:cubicBezTo>
                  <a:cubicBezTo>
                    <a:pt x="249" y="90"/>
                    <a:pt x="251" y="81"/>
                    <a:pt x="247" y="73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5" y="52"/>
                    <a:pt x="226" y="49"/>
                    <a:pt x="219" y="53"/>
                  </a:cubicBezTo>
                  <a:cubicBezTo>
                    <a:pt x="202" y="63"/>
                    <a:pt x="202" y="63"/>
                    <a:pt x="202" y="63"/>
                  </a:cubicBezTo>
                  <a:cubicBezTo>
                    <a:pt x="195" y="55"/>
                    <a:pt x="187" y="49"/>
                    <a:pt x="178" y="44"/>
                  </a:cubicBezTo>
                  <a:cubicBezTo>
                    <a:pt x="183" y="25"/>
                    <a:pt x="183" y="25"/>
                    <a:pt x="183" y="25"/>
                  </a:cubicBezTo>
                  <a:cubicBezTo>
                    <a:pt x="185" y="17"/>
                    <a:pt x="181" y="9"/>
                    <a:pt x="173" y="7"/>
                  </a:cubicBezTo>
                  <a:cubicBezTo>
                    <a:pt x="157" y="2"/>
                    <a:pt x="157" y="2"/>
                    <a:pt x="157" y="2"/>
                  </a:cubicBezTo>
                  <a:cubicBezTo>
                    <a:pt x="149" y="0"/>
                    <a:pt x="141" y="5"/>
                    <a:pt x="138" y="12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23" y="31"/>
                    <a:pt x="113" y="32"/>
                    <a:pt x="103" y="35"/>
                  </a:cubicBezTo>
                  <a:cubicBezTo>
                    <a:pt x="93" y="18"/>
                    <a:pt x="93" y="18"/>
                    <a:pt x="93" y="18"/>
                  </a:cubicBezTo>
                  <a:cubicBezTo>
                    <a:pt x="90" y="11"/>
                    <a:pt x="80" y="8"/>
                    <a:pt x="73" y="12"/>
                  </a:cubicBezTo>
                  <a:cubicBezTo>
                    <a:pt x="59" y="20"/>
                    <a:pt x="59" y="20"/>
                    <a:pt x="59" y="20"/>
                  </a:cubicBezTo>
                  <a:cubicBezTo>
                    <a:pt x="51" y="24"/>
                    <a:pt x="49" y="33"/>
                    <a:pt x="53" y="40"/>
                  </a:cubicBezTo>
                  <a:cubicBezTo>
                    <a:pt x="63" y="58"/>
                    <a:pt x="63" y="58"/>
                    <a:pt x="63" y="58"/>
                  </a:cubicBezTo>
                  <a:cubicBezTo>
                    <a:pt x="55" y="64"/>
                    <a:pt x="49" y="72"/>
                    <a:pt x="44" y="81"/>
                  </a:cubicBezTo>
                  <a:cubicBezTo>
                    <a:pt x="25" y="76"/>
                    <a:pt x="25" y="76"/>
                    <a:pt x="25" y="76"/>
                  </a:cubicBezTo>
                  <a:cubicBezTo>
                    <a:pt x="17" y="74"/>
                    <a:pt x="9" y="78"/>
                    <a:pt x="7" y="86"/>
                  </a:cubicBezTo>
                  <a:cubicBezTo>
                    <a:pt x="2" y="103"/>
                    <a:pt x="2" y="103"/>
                    <a:pt x="2" y="103"/>
                  </a:cubicBezTo>
                  <a:cubicBezTo>
                    <a:pt x="0" y="110"/>
                    <a:pt x="4" y="119"/>
                    <a:pt x="12" y="121"/>
                  </a:cubicBezTo>
                  <a:cubicBezTo>
                    <a:pt x="31" y="126"/>
                    <a:pt x="31" y="126"/>
                    <a:pt x="31" y="126"/>
                  </a:cubicBezTo>
                  <a:cubicBezTo>
                    <a:pt x="31" y="136"/>
                    <a:pt x="32" y="146"/>
                    <a:pt x="35" y="156"/>
                  </a:cubicBezTo>
                  <a:cubicBezTo>
                    <a:pt x="18" y="166"/>
                    <a:pt x="18" y="166"/>
                    <a:pt x="18" y="166"/>
                  </a:cubicBezTo>
                  <a:cubicBezTo>
                    <a:pt x="11" y="170"/>
                    <a:pt x="8" y="179"/>
                    <a:pt x="12" y="186"/>
                  </a:cubicBezTo>
                  <a:cubicBezTo>
                    <a:pt x="20" y="201"/>
                    <a:pt x="20" y="201"/>
                    <a:pt x="20" y="201"/>
                  </a:cubicBezTo>
                  <a:cubicBezTo>
                    <a:pt x="24" y="208"/>
                    <a:pt x="33" y="210"/>
                    <a:pt x="40" y="206"/>
                  </a:cubicBezTo>
                  <a:cubicBezTo>
                    <a:pt x="58" y="197"/>
                    <a:pt x="58" y="197"/>
                    <a:pt x="58" y="197"/>
                  </a:cubicBezTo>
                  <a:cubicBezTo>
                    <a:pt x="64" y="204"/>
                    <a:pt x="72" y="210"/>
                    <a:pt x="81" y="215"/>
                  </a:cubicBezTo>
                  <a:cubicBezTo>
                    <a:pt x="76" y="234"/>
                    <a:pt x="76" y="234"/>
                    <a:pt x="76" y="234"/>
                  </a:cubicBezTo>
                  <a:cubicBezTo>
                    <a:pt x="74" y="242"/>
                    <a:pt x="78" y="250"/>
                    <a:pt x="86" y="253"/>
                  </a:cubicBezTo>
                  <a:cubicBezTo>
                    <a:pt x="102" y="257"/>
                    <a:pt x="102" y="257"/>
                    <a:pt x="102" y="257"/>
                  </a:cubicBezTo>
                  <a:cubicBezTo>
                    <a:pt x="110" y="259"/>
                    <a:pt x="118" y="255"/>
                    <a:pt x="121" y="247"/>
                  </a:cubicBezTo>
                  <a:cubicBezTo>
                    <a:pt x="126" y="228"/>
                    <a:pt x="126" y="228"/>
                    <a:pt x="126" y="228"/>
                  </a:cubicBezTo>
                  <a:cubicBezTo>
                    <a:pt x="136" y="228"/>
                    <a:pt x="146" y="227"/>
                    <a:pt x="156" y="224"/>
                  </a:cubicBezTo>
                  <a:cubicBezTo>
                    <a:pt x="166" y="242"/>
                    <a:pt x="166" y="242"/>
                    <a:pt x="166" y="242"/>
                  </a:cubicBezTo>
                  <a:cubicBezTo>
                    <a:pt x="170" y="249"/>
                    <a:pt x="179" y="251"/>
                    <a:pt x="186" y="247"/>
                  </a:cubicBezTo>
                  <a:cubicBezTo>
                    <a:pt x="200" y="239"/>
                    <a:pt x="200" y="239"/>
                    <a:pt x="200" y="239"/>
                  </a:cubicBezTo>
                  <a:cubicBezTo>
                    <a:pt x="208" y="235"/>
                    <a:pt x="210" y="226"/>
                    <a:pt x="206" y="219"/>
                  </a:cubicBezTo>
                  <a:cubicBezTo>
                    <a:pt x="197" y="202"/>
                    <a:pt x="197" y="202"/>
                    <a:pt x="197" y="202"/>
                  </a:cubicBezTo>
                  <a:cubicBezTo>
                    <a:pt x="204" y="195"/>
                    <a:pt x="210" y="187"/>
                    <a:pt x="215" y="178"/>
                  </a:cubicBezTo>
                  <a:cubicBezTo>
                    <a:pt x="234" y="183"/>
                    <a:pt x="234" y="183"/>
                    <a:pt x="234" y="183"/>
                  </a:cubicBezTo>
                  <a:cubicBezTo>
                    <a:pt x="242" y="185"/>
                    <a:pt x="250" y="181"/>
                    <a:pt x="252" y="173"/>
                  </a:cubicBezTo>
                  <a:cubicBezTo>
                    <a:pt x="257" y="157"/>
                    <a:pt x="257" y="157"/>
                    <a:pt x="257" y="157"/>
                  </a:cubicBezTo>
                  <a:cubicBezTo>
                    <a:pt x="259" y="149"/>
                    <a:pt x="255" y="141"/>
                    <a:pt x="247" y="139"/>
                  </a:cubicBezTo>
                  <a:close/>
                  <a:moveTo>
                    <a:pt x="116" y="178"/>
                  </a:moveTo>
                  <a:cubicBezTo>
                    <a:pt x="90" y="170"/>
                    <a:pt x="74" y="143"/>
                    <a:pt x="82" y="116"/>
                  </a:cubicBezTo>
                  <a:cubicBezTo>
                    <a:pt x="89" y="90"/>
                    <a:pt x="117" y="74"/>
                    <a:pt x="143" y="82"/>
                  </a:cubicBezTo>
                  <a:cubicBezTo>
                    <a:pt x="169" y="89"/>
                    <a:pt x="185" y="117"/>
                    <a:pt x="177" y="143"/>
                  </a:cubicBezTo>
                  <a:cubicBezTo>
                    <a:pt x="170" y="170"/>
                    <a:pt x="142" y="185"/>
                    <a:pt x="116" y="178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2" name="Freeform 98"/>
            <p:cNvSpPr>
              <a:spLocks noEditPoints="1"/>
            </p:cNvSpPr>
            <p:nvPr/>
          </p:nvSpPr>
          <p:spPr bwMode="gray">
            <a:xfrm>
              <a:off x="9818987" y="4658045"/>
              <a:ext cx="227013" cy="228600"/>
            </a:xfrm>
            <a:custGeom>
              <a:avLst/>
              <a:gdLst>
                <a:gd name="T0" fmla="*/ 165 w 165"/>
                <a:gd name="T1" fmla="*/ 75 h 166"/>
                <a:gd name="T2" fmla="*/ 165 w 165"/>
                <a:gd name="T3" fmla="*/ 75 h 166"/>
                <a:gd name="T4" fmla="*/ 151 w 165"/>
                <a:gd name="T5" fmla="*/ 63 h 166"/>
                <a:gd name="T6" fmla="*/ 156 w 165"/>
                <a:gd name="T7" fmla="*/ 44 h 166"/>
                <a:gd name="T8" fmla="*/ 138 w 165"/>
                <a:gd name="T9" fmla="*/ 38 h 166"/>
                <a:gd name="T10" fmla="*/ 136 w 165"/>
                <a:gd name="T11" fmla="*/ 19 h 166"/>
                <a:gd name="T12" fmla="*/ 117 w 165"/>
                <a:gd name="T13" fmla="*/ 20 h 166"/>
                <a:gd name="T14" fmla="*/ 107 w 165"/>
                <a:gd name="T15" fmla="*/ 3 h 166"/>
                <a:gd name="T16" fmla="*/ 90 w 165"/>
                <a:gd name="T17" fmla="*/ 12 h 166"/>
                <a:gd name="T18" fmla="*/ 90 w 165"/>
                <a:gd name="T19" fmla="*/ 0 h 166"/>
                <a:gd name="T20" fmla="*/ 75 w 165"/>
                <a:gd name="T21" fmla="*/ 0 h 166"/>
                <a:gd name="T22" fmla="*/ 62 w 165"/>
                <a:gd name="T23" fmla="*/ 14 h 166"/>
                <a:gd name="T24" fmla="*/ 44 w 165"/>
                <a:gd name="T25" fmla="*/ 9 h 166"/>
                <a:gd name="T26" fmla="*/ 36 w 165"/>
                <a:gd name="T27" fmla="*/ 27 h 166"/>
                <a:gd name="T28" fmla="*/ 18 w 165"/>
                <a:gd name="T29" fmla="*/ 30 h 166"/>
                <a:gd name="T30" fmla="*/ 19 w 165"/>
                <a:gd name="T31" fmla="*/ 48 h 166"/>
                <a:gd name="T32" fmla="*/ 3 w 165"/>
                <a:gd name="T33" fmla="*/ 58 h 166"/>
                <a:gd name="T34" fmla="*/ 10 w 165"/>
                <a:gd name="T35" fmla="*/ 75 h 166"/>
                <a:gd name="T36" fmla="*/ 0 w 165"/>
                <a:gd name="T37" fmla="*/ 75 h 166"/>
                <a:gd name="T38" fmla="*/ 0 w 165"/>
                <a:gd name="T39" fmla="*/ 80 h 166"/>
                <a:gd name="T40" fmla="*/ 0 w 165"/>
                <a:gd name="T41" fmla="*/ 90 h 166"/>
                <a:gd name="T42" fmla="*/ 10 w 165"/>
                <a:gd name="T43" fmla="*/ 90 h 166"/>
                <a:gd name="T44" fmla="*/ 3 w 165"/>
                <a:gd name="T45" fmla="*/ 107 h 166"/>
                <a:gd name="T46" fmla="*/ 18 w 165"/>
                <a:gd name="T47" fmla="*/ 118 h 166"/>
                <a:gd name="T48" fmla="*/ 18 w 165"/>
                <a:gd name="T49" fmla="*/ 136 h 166"/>
                <a:gd name="T50" fmla="*/ 36 w 165"/>
                <a:gd name="T51" fmla="*/ 140 h 166"/>
                <a:gd name="T52" fmla="*/ 44 w 165"/>
                <a:gd name="T53" fmla="*/ 156 h 166"/>
                <a:gd name="T54" fmla="*/ 62 w 165"/>
                <a:gd name="T55" fmla="*/ 153 h 166"/>
                <a:gd name="T56" fmla="*/ 75 w 165"/>
                <a:gd name="T57" fmla="*/ 166 h 166"/>
                <a:gd name="T58" fmla="*/ 90 w 165"/>
                <a:gd name="T59" fmla="*/ 166 h 166"/>
                <a:gd name="T60" fmla="*/ 90 w 165"/>
                <a:gd name="T61" fmla="*/ 155 h 166"/>
                <a:gd name="T62" fmla="*/ 107 w 165"/>
                <a:gd name="T63" fmla="*/ 162 h 166"/>
                <a:gd name="T64" fmla="*/ 117 w 165"/>
                <a:gd name="T65" fmla="*/ 146 h 166"/>
                <a:gd name="T66" fmla="*/ 135 w 165"/>
                <a:gd name="T67" fmla="*/ 147 h 166"/>
                <a:gd name="T68" fmla="*/ 138 w 165"/>
                <a:gd name="T69" fmla="*/ 129 h 166"/>
                <a:gd name="T70" fmla="*/ 156 w 165"/>
                <a:gd name="T71" fmla="*/ 122 h 166"/>
                <a:gd name="T72" fmla="*/ 151 w 165"/>
                <a:gd name="T73" fmla="*/ 103 h 166"/>
                <a:gd name="T74" fmla="*/ 165 w 165"/>
                <a:gd name="T75" fmla="*/ 90 h 166"/>
                <a:gd name="T76" fmla="*/ 133 w 165"/>
                <a:gd name="T77" fmla="*/ 75 h 166"/>
                <a:gd name="T78" fmla="*/ 104 w 165"/>
                <a:gd name="T79" fmla="*/ 71 h 166"/>
                <a:gd name="T80" fmla="*/ 113 w 165"/>
                <a:gd name="T81" fmla="*/ 42 h 166"/>
                <a:gd name="T82" fmla="*/ 90 w 165"/>
                <a:gd name="T83" fmla="*/ 59 h 166"/>
                <a:gd name="T84" fmla="*/ 113 w 165"/>
                <a:gd name="T85" fmla="*/ 42 h 166"/>
                <a:gd name="T86" fmla="*/ 75 w 165"/>
                <a:gd name="T87" fmla="*/ 90 h 166"/>
                <a:gd name="T88" fmla="*/ 90 w 165"/>
                <a:gd name="T89" fmla="*/ 76 h 166"/>
                <a:gd name="T90" fmla="*/ 75 w 165"/>
                <a:gd name="T91" fmla="*/ 32 h 166"/>
                <a:gd name="T92" fmla="*/ 69 w 165"/>
                <a:gd name="T93" fmla="*/ 61 h 166"/>
                <a:gd name="T94" fmla="*/ 75 w 165"/>
                <a:gd name="T95" fmla="*/ 32 h 166"/>
                <a:gd name="T96" fmla="*/ 60 w 165"/>
                <a:gd name="T97" fmla="*/ 71 h 166"/>
                <a:gd name="T98" fmla="*/ 31 w 165"/>
                <a:gd name="T99" fmla="*/ 75 h 166"/>
                <a:gd name="T100" fmla="*/ 41 w 165"/>
                <a:gd name="T101" fmla="*/ 115 h 166"/>
                <a:gd name="T102" fmla="*/ 57 w 165"/>
                <a:gd name="T103" fmla="*/ 90 h 166"/>
                <a:gd name="T104" fmla="*/ 41 w 165"/>
                <a:gd name="T105" fmla="*/ 115 h 166"/>
                <a:gd name="T106" fmla="*/ 69 w 165"/>
                <a:gd name="T107" fmla="*/ 106 h 166"/>
                <a:gd name="T108" fmla="*/ 75 w 165"/>
                <a:gd name="T109" fmla="*/ 135 h 166"/>
                <a:gd name="T110" fmla="*/ 90 w 165"/>
                <a:gd name="T111" fmla="*/ 135 h 166"/>
                <a:gd name="T112" fmla="*/ 94 w 165"/>
                <a:gd name="T113" fmla="*/ 106 h 166"/>
                <a:gd name="T114" fmla="*/ 90 w 165"/>
                <a:gd name="T115" fmla="*/ 135 h 166"/>
                <a:gd name="T116" fmla="*/ 104 w 165"/>
                <a:gd name="T117" fmla="*/ 96 h 166"/>
                <a:gd name="T118" fmla="*/ 133 w 165"/>
                <a:gd name="T119" fmla="*/ 9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5" h="166">
                  <a:moveTo>
                    <a:pt x="165" y="90"/>
                  </a:moveTo>
                  <a:cubicBezTo>
                    <a:pt x="165" y="75"/>
                    <a:pt x="165" y="75"/>
                    <a:pt x="165" y="75"/>
                  </a:cubicBezTo>
                  <a:cubicBezTo>
                    <a:pt x="165" y="75"/>
                    <a:pt x="165" y="75"/>
                    <a:pt x="165" y="75"/>
                  </a:cubicBezTo>
                  <a:cubicBezTo>
                    <a:pt x="165" y="75"/>
                    <a:pt x="165" y="75"/>
                    <a:pt x="165" y="75"/>
                  </a:cubicBezTo>
                  <a:cubicBezTo>
                    <a:pt x="154" y="75"/>
                    <a:pt x="154" y="75"/>
                    <a:pt x="154" y="75"/>
                  </a:cubicBezTo>
                  <a:cubicBezTo>
                    <a:pt x="153" y="71"/>
                    <a:pt x="152" y="67"/>
                    <a:pt x="151" y="63"/>
                  </a:cubicBezTo>
                  <a:cubicBezTo>
                    <a:pt x="162" y="58"/>
                    <a:pt x="162" y="58"/>
                    <a:pt x="162" y="58"/>
                  </a:cubicBezTo>
                  <a:cubicBezTo>
                    <a:pt x="156" y="44"/>
                    <a:pt x="156" y="44"/>
                    <a:pt x="156" y="44"/>
                  </a:cubicBezTo>
                  <a:cubicBezTo>
                    <a:pt x="145" y="49"/>
                    <a:pt x="145" y="49"/>
                    <a:pt x="145" y="49"/>
                  </a:cubicBezTo>
                  <a:cubicBezTo>
                    <a:pt x="143" y="45"/>
                    <a:pt x="141" y="41"/>
                    <a:pt x="138" y="38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36" y="19"/>
                    <a:pt x="136" y="19"/>
                    <a:pt x="136" y="19"/>
                  </a:cubicBezTo>
                  <a:cubicBezTo>
                    <a:pt x="127" y="27"/>
                    <a:pt x="127" y="27"/>
                    <a:pt x="127" y="27"/>
                  </a:cubicBezTo>
                  <a:cubicBezTo>
                    <a:pt x="124" y="25"/>
                    <a:pt x="120" y="22"/>
                    <a:pt x="117" y="20"/>
                  </a:cubicBezTo>
                  <a:cubicBezTo>
                    <a:pt x="121" y="9"/>
                    <a:pt x="121" y="9"/>
                    <a:pt x="121" y="9"/>
                  </a:cubicBezTo>
                  <a:cubicBezTo>
                    <a:pt x="107" y="3"/>
                    <a:pt x="107" y="3"/>
                    <a:pt x="107" y="3"/>
                  </a:cubicBezTo>
                  <a:cubicBezTo>
                    <a:pt x="103" y="14"/>
                    <a:pt x="103" y="14"/>
                    <a:pt x="103" y="14"/>
                  </a:cubicBezTo>
                  <a:cubicBezTo>
                    <a:pt x="99" y="13"/>
                    <a:pt x="94" y="12"/>
                    <a:pt x="90" y="12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5" y="12"/>
                    <a:pt x="75" y="12"/>
                    <a:pt x="75" y="12"/>
                  </a:cubicBezTo>
                  <a:cubicBezTo>
                    <a:pt x="71" y="12"/>
                    <a:pt x="66" y="13"/>
                    <a:pt x="62" y="14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44" y="22"/>
                    <a:pt x="40" y="24"/>
                    <a:pt x="36" y="27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3" y="41"/>
                    <a:pt x="21" y="45"/>
                    <a:pt x="19" y="48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11" y="66"/>
                    <a:pt x="11" y="71"/>
                    <a:pt x="1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0" y="95"/>
                    <a:pt x="11" y="99"/>
                    <a:pt x="12" y="103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9" y="121"/>
                    <a:pt x="9" y="121"/>
                    <a:pt x="9" y="121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20" y="122"/>
                    <a:pt x="23" y="125"/>
                    <a:pt x="26" y="129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29" y="147"/>
                    <a:pt x="29" y="147"/>
                    <a:pt x="29" y="147"/>
                  </a:cubicBezTo>
                  <a:cubicBezTo>
                    <a:pt x="36" y="140"/>
                    <a:pt x="36" y="140"/>
                    <a:pt x="36" y="140"/>
                  </a:cubicBezTo>
                  <a:cubicBezTo>
                    <a:pt x="40" y="142"/>
                    <a:pt x="44" y="145"/>
                    <a:pt x="48" y="147"/>
                  </a:cubicBezTo>
                  <a:cubicBezTo>
                    <a:pt x="44" y="156"/>
                    <a:pt x="44" y="156"/>
                    <a:pt x="44" y="156"/>
                  </a:cubicBezTo>
                  <a:cubicBezTo>
                    <a:pt x="58" y="162"/>
                    <a:pt x="58" y="162"/>
                    <a:pt x="58" y="162"/>
                  </a:cubicBezTo>
                  <a:cubicBezTo>
                    <a:pt x="62" y="153"/>
                    <a:pt x="62" y="153"/>
                    <a:pt x="62" y="153"/>
                  </a:cubicBezTo>
                  <a:cubicBezTo>
                    <a:pt x="66" y="154"/>
                    <a:pt x="70" y="155"/>
                    <a:pt x="75" y="155"/>
                  </a:cubicBezTo>
                  <a:cubicBezTo>
                    <a:pt x="75" y="166"/>
                    <a:pt x="75" y="166"/>
                    <a:pt x="75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55"/>
                    <a:pt x="90" y="155"/>
                    <a:pt x="90" y="155"/>
                  </a:cubicBezTo>
                  <a:cubicBezTo>
                    <a:pt x="94" y="155"/>
                    <a:pt x="99" y="154"/>
                    <a:pt x="103" y="152"/>
                  </a:cubicBezTo>
                  <a:cubicBezTo>
                    <a:pt x="107" y="162"/>
                    <a:pt x="107" y="162"/>
                    <a:pt x="107" y="162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17" y="146"/>
                    <a:pt x="117" y="146"/>
                    <a:pt x="117" y="146"/>
                  </a:cubicBezTo>
                  <a:cubicBezTo>
                    <a:pt x="121" y="144"/>
                    <a:pt x="124" y="142"/>
                    <a:pt x="127" y="140"/>
                  </a:cubicBezTo>
                  <a:cubicBezTo>
                    <a:pt x="135" y="147"/>
                    <a:pt x="135" y="147"/>
                    <a:pt x="135" y="147"/>
                  </a:cubicBezTo>
                  <a:cubicBezTo>
                    <a:pt x="146" y="137"/>
                    <a:pt x="146" y="137"/>
                    <a:pt x="146" y="137"/>
                  </a:cubicBezTo>
                  <a:cubicBezTo>
                    <a:pt x="138" y="129"/>
                    <a:pt x="138" y="129"/>
                    <a:pt x="138" y="129"/>
                  </a:cubicBezTo>
                  <a:cubicBezTo>
                    <a:pt x="141" y="125"/>
                    <a:pt x="143" y="121"/>
                    <a:pt x="146" y="117"/>
                  </a:cubicBezTo>
                  <a:cubicBezTo>
                    <a:pt x="156" y="122"/>
                    <a:pt x="156" y="122"/>
                    <a:pt x="156" y="122"/>
                  </a:cubicBezTo>
                  <a:cubicBezTo>
                    <a:pt x="162" y="108"/>
                    <a:pt x="162" y="108"/>
                    <a:pt x="162" y="108"/>
                  </a:cubicBezTo>
                  <a:cubicBezTo>
                    <a:pt x="151" y="103"/>
                    <a:pt x="151" y="103"/>
                    <a:pt x="151" y="103"/>
                  </a:cubicBezTo>
                  <a:cubicBezTo>
                    <a:pt x="152" y="99"/>
                    <a:pt x="153" y="95"/>
                    <a:pt x="154" y="90"/>
                  </a:cubicBezTo>
                  <a:lnTo>
                    <a:pt x="165" y="90"/>
                  </a:lnTo>
                  <a:close/>
                  <a:moveTo>
                    <a:pt x="123" y="52"/>
                  </a:moveTo>
                  <a:cubicBezTo>
                    <a:pt x="128" y="59"/>
                    <a:pt x="132" y="67"/>
                    <a:pt x="133" y="75"/>
                  </a:cubicBezTo>
                  <a:cubicBezTo>
                    <a:pt x="106" y="75"/>
                    <a:pt x="106" y="75"/>
                    <a:pt x="106" y="75"/>
                  </a:cubicBezTo>
                  <a:cubicBezTo>
                    <a:pt x="105" y="74"/>
                    <a:pt x="105" y="72"/>
                    <a:pt x="104" y="71"/>
                  </a:cubicBezTo>
                  <a:lnTo>
                    <a:pt x="123" y="52"/>
                  </a:lnTo>
                  <a:close/>
                  <a:moveTo>
                    <a:pt x="113" y="42"/>
                  </a:moveTo>
                  <a:cubicBezTo>
                    <a:pt x="94" y="61"/>
                    <a:pt x="94" y="61"/>
                    <a:pt x="94" y="61"/>
                  </a:cubicBezTo>
                  <a:cubicBezTo>
                    <a:pt x="93" y="61"/>
                    <a:pt x="92" y="60"/>
                    <a:pt x="90" y="59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9" y="34"/>
                    <a:pt x="107" y="37"/>
                    <a:pt x="113" y="42"/>
                  </a:cubicBezTo>
                  <a:close/>
                  <a:moveTo>
                    <a:pt x="90" y="90"/>
                  </a:moveTo>
                  <a:cubicBezTo>
                    <a:pt x="86" y="94"/>
                    <a:pt x="79" y="94"/>
                    <a:pt x="75" y="90"/>
                  </a:cubicBezTo>
                  <a:cubicBezTo>
                    <a:pt x="71" y="86"/>
                    <a:pt x="71" y="80"/>
                    <a:pt x="75" y="76"/>
                  </a:cubicBezTo>
                  <a:cubicBezTo>
                    <a:pt x="79" y="72"/>
                    <a:pt x="86" y="72"/>
                    <a:pt x="90" y="76"/>
                  </a:cubicBezTo>
                  <a:cubicBezTo>
                    <a:pt x="94" y="80"/>
                    <a:pt x="94" y="86"/>
                    <a:pt x="90" y="90"/>
                  </a:cubicBezTo>
                  <a:close/>
                  <a:moveTo>
                    <a:pt x="75" y="32"/>
                  </a:moveTo>
                  <a:cubicBezTo>
                    <a:pt x="75" y="59"/>
                    <a:pt x="75" y="59"/>
                    <a:pt x="75" y="59"/>
                  </a:cubicBezTo>
                  <a:cubicBezTo>
                    <a:pt x="73" y="60"/>
                    <a:pt x="71" y="60"/>
                    <a:pt x="69" y="61"/>
                  </a:cubicBezTo>
                  <a:cubicBezTo>
                    <a:pt x="50" y="42"/>
                    <a:pt x="50" y="42"/>
                    <a:pt x="50" y="42"/>
                  </a:cubicBezTo>
                  <a:cubicBezTo>
                    <a:pt x="57" y="37"/>
                    <a:pt x="66" y="33"/>
                    <a:pt x="75" y="32"/>
                  </a:cubicBezTo>
                  <a:close/>
                  <a:moveTo>
                    <a:pt x="41" y="52"/>
                  </a:moveTo>
                  <a:cubicBezTo>
                    <a:pt x="60" y="71"/>
                    <a:pt x="60" y="71"/>
                    <a:pt x="60" y="71"/>
                  </a:cubicBezTo>
                  <a:cubicBezTo>
                    <a:pt x="59" y="72"/>
                    <a:pt x="58" y="74"/>
                    <a:pt x="58" y="75"/>
                  </a:cubicBezTo>
                  <a:cubicBezTo>
                    <a:pt x="31" y="75"/>
                    <a:pt x="31" y="75"/>
                    <a:pt x="31" y="75"/>
                  </a:cubicBezTo>
                  <a:cubicBezTo>
                    <a:pt x="32" y="67"/>
                    <a:pt x="35" y="59"/>
                    <a:pt x="41" y="52"/>
                  </a:cubicBezTo>
                  <a:close/>
                  <a:moveTo>
                    <a:pt x="41" y="115"/>
                  </a:moveTo>
                  <a:cubicBezTo>
                    <a:pt x="35" y="108"/>
                    <a:pt x="32" y="99"/>
                    <a:pt x="30" y="9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8" y="92"/>
                    <a:pt x="59" y="94"/>
                    <a:pt x="60" y="96"/>
                  </a:cubicBezTo>
                  <a:lnTo>
                    <a:pt x="41" y="115"/>
                  </a:lnTo>
                  <a:close/>
                  <a:moveTo>
                    <a:pt x="50" y="125"/>
                  </a:moveTo>
                  <a:cubicBezTo>
                    <a:pt x="69" y="106"/>
                    <a:pt x="69" y="106"/>
                    <a:pt x="69" y="106"/>
                  </a:cubicBezTo>
                  <a:cubicBezTo>
                    <a:pt x="71" y="107"/>
                    <a:pt x="73" y="107"/>
                    <a:pt x="75" y="108"/>
                  </a:cubicBezTo>
                  <a:cubicBezTo>
                    <a:pt x="75" y="135"/>
                    <a:pt x="75" y="135"/>
                    <a:pt x="75" y="135"/>
                  </a:cubicBezTo>
                  <a:cubicBezTo>
                    <a:pt x="66" y="134"/>
                    <a:pt x="57" y="130"/>
                    <a:pt x="50" y="125"/>
                  </a:cubicBezTo>
                  <a:close/>
                  <a:moveTo>
                    <a:pt x="90" y="135"/>
                  </a:moveTo>
                  <a:cubicBezTo>
                    <a:pt x="90" y="107"/>
                    <a:pt x="90" y="107"/>
                    <a:pt x="90" y="107"/>
                  </a:cubicBezTo>
                  <a:cubicBezTo>
                    <a:pt x="92" y="107"/>
                    <a:pt x="93" y="106"/>
                    <a:pt x="94" y="106"/>
                  </a:cubicBezTo>
                  <a:cubicBezTo>
                    <a:pt x="113" y="125"/>
                    <a:pt x="113" y="125"/>
                    <a:pt x="113" y="125"/>
                  </a:cubicBezTo>
                  <a:cubicBezTo>
                    <a:pt x="107" y="130"/>
                    <a:pt x="99" y="133"/>
                    <a:pt x="90" y="135"/>
                  </a:cubicBezTo>
                  <a:close/>
                  <a:moveTo>
                    <a:pt x="123" y="115"/>
                  </a:moveTo>
                  <a:cubicBezTo>
                    <a:pt x="104" y="96"/>
                    <a:pt x="104" y="96"/>
                    <a:pt x="104" y="96"/>
                  </a:cubicBezTo>
                  <a:cubicBezTo>
                    <a:pt x="105" y="94"/>
                    <a:pt x="106" y="92"/>
                    <a:pt x="106" y="90"/>
                  </a:cubicBezTo>
                  <a:cubicBezTo>
                    <a:pt x="133" y="90"/>
                    <a:pt x="133" y="90"/>
                    <a:pt x="133" y="90"/>
                  </a:cubicBezTo>
                  <a:cubicBezTo>
                    <a:pt x="132" y="99"/>
                    <a:pt x="129" y="108"/>
                    <a:pt x="123" y="115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3" name="Freeform 99"/>
            <p:cNvSpPr>
              <a:spLocks/>
            </p:cNvSpPr>
            <p:nvPr/>
          </p:nvSpPr>
          <p:spPr bwMode="gray">
            <a:xfrm>
              <a:off x="9061750" y="4907283"/>
              <a:ext cx="1035050" cy="211137"/>
            </a:xfrm>
            <a:custGeom>
              <a:avLst/>
              <a:gdLst>
                <a:gd name="T0" fmla="*/ 3 w 748"/>
                <a:gd name="T1" fmla="*/ 0 h 153"/>
                <a:gd name="T2" fmla="*/ 0 w 748"/>
                <a:gd name="T3" fmla="*/ 26 h 153"/>
                <a:gd name="T4" fmla="*/ 127 w 748"/>
                <a:gd name="T5" fmla="*/ 153 h 153"/>
                <a:gd name="T6" fmla="*/ 621 w 748"/>
                <a:gd name="T7" fmla="*/ 153 h 153"/>
                <a:gd name="T8" fmla="*/ 748 w 748"/>
                <a:gd name="T9" fmla="*/ 26 h 153"/>
                <a:gd name="T10" fmla="*/ 745 w 748"/>
                <a:gd name="T11" fmla="*/ 0 h 153"/>
                <a:gd name="T12" fmla="*/ 3 w 748"/>
                <a:gd name="T13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8" h="153">
                  <a:moveTo>
                    <a:pt x="3" y="0"/>
                  </a:moveTo>
                  <a:cubicBezTo>
                    <a:pt x="1" y="9"/>
                    <a:pt x="0" y="17"/>
                    <a:pt x="0" y="26"/>
                  </a:cubicBezTo>
                  <a:cubicBezTo>
                    <a:pt x="0" y="96"/>
                    <a:pt x="57" y="153"/>
                    <a:pt x="127" y="153"/>
                  </a:cubicBezTo>
                  <a:cubicBezTo>
                    <a:pt x="621" y="153"/>
                    <a:pt x="621" y="153"/>
                    <a:pt x="621" y="153"/>
                  </a:cubicBezTo>
                  <a:cubicBezTo>
                    <a:pt x="691" y="153"/>
                    <a:pt x="748" y="96"/>
                    <a:pt x="748" y="26"/>
                  </a:cubicBezTo>
                  <a:cubicBezTo>
                    <a:pt x="748" y="17"/>
                    <a:pt x="747" y="9"/>
                    <a:pt x="745" y="0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4" name="Freeform 100"/>
            <p:cNvSpPr>
              <a:spLocks/>
            </p:cNvSpPr>
            <p:nvPr/>
          </p:nvSpPr>
          <p:spPr bwMode="gray">
            <a:xfrm>
              <a:off x="9101437" y="4907283"/>
              <a:ext cx="995363" cy="211137"/>
            </a:xfrm>
            <a:custGeom>
              <a:avLst/>
              <a:gdLst>
                <a:gd name="T0" fmla="*/ 716 w 719"/>
                <a:gd name="T1" fmla="*/ 0 h 153"/>
                <a:gd name="T2" fmla="*/ 700 w 719"/>
                <a:gd name="T3" fmla="*/ 0 h 153"/>
                <a:gd name="T4" fmla="*/ 701 w 719"/>
                <a:gd name="T5" fmla="*/ 8 h 153"/>
                <a:gd name="T6" fmla="*/ 573 w 719"/>
                <a:gd name="T7" fmla="*/ 135 h 153"/>
                <a:gd name="T8" fmla="*/ 80 w 719"/>
                <a:gd name="T9" fmla="*/ 135 h 153"/>
                <a:gd name="T10" fmla="*/ 0 w 719"/>
                <a:gd name="T11" fmla="*/ 106 h 153"/>
                <a:gd name="T12" fmla="*/ 98 w 719"/>
                <a:gd name="T13" fmla="*/ 153 h 153"/>
                <a:gd name="T14" fmla="*/ 592 w 719"/>
                <a:gd name="T15" fmla="*/ 153 h 153"/>
                <a:gd name="T16" fmla="*/ 719 w 719"/>
                <a:gd name="T17" fmla="*/ 26 h 153"/>
                <a:gd name="T18" fmla="*/ 716 w 719"/>
                <a:gd name="T19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19" h="153">
                  <a:moveTo>
                    <a:pt x="716" y="0"/>
                  </a:moveTo>
                  <a:cubicBezTo>
                    <a:pt x="700" y="0"/>
                    <a:pt x="700" y="0"/>
                    <a:pt x="700" y="0"/>
                  </a:cubicBezTo>
                  <a:cubicBezTo>
                    <a:pt x="701" y="3"/>
                    <a:pt x="701" y="5"/>
                    <a:pt x="701" y="8"/>
                  </a:cubicBezTo>
                  <a:cubicBezTo>
                    <a:pt x="701" y="78"/>
                    <a:pt x="644" y="135"/>
                    <a:pt x="573" y="135"/>
                  </a:cubicBezTo>
                  <a:cubicBezTo>
                    <a:pt x="80" y="135"/>
                    <a:pt x="80" y="135"/>
                    <a:pt x="80" y="135"/>
                  </a:cubicBezTo>
                  <a:cubicBezTo>
                    <a:pt x="50" y="135"/>
                    <a:pt x="22" y="124"/>
                    <a:pt x="0" y="106"/>
                  </a:cubicBezTo>
                  <a:cubicBezTo>
                    <a:pt x="23" y="135"/>
                    <a:pt x="59" y="153"/>
                    <a:pt x="98" y="153"/>
                  </a:cubicBezTo>
                  <a:cubicBezTo>
                    <a:pt x="592" y="153"/>
                    <a:pt x="592" y="153"/>
                    <a:pt x="592" y="153"/>
                  </a:cubicBezTo>
                  <a:cubicBezTo>
                    <a:pt x="662" y="153"/>
                    <a:pt x="719" y="96"/>
                    <a:pt x="719" y="26"/>
                  </a:cubicBezTo>
                  <a:cubicBezTo>
                    <a:pt x="719" y="17"/>
                    <a:pt x="718" y="9"/>
                    <a:pt x="716" y="0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5" name="Freeform 101"/>
            <p:cNvSpPr>
              <a:spLocks/>
            </p:cNvSpPr>
            <p:nvPr/>
          </p:nvSpPr>
          <p:spPr bwMode="gray">
            <a:xfrm>
              <a:off x="9064925" y="4192908"/>
              <a:ext cx="1028700" cy="377825"/>
            </a:xfrm>
            <a:custGeom>
              <a:avLst/>
              <a:gdLst>
                <a:gd name="T0" fmla="*/ 744 w 744"/>
                <a:gd name="T1" fmla="*/ 274 h 274"/>
                <a:gd name="T2" fmla="*/ 621 w 744"/>
                <a:gd name="T3" fmla="*/ 173 h 274"/>
                <a:gd name="T4" fmla="*/ 581 w 744"/>
                <a:gd name="T5" fmla="*/ 179 h 274"/>
                <a:gd name="T6" fmla="*/ 457 w 744"/>
                <a:gd name="T7" fmla="*/ 68 h 274"/>
                <a:gd name="T8" fmla="*/ 372 w 744"/>
                <a:gd name="T9" fmla="*/ 101 h 274"/>
                <a:gd name="T10" fmla="*/ 249 w 744"/>
                <a:gd name="T11" fmla="*/ 0 h 274"/>
                <a:gd name="T12" fmla="*/ 123 w 744"/>
                <a:gd name="T13" fmla="*/ 125 h 274"/>
                <a:gd name="T14" fmla="*/ 133 w 744"/>
                <a:gd name="T15" fmla="*/ 173 h 274"/>
                <a:gd name="T16" fmla="*/ 123 w 744"/>
                <a:gd name="T17" fmla="*/ 173 h 274"/>
                <a:gd name="T18" fmla="*/ 0 w 744"/>
                <a:gd name="T19" fmla="*/ 274 h 274"/>
                <a:gd name="T20" fmla="*/ 744 w 744"/>
                <a:gd name="T21" fmla="*/ 27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44" h="274">
                  <a:moveTo>
                    <a:pt x="744" y="274"/>
                  </a:moveTo>
                  <a:cubicBezTo>
                    <a:pt x="733" y="217"/>
                    <a:pt x="682" y="173"/>
                    <a:pt x="621" y="173"/>
                  </a:cubicBezTo>
                  <a:cubicBezTo>
                    <a:pt x="607" y="173"/>
                    <a:pt x="594" y="175"/>
                    <a:pt x="581" y="179"/>
                  </a:cubicBezTo>
                  <a:cubicBezTo>
                    <a:pt x="574" y="117"/>
                    <a:pt x="521" y="68"/>
                    <a:pt x="457" y="68"/>
                  </a:cubicBezTo>
                  <a:cubicBezTo>
                    <a:pt x="424" y="68"/>
                    <a:pt x="394" y="81"/>
                    <a:pt x="372" y="101"/>
                  </a:cubicBezTo>
                  <a:cubicBezTo>
                    <a:pt x="361" y="44"/>
                    <a:pt x="310" y="0"/>
                    <a:pt x="249" y="0"/>
                  </a:cubicBezTo>
                  <a:cubicBezTo>
                    <a:pt x="179" y="0"/>
                    <a:pt x="123" y="56"/>
                    <a:pt x="123" y="125"/>
                  </a:cubicBezTo>
                  <a:cubicBezTo>
                    <a:pt x="123" y="142"/>
                    <a:pt x="127" y="159"/>
                    <a:pt x="133" y="173"/>
                  </a:cubicBezTo>
                  <a:cubicBezTo>
                    <a:pt x="130" y="173"/>
                    <a:pt x="127" y="173"/>
                    <a:pt x="123" y="173"/>
                  </a:cubicBezTo>
                  <a:cubicBezTo>
                    <a:pt x="62" y="173"/>
                    <a:pt x="12" y="217"/>
                    <a:pt x="0" y="274"/>
                  </a:cubicBezTo>
                  <a:lnTo>
                    <a:pt x="744" y="2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6" name="Freeform 102"/>
            <p:cNvSpPr>
              <a:spLocks/>
            </p:cNvSpPr>
            <p:nvPr/>
          </p:nvSpPr>
          <p:spPr bwMode="gray">
            <a:xfrm>
              <a:off x="9268125" y="4192908"/>
              <a:ext cx="825500" cy="377825"/>
            </a:xfrm>
            <a:custGeom>
              <a:avLst/>
              <a:gdLst>
                <a:gd name="T0" fmla="*/ 80 w 597"/>
                <a:gd name="T1" fmla="*/ 23 h 274"/>
                <a:gd name="T2" fmla="*/ 203 w 597"/>
                <a:gd name="T3" fmla="*/ 125 h 274"/>
                <a:gd name="T4" fmla="*/ 288 w 597"/>
                <a:gd name="T5" fmla="*/ 91 h 274"/>
                <a:gd name="T6" fmla="*/ 413 w 597"/>
                <a:gd name="T7" fmla="*/ 203 h 274"/>
                <a:gd name="T8" fmla="*/ 452 w 597"/>
                <a:gd name="T9" fmla="*/ 196 h 274"/>
                <a:gd name="T10" fmla="*/ 568 w 597"/>
                <a:gd name="T11" fmla="*/ 274 h 274"/>
                <a:gd name="T12" fmla="*/ 597 w 597"/>
                <a:gd name="T13" fmla="*/ 274 h 274"/>
                <a:gd name="T14" fmla="*/ 474 w 597"/>
                <a:gd name="T15" fmla="*/ 173 h 274"/>
                <a:gd name="T16" fmla="*/ 434 w 597"/>
                <a:gd name="T17" fmla="*/ 179 h 274"/>
                <a:gd name="T18" fmla="*/ 310 w 597"/>
                <a:gd name="T19" fmla="*/ 68 h 274"/>
                <a:gd name="T20" fmla="*/ 225 w 597"/>
                <a:gd name="T21" fmla="*/ 101 h 274"/>
                <a:gd name="T22" fmla="*/ 102 w 597"/>
                <a:gd name="T23" fmla="*/ 0 h 274"/>
                <a:gd name="T24" fmla="*/ 0 w 597"/>
                <a:gd name="T25" fmla="*/ 52 h 274"/>
                <a:gd name="T26" fmla="*/ 80 w 597"/>
                <a:gd name="T27" fmla="*/ 23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97" h="274">
                  <a:moveTo>
                    <a:pt x="80" y="23"/>
                  </a:moveTo>
                  <a:cubicBezTo>
                    <a:pt x="141" y="23"/>
                    <a:pt x="192" y="67"/>
                    <a:pt x="203" y="125"/>
                  </a:cubicBezTo>
                  <a:cubicBezTo>
                    <a:pt x="225" y="104"/>
                    <a:pt x="255" y="91"/>
                    <a:pt x="288" y="91"/>
                  </a:cubicBezTo>
                  <a:cubicBezTo>
                    <a:pt x="353" y="91"/>
                    <a:pt x="406" y="140"/>
                    <a:pt x="413" y="203"/>
                  </a:cubicBezTo>
                  <a:cubicBezTo>
                    <a:pt x="425" y="199"/>
                    <a:pt x="438" y="196"/>
                    <a:pt x="452" y="196"/>
                  </a:cubicBezTo>
                  <a:cubicBezTo>
                    <a:pt x="505" y="196"/>
                    <a:pt x="549" y="229"/>
                    <a:pt x="568" y="274"/>
                  </a:cubicBezTo>
                  <a:cubicBezTo>
                    <a:pt x="597" y="274"/>
                    <a:pt x="597" y="274"/>
                    <a:pt x="597" y="274"/>
                  </a:cubicBezTo>
                  <a:cubicBezTo>
                    <a:pt x="586" y="217"/>
                    <a:pt x="535" y="173"/>
                    <a:pt x="474" y="173"/>
                  </a:cubicBezTo>
                  <a:cubicBezTo>
                    <a:pt x="460" y="173"/>
                    <a:pt x="447" y="175"/>
                    <a:pt x="434" y="179"/>
                  </a:cubicBezTo>
                  <a:cubicBezTo>
                    <a:pt x="427" y="117"/>
                    <a:pt x="374" y="68"/>
                    <a:pt x="310" y="68"/>
                  </a:cubicBezTo>
                  <a:cubicBezTo>
                    <a:pt x="277" y="68"/>
                    <a:pt x="247" y="81"/>
                    <a:pt x="225" y="101"/>
                  </a:cubicBezTo>
                  <a:cubicBezTo>
                    <a:pt x="214" y="44"/>
                    <a:pt x="163" y="0"/>
                    <a:pt x="102" y="0"/>
                  </a:cubicBezTo>
                  <a:cubicBezTo>
                    <a:pt x="60" y="0"/>
                    <a:pt x="23" y="20"/>
                    <a:pt x="0" y="52"/>
                  </a:cubicBezTo>
                  <a:cubicBezTo>
                    <a:pt x="22" y="34"/>
                    <a:pt x="49" y="23"/>
                    <a:pt x="80" y="23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Oval 103"/>
            <p:cNvSpPr>
              <a:spLocks noChangeArrowheads="1"/>
            </p:cNvSpPr>
            <p:nvPr/>
          </p:nvSpPr>
          <p:spPr bwMode="gray">
            <a:xfrm>
              <a:off x="11085812" y="5396233"/>
              <a:ext cx="103188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8" name="Oval 104"/>
            <p:cNvSpPr>
              <a:spLocks noChangeArrowheads="1"/>
            </p:cNvSpPr>
            <p:nvPr/>
          </p:nvSpPr>
          <p:spPr bwMode="gray">
            <a:xfrm>
              <a:off x="10884200" y="5396233"/>
              <a:ext cx="101600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9" name="Freeform 105"/>
            <p:cNvSpPr>
              <a:spLocks/>
            </p:cNvSpPr>
            <p:nvPr/>
          </p:nvSpPr>
          <p:spPr bwMode="gray">
            <a:xfrm>
              <a:off x="10884200" y="5412108"/>
              <a:ext cx="85725" cy="87312"/>
            </a:xfrm>
            <a:custGeom>
              <a:avLst/>
              <a:gdLst>
                <a:gd name="T0" fmla="*/ 37 w 62"/>
                <a:gd name="T1" fmla="*/ 63 h 63"/>
                <a:gd name="T2" fmla="*/ 62 w 62"/>
                <a:gd name="T3" fmla="*/ 52 h 63"/>
                <a:gd name="T4" fmla="*/ 11 w 62"/>
                <a:gd name="T5" fmla="*/ 0 h 63"/>
                <a:gd name="T6" fmla="*/ 0 w 62"/>
                <a:gd name="T7" fmla="*/ 26 h 63"/>
                <a:gd name="T8" fmla="*/ 37 w 62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63">
                  <a:moveTo>
                    <a:pt x="37" y="63"/>
                  </a:moveTo>
                  <a:cubicBezTo>
                    <a:pt x="47" y="63"/>
                    <a:pt x="56" y="59"/>
                    <a:pt x="62" y="5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6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0" name="Freeform 106"/>
            <p:cNvSpPr>
              <a:spLocks/>
            </p:cNvSpPr>
            <p:nvPr/>
          </p:nvSpPr>
          <p:spPr bwMode="gray">
            <a:xfrm>
              <a:off x="11085812" y="5412108"/>
              <a:ext cx="87313" cy="87312"/>
            </a:xfrm>
            <a:custGeom>
              <a:avLst/>
              <a:gdLst>
                <a:gd name="T0" fmla="*/ 37 w 63"/>
                <a:gd name="T1" fmla="*/ 63 h 63"/>
                <a:gd name="T2" fmla="*/ 63 w 63"/>
                <a:gd name="T3" fmla="*/ 52 h 63"/>
                <a:gd name="T4" fmla="*/ 11 w 63"/>
                <a:gd name="T5" fmla="*/ 0 h 63"/>
                <a:gd name="T6" fmla="*/ 0 w 63"/>
                <a:gd name="T7" fmla="*/ 26 h 63"/>
                <a:gd name="T8" fmla="*/ 37 w 63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63">
                  <a:moveTo>
                    <a:pt x="37" y="63"/>
                  </a:moveTo>
                  <a:cubicBezTo>
                    <a:pt x="47" y="63"/>
                    <a:pt x="56" y="59"/>
                    <a:pt x="63" y="5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7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0939315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308324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1337368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Freeform: Shape 103"/>
          <p:cNvSpPr>
            <a:spLocks/>
          </p:cNvSpPr>
          <p:nvPr userDrawn="1"/>
        </p:nvSpPr>
        <p:spPr bwMode="gray">
          <a:xfrm>
            <a:off x="352" y="4251226"/>
            <a:ext cx="12436123" cy="2743300"/>
          </a:xfrm>
          <a:custGeom>
            <a:avLst/>
            <a:gdLst>
              <a:gd name="connsiteX0" fmla="*/ 5679089 w 12449404"/>
              <a:gd name="connsiteY0" fmla="*/ 0 h 2048448"/>
              <a:gd name="connsiteX1" fmla="*/ 6408130 w 12449404"/>
              <a:gd name="connsiteY1" fmla="*/ 0 h 2048448"/>
              <a:gd name="connsiteX2" fmla="*/ 6408130 w 12449404"/>
              <a:gd name="connsiteY2" fmla="*/ 578198 h 2048448"/>
              <a:gd name="connsiteX3" fmla="*/ 6867090 w 12449404"/>
              <a:gd name="connsiteY3" fmla="*/ 606386 h 2048448"/>
              <a:gd name="connsiteX4" fmla="*/ 7118635 w 12449404"/>
              <a:gd name="connsiteY4" fmla="*/ 606386 h 2048448"/>
              <a:gd name="connsiteX5" fmla="*/ 7118635 w 12449404"/>
              <a:gd name="connsiteY5" fmla="*/ 483901 h 2048448"/>
              <a:gd name="connsiteX6" fmla="*/ 7128240 w 12449404"/>
              <a:gd name="connsiteY6" fmla="*/ 483901 h 2048448"/>
              <a:gd name="connsiteX7" fmla="*/ 7128240 w 12449404"/>
              <a:gd name="connsiteY7" fmla="*/ 225552 h 2048448"/>
              <a:gd name="connsiteX8" fmla="*/ 7501176 w 12449404"/>
              <a:gd name="connsiteY8" fmla="*/ 225552 h 2048448"/>
              <a:gd name="connsiteX9" fmla="*/ 7501176 w 12449404"/>
              <a:gd name="connsiteY9" fmla="*/ 339268 h 2048448"/>
              <a:gd name="connsiteX10" fmla="*/ 7539643 w 12449404"/>
              <a:gd name="connsiteY10" fmla="*/ 339268 h 2048448"/>
              <a:gd name="connsiteX11" fmla="*/ 7539643 w 12449404"/>
              <a:gd name="connsiteY11" fmla="*/ 483901 h 2048448"/>
              <a:gd name="connsiteX12" fmla="*/ 7646440 w 12449404"/>
              <a:gd name="connsiteY12" fmla="*/ 483901 h 2048448"/>
              <a:gd name="connsiteX13" fmla="*/ 7646440 w 12449404"/>
              <a:gd name="connsiteY13" fmla="*/ 643969 h 2048448"/>
              <a:gd name="connsiteX14" fmla="*/ 8043905 w 12449404"/>
              <a:gd name="connsiteY14" fmla="*/ 643969 h 2048448"/>
              <a:gd name="connsiteX15" fmla="*/ 8043905 w 12449404"/>
              <a:gd name="connsiteY15" fmla="*/ 744644 h 2048448"/>
              <a:gd name="connsiteX16" fmla="*/ 8497281 w 12449404"/>
              <a:gd name="connsiteY16" fmla="*/ 744644 h 2048448"/>
              <a:gd name="connsiteX17" fmla="*/ 8497281 w 12449404"/>
              <a:gd name="connsiteY17" fmla="*/ 777377 h 2048448"/>
              <a:gd name="connsiteX18" fmla="*/ 8516897 w 12449404"/>
              <a:gd name="connsiteY18" fmla="*/ 777377 h 2048448"/>
              <a:gd name="connsiteX19" fmla="*/ 8516897 w 12449404"/>
              <a:gd name="connsiteY19" fmla="*/ 965361 h 2048448"/>
              <a:gd name="connsiteX20" fmla="*/ 8865577 w 12449404"/>
              <a:gd name="connsiteY20" fmla="*/ 965361 h 2048448"/>
              <a:gd name="connsiteX21" fmla="*/ 8865577 w 12449404"/>
              <a:gd name="connsiteY21" fmla="*/ 525721 h 2048448"/>
              <a:gd name="connsiteX22" fmla="*/ 8968665 w 12449404"/>
              <a:gd name="connsiteY22" fmla="*/ 525721 h 2048448"/>
              <a:gd name="connsiteX23" fmla="*/ 8968665 w 12449404"/>
              <a:gd name="connsiteY23" fmla="*/ 386248 h 2048448"/>
              <a:gd name="connsiteX24" fmla="*/ 9271866 w 12449404"/>
              <a:gd name="connsiteY24" fmla="*/ 386248 h 2048448"/>
              <a:gd name="connsiteX25" fmla="*/ 9271866 w 12449404"/>
              <a:gd name="connsiteY25" fmla="*/ 525721 h 2048448"/>
              <a:gd name="connsiteX26" fmla="*/ 9368890 w 12449404"/>
              <a:gd name="connsiteY26" fmla="*/ 525721 h 2048448"/>
              <a:gd name="connsiteX27" fmla="*/ 9368890 w 12449404"/>
              <a:gd name="connsiteY27" fmla="*/ 58792 h 2048448"/>
              <a:gd name="connsiteX28" fmla="*/ 10072314 w 12449404"/>
              <a:gd name="connsiteY28" fmla="*/ 58792 h 2048448"/>
              <a:gd name="connsiteX29" fmla="*/ 10072314 w 12449404"/>
              <a:gd name="connsiteY29" fmla="*/ 616681 h 2048448"/>
              <a:gd name="connsiteX30" fmla="*/ 10514986 w 12449404"/>
              <a:gd name="connsiteY30" fmla="*/ 255872 h 2048448"/>
              <a:gd name="connsiteX31" fmla="*/ 10514986 w 12449404"/>
              <a:gd name="connsiteY31" fmla="*/ 643969 h 2048448"/>
              <a:gd name="connsiteX32" fmla="*/ 10757546 w 12449404"/>
              <a:gd name="connsiteY32" fmla="*/ 643969 h 2048448"/>
              <a:gd name="connsiteX33" fmla="*/ 10757546 w 12449404"/>
              <a:gd name="connsiteY33" fmla="*/ 525721 h 2048448"/>
              <a:gd name="connsiteX34" fmla="*/ 10860634 w 12449404"/>
              <a:gd name="connsiteY34" fmla="*/ 525721 h 2048448"/>
              <a:gd name="connsiteX35" fmla="*/ 10860634 w 12449404"/>
              <a:gd name="connsiteY35" fmla="*/ 386248 h 2048448"/>
              <a:gd name="connsiteX36" fmla="*/ 11163835 w 12449404"/>
              <a:gd name="connsiteY36" fmla="*/ 386248 h 2048448"/>
              <a:gd name="connsiteX37" fmla="*/ 11163835 w 12449404"/>
              <a:gd name="connsiteY37" fmla="*/ 525721 h 2048448"/>
              <a:gd name="connsiteX38" fmla="*/ 11266923 w 12449404"/>
              <a:gd name="connsiteY38" fmla="*/ 525721 h 2048448"/>
              <a:gd name="connsiteX39" fmla="*/ 11266923 w 12449404"/>
              <a:gd name="connsiteY39" fmla="*/ 965361 h 2048448"/>
              <a:gd name="connsiteX40" fmla="*/ 11612572 w 12449404"/>
              <a:gd name="connsiteY40" fmla="*/ 965361 h 2048448"/>
              <a:gd name="connsiteX41" fmla="*/ 11612572 w 12449404"/>
              <a:gd name="connsiteY41" fmla="*/ 777377 h 2048448"/>
              <a:gd name="connsiteX42" fmla="*/ 12088596 w 12449404"/>
              <a:gd name="connsiteY42" fmla="*/ 777377 h 2048448"/>
              <a:gd name="connsiteX43" fmla="*/ 12088596 w 12449404"/>
              <a:gd name="connsiteY43" fmla="*/ 1374681 h 2048448"/>
              <a:gd name="connsiteX44" fmla="*/ 12449404 w 12449404"/>
              <a:gd name="connsiteY44" fmla="*/ 1374681 h 2048448"/>
              <a:gd name="connsiteX45" fmla="*/ 12449404 w 12449404"/>
              <a:gd name="connsiteY45" fmla="*/ 1677881 h 2048448"/>
              <a:gd name="connsiteX46" fmla="*/ 12436715 w 12449404"/>
              <a:gd name="connsiteY46" fmla="*/ 1677881 h 2048448"/>
              <a:gd name="connsiteX47" fmla="*/ 12436715 w 12449404"/>
              <a:gd name="connsiteY47" fmla="*/ 2048448 h 2048448"/>
              <a:gd name="connsiteX48" fmla="*/ 0 w 12449404"/>
              <a:gd name="connsiteY48" fmla="*/ 2048448 h 2048448"/>
              <a:gd name="connsiteX49" fmla="*/ 0 w 12449404"/>
              <a:gd name="connsiteY49" fmla="*/ 1406374 h 2048448"/>
              <a:gd name="connsiteX50" fmla="*/ 45352 w 12449404"/>
              <a:gd name="connsiteY50" fmla="*/ 1406374 h 2048448"/>
              <a:gd name="connsiteX51" fmla="*/ 45352 w 12449404"/>
              <a:gd name="connsiteY51" fmla="*/ 1140624 h 2048448"/>
              <a:gd name="connsiteX52" fmla="*/ 657888 w 12449404"/>
              <a:gd name="connsiteY52" fmla="*/ 1140624 h 2048448"/>
              <a:gd name="connsiteX53" fmla="*/ 657888 w 12449404"/>
              <a:gd name="connsiteY53" fmla="*/ 879713 h 2048448"/>
              <a:gd name="connsiteX54" fmla="*/ 1116848 w 12449404"/>
              <a:gd name="connsiteY54" fmla="*/ 879713 h 2048448"/>
              <a:gd name="connsiteX55" fmla="*/ 1116848 w 12449404"/>
              <a:gd name="connsiteY55" fmla="*/ 1197168 h 2048448"/>
              <a:gd name="connsiteX56" fmla="*/ 1597874 w 12449404"/>
              <a:gd name="connsiteY56" fmla="*/ 1197168 h 2048448"/>
              <a:gd name="connsiteX57" fmla="*/ 1597874 w 12449404"/>
              <a:gd name="connsiteY57" fmla="*/ 807564 h 2048448"/>
              <a:gd name="connsiteX58" fmla="*/ 1701140 w 12449404"/>
              <a:gd name="connsiteY58" fmla="*/ 807564 h 2048448"/>
              <a:gd name="connsiteX59" fmla="*/ 1701140 w 12449404"/>
              <a:gd name="connsiteY59" fmla="*/ 662931 h 2048448"/>
              <a:gd name="connsiteX60" fmla="*/ 2018881 w 12449404"/>
              <a:gd name="connsiteY60" fmla="*/ 662931 h 2048448"/>
              <a:gd name="connsiteX61" fmla="*/ 2018881 w 12449404"/>
              <a:gd name="connsiteY61" fmla="*/ 807564 h 2048448"/>
              <a:gd name="connsiteX62" fmla="*/ 2122148 w 12449404"/>
              <a:gd name="connsiteY62" fmla="*/ 807564 h 2048448"/>
              <a:gd name="connsiteX63" fmla="*/ 2122148 w 12449404"/>
              <a:gd name="connsiteY63" fmla="*/ 939446 h 2048448"/>
              <a:gd name="connsiteX64" fmla="*/ 2484020 w 12449404"/>
              <a:gd name="connsiteY64" fmla="*/ 939446 h 2048448"/>
              <a:gd name="connsiteX65" fmla="*/ 2484020 w 12449404"/>
              <a:gd name="connsiteY65" fmla="*/ 744644 h 2048448"/>
              <a:gd name="connsiteX66" fmla="*/ 2549333 w 12449404"/>
              <a:gd name="connsiteY66" fmla="*/ 744644 h 2048448"/>
              <a:gd name="connsiteX67" fmla="*/ 2976519 w 12449404"/>
              <a:gd name="connsiteY67" fmla="*/ 744644 h 2048448"/>
              <a:gd name="connsiteX68" fmla="*/ 3008294 w 12449404"/>
              <a:gd name="connsiteY68" fmla="*/ 744644 h 2048448"/>
              <a:gd name="connsiteX69" fmla="*/ 3008294 w 12449404"/>
              <a:gd name="connsiteY69" fmla="*/ 879713 h 2048448"/>
              <a:gd name="connsiteX70" fmla="*/ 3356927 w 12449404"/>
              <a:gd name="connsiteY70" fmla="*/ 879713 h 2048448"/>
              <a:gd name="connsiteX71" fmla="*/ 3356927 w 12449404"/>
              <a:gd name="connsiteY71" fmla="*/ 172822 h 2048448"/>
              <a:gd name="connsiteX72" fmla="*/ 3743513 w 12449404"/>
              <a:gd name="connsiteY72" fmla="*/ 172822 h 2048448"/>
              <a:gd name="connsiteX73" fmla="*/ 3743513 w 12449404"/>
              <a:gd name="connsiteY73" fmla="*/ 606386 h 2048448"/>
              <a:gd name="connsiteX74" fmla="*/ 4305739 w 12449404"/>
              <a:gd name="connsiteY74" fmla="*/ 606386 h 2048448"/>
              <a:gd name="connsiteX75" fmla="*/ 4305739 w 12449404"/>
              <a:gd name="connsiteY75" fmla="*/ 744644 h 2048448"/>
              <a:gd name="connsiteX76" fmla="*/ 4796473 w 12449404"/>
              <a:gd name="connsiteY76" fmla="*/ 744644 h 2048448"/>
              <a:gd name="connsiteX77" fmla="*/ 4796473 w 12449404"/>
              <a:gd name="connsiteY77" fmla="*/ 907753 h 2048448"/>
              <a:gd name="connsiteX78" fmla="*/ 4966423 w 12449404"/>
              <a:gd name="connsiteY78" fmla="*/ 907753 h 2048448"/>
              <a:gd name="connsiteX79" fmla="*/ 4966423 w 12449404"/>
              <a:gd name="connsiteY79" fmla="*/ 939446 h 2048448"/>
              <a:gd name="connsiteX80" fmla="*/ 5157463 w 12449404"/>
              <a:gd name="connsiteY80" fmla="*/ 939446 h 2048448"/>
              <a:gd name="connsiteX81" fmla="*/ 5157463 w 12449404"/>
              <a:gd name="connsiteY81" fmla="*/ 483901 h 2048448"/>
              <a:gd name="connsiteX82" fmla="*/ 5264259 w 12449404"/>
              <a:gd name="connsiteY82" fmla="*/ 483901 h 2048448"/>
              <a:gd name="connsiteX83" fmla="*/ 5264259 w 12449404"/>
              <a:gd name="connsiteY83" fmla="*/ 339268 h 2048448"/>
              <a:gd name="connsiteX84" fmla="*/ 5578471 w 12449404"/>
              <a:gd name="connsiteY84" fmla="*/ 339268 h 2048448"/>
              <a:gd name="connsiteX85" fmla="*/ 5578471 w 12449404"/>
              <a:gd name="connsiteY85" fmla="*/ 483901 h 2048448"/>
              <a:gd name="connsiteX86" fmla="*/ 5679089 w 12449404"/>
              <a:gd name="connsiteY86" fmla="*/ 483901 h 2048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</a:cxnLst>
            <a:rect l="l" t="t" r="r" b="b"/>
            <a:pathLst>
              <a:path w="12449404" h="2048448">
                <a:moveTo>
                  <a:pt x="5679089" y="0"/>
                </a:moveTo>
                <a:lnTo>
                  <a:pt x="6408130" y="0"/>
                </a:lnTo>
                <a:lnTo>
                  <a:pt x="6408130" y="578198"/>
                </a:lnTo>
                <a:lnTo>
                  <a:pt x="6867090" y="606386"/>
                </a:lnTo>
                <a:lnTo>
                  <a:pt x="7118635" y="606386"/>
                </a:lnTo>
                <a:lnTo>
                  <a:pt x="7118635" y="483901"/>
                </a:lnTo>
                <a:lnTo>
                  <a:pt x="7128240" y="483901"/>
                </a:lnTo>
                <a:lnTo>
                  <a:pt x="7128240" y="225552"/>
                </a:lnTo>
                <a:lnTo>
                  <a:pt x="7501176" y="225552"/>
                </a:lnTo>
                <a:lnTo>
                  <a:pt x="7501176" y="339268"/>
                </a:lnTo>
                <a:lnTo>
                  <a:pt x="7539643" y="339268"/>
                </a:lnTo>
                <a:lnTo>
                  <a:pt x="7539643" y="483901"/>
                </a:lnTo>
                <a:lnTo>
                  <a:pt x="7646440" y="483901"/>
                </a:lnTo>
                <a:lnTo>
                  <a:pt x="7646440" y="643969"/>
                </a:lnTo>
                <a:lnTo>
                  <a:pt x="8043905" y="643969"/>
                </a:lnTo>
                <a:lnTo>
                  <a:pt x="8043905" y="744644"/>
                </a:lnTo>
                <a:lnTo>
                  <a:pt x="8497281" y="744644"/>
                </a:lnTo>
                <a:lnTo>
                  <a:pt x="8497281" y="777377"/>
                </a:lnTo>
                <a:lnTo>
                  <a:pt x="8516897" y="777377"/>
                </a:lnTo>
                <a:lnTo>
                  <a:pt x="8516897" y="965361"/>
                </a:lnTo>
                <a:lnTo>
                  <a:pt x="8865577" y="965361"/>
                </a:lnTo>
                <a:lnTo>
                  <a:pt x="8865577" y="525721"/>
                </a:lnTo>
                <a:lnTo>
                  <a:pt x="8968665" y="525721"/>
                </a:lnTo>
                <a:lnTo>
                  <a:pt x="8968665" y="386248"/>
                </a:lnTo>
                <a:lnTo>
                  <a:pt x="9271866" y="386248"/>
                </a:lnTo>
                <a:lnTo>
                  <a:pt x="9271866" y="525721"/>
                </a:lnTo>
                <a:lnTo>
                  <a:pt x="9368890" y="525721"/>
                </a:lnTo>
                <a:lnTo>
                  <a:pt x="9368890" y="58792"/>
                </a:lnTo>
                <a:lnTo>
                  <a:pt x="10072314" y="58792"/>
                </a:lnTo>
                <a:lnTo>
                  <a:pt x="10072314" y="616681"/>
                </a:lnTo>
                <a:lnTo>
                  <a:pt x="10514986" y="255872"/>
                </a:lnTo>
                <a:lnTo>
                  <a:pt x="10514986" y="643969"/>
                </a:lnTo>
                <a:lnTo>
                  <a:pt x="10757546" y="643969"/>
                </a:lnTo>
                <a:lnTo>
                  <a:pt x="10757546" y="525721"/>
                </a:lnTo>
                <a:lnTo>
                  <a:pt x="10860634" y="525721"/>
                </a:lnTo>
                <a:lnTo>
                  <a:pt x="10860634" y="386248"/>
                </a:lnTo>
                <a:lnTo>
                  <a:pt x="11163835" y="386248"/>
                </a:lnTo>
                <a:lnTo>
                  <a:pt x="11163835" y="525721"/>
                </a:lnTo>
                <a:lnTo>
                  <a:pt x="11266923" y="525721"/>
                </a:lnTo>
                <a:lnTo>
                  <a:pt x="11266923" y="965361"/>
                </a:lnTo>
                <a:lnTo>
                  <a:pt x="11612572" y="965361"/>
                </a:lnTo>
                <a:lnTo>
                  <a:pt x="11612572" y="777377"/>
                </a:lnTo>
                <a:lnTo>
                  <a:pt x="12088596" y="777377"/>
                </a:lnTo>
                <a:lnTo>
                  <a:pt x="12088596" y="1374681"/>
                </a:lnTo>
                <a:lnTo>
                  <a:pt x="12449404" y="1374681"/>
                </a:lnTo>
                <a:lnTo>
                  <a:pt x="12449404" y="1677881"/>
                </a:lnTo>
                <a:lnTo>
                  <a:pt x="12436715" y="1677881"/>
                </a:lnTo>
                <a:lnTo>
                  <a:pt x="12436715" y="2048448"/>
                </a:lnTo>
                <a:lnTo>
                  <a:pt x="0" y="2048448"/>
                </a:lnTo>
                <a:lnTo>
                  <a:pt x="0" y="1406374"/>
                </a:lnTo>
                <a:lnTo>
                  <a:pt x="45352" y="1406374"/>
                </a:lnTo>
                <a:lnTo>
                  <a:pt x="45352" y="1140624"/>
                </a:lnTo>
                <a:lnTo>
                  <a:pt x="657888" y="1140624"/>
                </a:lnTo>
                <a:lnTo>
                  <a:pt x="657888" y="879713"/>
                </a:lnTo>
                <a:lnTo>
                  <a:pt x="1116848" y="879713"/>
                </a:lnTo>
                <a:lnTo>
                  <a:pt x="1116848" y="1197168"/>
                </a:lnTo>
                <a:lnTo>
                  <a:pt x="1597874" y="1197168"/>
                </a:lnTo>
                <a:lnTo>
                  <a:pt x="1597874" y="807564"/>
                </a:lnTo>
                <a:lnTo>
                  <a:pt x="1701140" y="807564"/>
                </a:lnTo>
                <a:lnTo>
                  <a:pt x="1701140" y="662931"/>
                </a:lnTo>
                <a:lnTo>
                  <a:pt x="2018881" y="662931"/>
                </a:lnTo>
                <a:lnTo>
                  <a:pt x="2018881" y="807564"/>
                </a:lnTo>
                <a:lnTo>
                  <a:pt x="2122148" y="807564"/>
                </a:lnTo>
                <a:lnTo>
                  <a:pt x="2122148" y="939446"/>
                </a:lnTo>
                <a:lnTo>
                  <a:pt x="2484020" y="939446"/>
                </a:lnTo>
                <a:lnTo>
                  <a:pt x="2484020" y="744644"/>
                </a:lnTo>
                <a:lnTo>
                  <a:pt x="2549333" y="744644"/>
                </a:lnTo>
                <a:lnTo>
                  <a:pt x="2976519" y="744644"/>
                </a:lnTo>
                <a:lnTo>
                  <a:pt x="3008294" y="744644"/>
                </a:lnTo>
                <a:lnTo>
                  <a:pt x="3008294" y="879713"/>
                </a:lnTo>
                <a:lnTo>
                  <a:pt x="3356927" y="879713"/>
                </a:lnTo>
                <a:lnTo>
                  <a:pt x="3356927" y="172822"/>
                </a:lnTo>
                <a:lnTo>
                  <a:pt x="3743513" y="172822"/>
                </a:lnTo>
                <a:lnTo>
                  <a:pt x="3743513" y="606386"/>
                </a:lnTo>
                <a:lnTo>
                  <a:pt x="4305739" y="606386"/>
                </a:lnTo>
                <a:lnTo>
                  <a:pt x="4305739" y="744644"/>
                </a:lnTo>
                <a:lnTo>
                  <a:pt x="4796473" y="744644"/>
                </a:lnTo>
                <a:lnTo>
                  <a:pt x="4796473" y="907753"/>
                </a:lnTo>
                <a:lnTo>
                  <a:pt x="4966423" y="907753"/>
                </a:lnTo>
                <a:lnTo>
                  <a:pt x="4966423" y="939446"/>
                </a:lnTo>
                <a:lnTo>
                  <a:pt x="5157463" y="939446"/>
                </a:lnTo>
                <a:lnTo>
                  <a:pt x="5157463" y="483901"/>
                </a:lnTo>
                <a:lnTo>
                  <a:pt x="5264259" y="483901"/>
                </a:lnTo>
                <a:lnTo>
                  <a:pt x="5264259" y="339268"/>
                </a:lnTo>
                <a:lnTo>
                  <a:pt x="5578471" y="339268"/>
                </a:lnTo>
                <a:lnTo>
                  <a:pt x="5578471" y="483901"/>
                </a:lnTo>
                <a:lnTo>
                  <a:pt x="5679089" y="483901"/>
                </a:lnTo>
                <a:close/>
              </a:path>
            </a:pathLst>
          </a:custGeom>
          <a:solidFill>
            <a:srgbClr val="409AE1">
              <a:alpha val="4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955786"/>
            <a:ext cx="7315137" cy="1828007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0" name="Picture 13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  <p:grpSp>
        <p:nvGrpSpPr>
          <p:cNvPr id="141" name="Group 140"/>
          <p:cNvGrpSpPr>
            <a:grpSpLocks noChangeAspect="1"/>
          </p:cNvGrpSpPr>
          <p:nvPr userDrawn="1"/>
        </p:nvGrpSpPr>
        <p:grpSpPr bwMode="gray">
          <a:xfrm>
            <a:off x="7462446" y="3200399"/>
            <a:ext cx="4577461" cy="3539944"/>
            <a:chOff x="8496600" y="3495584"/>
            <a:chExt cx="3009906" cy="2327686"/>
          </a:xfrm>
        </p:grpSpPr>
        <p:sp>
          <p:nvSpPr>
            <p:cNvPr id="142" name="Freeform 9"/>
            <p:cNvSpPr>
              <a:spLocks/>
            </p:cNvSpPr>
            <p:nvPr/>
          </p:nvSpPr>
          <p:spPr bwMode="gray">
            <a:xfrm>
              <a:off x="8496600" y="5501008"/>
              <a:ext cx="646113" cy="82550"/>
            </a:xfrm>
            <a:custGeom>
              <a:avLst/>
              <a:gdLst>
                <a:gd name="T0" fmla="*/ 437 w 467"/>
                <a:gd name="T1" fmla="*/ 60 h 60"/>
                <a:gd name="T2" fmla="*/ 30 w 467"/>
                <a:gd name="T3" fmla="*/ 60 h 60"/>
                <a:gd name="T4" fmla="*/ 0 w 467"/>
                <a:gd name="T5" fmla="*/ 30 h 60"/>
                <a:gd name="T6" fmla="*/ 30 w 467"/>
                <a:gd name="T7" fmla="*/ 0 h 60"/>
                <a:gd name="T8" fmla="*/ 437 w 467"/>
                <a:gd name="T9" fmla="*/ 0 h 60"/>
                <a:gd name="T10" fmla="*/ 467 w 467"/>
                <a:gd name="T11" fmla="*/ 30 h 60"/>
                <a:gd name="T12" fmla="*/ 437 w 467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7" h="60">
                  <a:moveTo>
                    <a:pt x="437" y="60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13" y="60"/>
                    <a:pt x="0" y="46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37" y="0"/>
                    <a:pt x="437" y="0"/>
                    <a:pt x="437" y="0"/>
                  </a:cubicBezTo>
                  <a:cubicBezTo>
                    <a:pt x="453" y="0"/>
                    <a:pt x="467" y="13"/>
                    <a:pt x="467" y="30"/>
                  </a:cubicBezTo>
                  <a:cubicBezTo>
                    <a:pt x="467" y="46"/>
                    <a:pt x="453" y="60"/>
                    <a:pt x="437" y="6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10"/>
            <p:cNvSpPr>
              <a:spLocks/>
            </p:cNvSpPr>
            <p:nvPr/>
          </p:nvSpPr>
          <p:spPr bwMode="gray">
            <a:xfrm>
              <a:off x="10804831" y="3495584"/>
              <a:ext cx="701675" cy="371475"/>
            </a:xfrm>
            <a:custGeom>
              <a:avLst/>
              <a:gdLst>
                <a:gd name="T0" fmla="*/ 440 w 507"/>
                <a:gd name="T1" fmla="*/ 127 h 271"/>
                <a:gd name="T2" fmla="*/ 306 w 507"/>
                <a:gd name="T3" fmla="*/ 0 h 271"/>
                <a:gd name="T4" fmla="*/ 174 w 507"/>
                <a:gd name="T5" fmla="*/ 106 h 271"/>
                <a:gd name="T6" fmla="*/ 99 w 507"/>
                <a:gd name="T7" fmla="*/ 72 h 271"/>
                <a:gd name="T8" fmla="*/ 0 w 507"/>
                <a:gd name="T9" fmla="*/ 171 h 271"/>
                <a:gd name="T10" fmla="*/ 99 w 507"/>
                <a:gd name="T11" fmla="*/ 271 h 271"/>
                <a:gd name="T12" fmla="*/ 435 w 507"/>
                <a:gd name="T13" fmla="*/ 271 h 271"/>
                <a:gd name="T14" fmla="*/ 507 w 507"/>
                <a:gd name="T15" fmla="*/ 199 h 271"/>
                <a:gd name="T16" fmla="*/ 440 w 507"/>
                <a:gd name="T17" fmla="*/ 127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7" h="271">
                  <a:moveTo>
                    <a:pt x="440" y="127"/>
                  </a:moveTo>
                  <a:cubicBezTo>
                    <a:pt x="436" y="56"/>
                    <a:pt x="378" y="0"/>
                    <a:pt x="306" y="0"/>
                  </a:cubicBezTo>
                  <a:cubicBezTo>
                    <a:pt x="241" y="0"/>
                    <a:pt x="187" y="46"/>
                    <a:pt x="174" y="106"/>
                  </a:cubicBezTo>
                  <a:cubicBezTo>
                    <a:pt x="156" y="85"/>
                    <a:pt x="129" y="72"/>
                    <a:pt x="99" y="72"/>
                  </a:cubicBezTo>
                  <a:cubicBezTo>
                    <a:pt x="44" y="72"/>
                    <a:pt x="0" y="116"/>
                    <a:pt x="0" y="171"/>
                  </a:cubicBezTo>
                  <a:cubicBezTo>
                    <a:pt x="0" y="226"/>
                    <a:pt x="44" y="271"/>
                    <a:pt x="99" y="271"/>
                  </a:cubicBezTo>
                  <a:cubicBezTo>
                    <a:pt x="99" y="271"/>
                    <a:pt x="434" y="271"/>
                    <a:pt x="435" y="271"/>
                  </a:cubicBezTo>
                  <a:cubicBezTo>
                    <a:pt x="475" y="271"/>
                    <a:pt x="507" y="238"/>
                    <a:pt x="507" y="199"/>
                  </a:cubicBezTo>
                  <a:cubicBezTo>
                    <a:pt x="507" y="161"/>
                    <a:pt x="478" y="130"/>
                    <a:pt x="440" y="1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11"/>
            <p:cNvSpPr>
              <a:spLocks/>
            </p:cNvSpPr>
            <p:nvPr/>
          </p:nvSpPr>
          <p:spPr bwMode="gray">
            <a:xfrm>
              <a:off x="10001550" y="5497833"/>
              <a:ext cx="1504950" cy="82550"/>
            </a:xfrm>
            <a:custGeom>
              <a:avLst/>
              <a:gdLst>
                <a:gd name="T0" fmla="*/ 1059 w 1089"/>
                <a:gd name="T1" fmla="*/ 60 h 60"/>
                <a:gd name="T2" fmla="*/ 30 w 1089"/>
                <a:gd name="T3" fmla="*/ 60 h 60"/>
                <a:gd name="T4" fmla="*/ 0 w 1089"/>
                <a:gd name="T5" fmla="*/ 30 h 60"/>
                <a:gd name="T6" fmla="*/ 30 w 1089"/>
                <a:gd name="T7" fmla="*/ 0 h 60"/>
                <a:gd name="T8" fmla="*/ 1059 w 1089"/>
                <a:gd name="T9" fmla="*/ 0 h 60"/>
                <a:gd name="T10" fmla="*/ 1089 w 1089"/>
                <a:gd name="T11" fmla="*/ 30 h 60"/>
                <a:gd name="T12" fmla="*/ 1059 w 1089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9" h="60">
                  <a:moveTo>
                    <a:pt x="1059" y="60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14" y="60"/>
                    <a:pt x="0" y="46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1059" y="0"/>
                    <a:pt x="1059" y="0"/>
                    <a:pt x="1059" y="0"/>
                  </a:cubicBezTo>
                  <a:cubicBezTo>
                    <a:pt x="1076" y="0"/>
                    <a:pt x="1089" y="13"/>
                    <a:pt x="1089" y="30"/>
                  </a:cubicBezTo>
                  <a:cubicBezTo>
                    <a:pt x="1089" y="46"/>
                    <a:pt x="1076" y="60"/>
                    <a:pt x="1059" y="6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12"/>
            <p:cNvSpPr>
              <a:spLocks/>
            </p:cNvSpPr>
            <p:nvPr/>
          </p:nvSpPr>
          <p:spPr bwMode="gray">
            <a:xfrm>
              <a:off x="9110962" y="5713733"/>
              <a:ext cx="1012825" cy="109537"/>
            </a:xfrm>
            <a:custGeom>
              <a:avLst/>
              <a:gdLst>
                <a:gd name="T0" fmla="*/ 692 w 732"/>
                <a:gd name="T1" fmla="*/ 80 h 80"/>
                <a:gd name="T2" fmla="*/ 40 w 732"/>
                <a:gd name="T3" fmla="*/ 80 h 80"/>
                <a:gd name="T4" fmla="*/ 0 w 732"/>
                <a:gd name="T5" fmla="*/ 40 h 80"/>
                <a:gd name="T6" fmla="*/ 40 w 732"/>
                <a:gd name="T7" fmla="*/ 0 h 80"/>
                <a:gd name="T8" fmla="*/ 692 w 732"/>
                <a:gd name="T9" fmla="*/ 0 h 80"/>
                <a:gd name="T10" fmla="*/ 732 w 732"/>
                <a:gd name="T11" fmla="*/ 40 h 80"/>
                <a:gd name="T12" fmla="*/ 692 w 732"/>
                <a:gd name="T13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2" h="80">
                  <a:moveTo>
                    <a:pt x="692" y="80"/>
                  </a:moveTo>
                  <a:cubicBezTo>
                    <a:pt x="40" y="80"/>
                    <a:pt x="40" y="80"/>
                    <a:pt x="40" y="80"/>
                  </a:cubicBezTo>
                  <a:cubicBezTo>
                    <a:pt x="18" y="80"/>
                    <a:pt x="0" y="62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692" y="0"/>
                    <a:pt x="692" y="0"/>
                    <a:pt x="692" y="0"/>
                  </a:cubicBezTo>
                  <a:cubicBezTo>
                    <a:pt x="714" y="0"/>
                    <a:pt x="732" y="18"/>
                    <a:pt x="732" y="40"/>
                  </a:cubicBezTo>
                  <a:cubicBezTo>
                    <a:pt x="732" y="62"/>
                    <a:pt x="714" y="80"/>
                    <a:pt x="692" y="8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13"/>
            <p:cNvSpPr>
              <a:spLocks/>
            </p:cNvSpPr>
            <p:nvPr/>
          </p:nvSpPr>
          <p:spPr bwMode="gray">
            <a:xfrm>
              <a:off x="8910937" y="4935858"/>
              <a:ext cx="33338" cy="77787"/>
            </a:xfrm>
            <a:custGeom>
              <a:avLst/>
              <a:gdLst>
                <a:gd name="T0" fmla="*/ 0 w 21"/>
                <a:gd name="T1" fmla="*/ 0 h 49"/>
                <a:gd name="T2" fmla="*/ 1 w 21"/>
                <a:gd name="T3" fmla="*/ 10 h 49"/>
                <a:gd name="T4" fmla="*/ 0 w 21"/>
                <a:gd name="T5" fmla="*/ 49 h 49"/>
                <a:gd name="T6" fmla="*/ 12 w 21"/>
                <a:gd name="T7" fmla="*/ 49 h 49"/>
                <a:gd name="T8" fmla="*/ 21 w 21"/>
                <a:gd name="T9" fmla="*/ 11 h 49"/>
                <a:gd name="T10" fmla="*/ 21 w 21"/>
                <a:gd name="T11" fmla="*/ 0 h 49"/>
                <a:gd name="T12" fmla="*/ 0 w 21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49">
                  <a:moveTo>
                    <a:pt x="0" y="0"/>
                  </a:moveTo>
                  <a:lnTo>
                    <a:pt x="1" y="10"/>
                  </a:lnTo>
                  <a:lnTo>
                    <a:pt x="0" y="49"/>
                  </a:lnTo>
                  <a:lnTo>
                    <a:pt x="12" y="49"/>
                  </a:lnTo>
                  <a:lnTo>
                    <a:pt x="21" y="11"/>
                  </a:lnTo>
                  <a:lnTo>
                    <a:pt x="2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14"/>
            <p:cNvSpPr>
              <a:spLocks/>
            </p:cNvSpPr>
            <p:nvPr/>
          </p:nvSpPr>
          <p:spPr bwMode="gray">
            <a:xfrm>
              <a:off x="8929987" y="4935858"/>
              <a:ext cx="14288" cy="77787"/>
            </a:xfrm>
            <a:custGeom>
              <a:avLst/>
              <a:gdLst>
                <a:gd name="T0" fmla="*/ 5 w 9"/>
                <a:gd name="T1" fmla="*/ 0 h 49"/>
                <a:gd name="T2" fmla="*/ 5 w 9"/>
                <a:gd name="T3" fmla="*/ 11 h 49"/>
                <a:gd name="T4" fmla="*/ 0 w 9"/>
                <a:gd name="T5" fmla="*/ 49 h 49"/>
                <a:gd name="T6" fmla="*/ 9 w 9"/>
                <a:gd name="T7" fmla="*/ 11 h 49"/>
                <a:gd name="T8" fmla="*/ 9 w 9"/>
                <a:gd name="T9" fmla="*/ 0 h 49"/>
                <a:gd name="T10" fmla="*/ 5 w 9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49">
                  <a:moveTo>
                    <a:pt x="5" y="0"/>
                  </a:moveTo>
                  <a:lnTo>
                    <a:pt x="5" y="11"/>
                  </a:lnTo>
                  <a:lnTo>
                    <a:pt x="0" y="49"/>
                  </a:lnTo>
                  <a:lnTo>
                    <a:pt x="9" y="11"/>
                  </a:lnTo>
                  <a:lnTo>
                    <a:pt x="9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99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15"/>
            <p:cNvSpPr>
              <a:spLocks/>
            </p:cNvSpPr>
            <p:nvPr/>
          </p:nvSpPr>
          <p:spPr bwMode="gray">
            <a:xfrm>
              <a:off x="8910937" y="4935858"/>
              <a:ext cx="6350" cy="77787"/>
            </a:xfrm>
            <a:custGeom>
              <a:avLst/>
              <a:gdLst>
                <a:gd name="T0" fmla="*/ 0 w 4"/>
                <a:gd name="T1" fmla="*/ 0 h 49"/>
                <a:gd name="T2" fmla="*/ 1 w 4"/>
                <a:gd name="T3" fmla="*/ 10 h 49"/>
                <a:gd name="T4" fmla="*/ 0 w 4"/>
                <a:gd name="T5" fmla="*/ 49 h 49"/>
                <a:gd name="T6" fmla="*/ 4 w 4"/>
                <a:gd name="T7" fmla="*/ 10 h 49"/>
                <a:gd name="T8" fmla="*/ 4 w 4"/>
                <a:gd name="T9" fmla="*/ 0 h 49"/>
                <a:gd name="T10" fmla="*/ 0 w 4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9">
                  <a:moveTo>
                    <a:pt x="0" y="0"/>
                  </a:moveTo>
                  <a:lnTo>
                    <a:pt x="1" y="10"/>
                  </a:lnTo>
                  <a:lnTo>
                    <a:pt x="0" y="49"/>
                  </a:lnTo>
                  <a:lnTo>
                    <a:pt x="4" y="1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16"/>
            <p:cNvSpPr>
              <a:spLocks/>
            </p:cNvSpPr>
            <p:nvPr/>
          </p:nvSpPr>
          <p:spPr bwMode="gray">
            <a:xfrm>
              <a:off x="8912525" y="4997770"/>
              <a:ext cx="33338" cy="47625"/>
            </a:xfrm>
            <a:custGeom>
              <a:avLst/>
              <a:gdLst>
                <a:gd name="T0" fmla="*/ 0 w 24"/>
                <a:gd name="T1" fmla="*/ 0 h 34"/>
                <a:gd name="T2" fmla="*/ 0 w 24"/>
                <a:gd name="T3" fmla="*/ 34 h 34"/>
                <a:gd name="T4" fmla="*/ 22 w 24"/>
                <a:gd name="T5" fmla="*/ 34 h 34"/>
                <a:gd name="T6" fmla="*/ 24 w 24"/>
                <a:gd name="T7" fmla="*/ 32 h 34"/>
                <a:gd name="T8" fmla="*/ 24 w 24"/>
                <a:gd name="T9" fmla="*/ 27 h 34"/>
                <a:gd name="T10" fmla="*/ 22 w 24"/>
                <a:gd name="T11" fmla="*/ 24 h 34"/>
                <a:gd name="T12" fmla="*/ 15 w 24"/>
                <a:gd name="T13" fmla="*/ 16 h 34"/>
                <a:gd name="T14" fmla="*/ 15 w 24"/>
                <a:gd name="T15" fmla="*/ 0 h 34"/>
                <a:gd name="T16" fmla="*/ 0 w 24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34">
                  <a:moveTo>
                    <a:pt x="0" y="0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4" y="34"/>
                    <a:pt x="24" y="32"/>
                  </a:cubicBezTo>
                  <a:cubicBezTo>
                    <a:pt x="24" y="30"/>
                    <a:pt x="24" y="27"/>
                    <a:pt x="24" y="27"/>
                  </a:cubicBezTo>
                  <a:cubicBezTo>
                    <a:pt x="24" y="27"/>
                    <a:pt x="24" y="26"/>
                    <a:pt x="22" y="24"/>
                  </a:cubicBezTo>
                  <a:cubicBezTo>
                    <a:pt x="20" y="23"/>
                    <a:pt x="16" y="18"/>
                    <a:pt x="15" y="16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17"/>
            <p:cNvSpPr>
              <a:spLocks/>
            </p:cNvSpPr>
            <p:nvPr/>
          </p:nvSpPr>
          <p:spPr bwMode="gray">
            <a:xfrm>
              <a:off x="8912525" y="5042220"/>
              <a:ext cx="33338" cy="4762"/>
            </a:xfrm>
            <a:custGeom>
              <a:avLst/>
              <a:gdLst>
                <a:gd name="T0" fmla="*/ 24 w 24"/>
                <a:gd name="T1" fmla="*/ 0 h 4"/>
                <a:gd name="T2" fmla="*/ 24 w 24"/>
                <a:gd name="T3" fmla="*/ 2 h 4"/>
                <a:gd name="T4" fmla="*/ 22 w 24"/>
                <a:gd name="T5" fmla="*/ 4 h 4"/>
                <a:gd name="T6" fmla="*/ 0 w 24"/>
                <a:gd name="T7" fmla="*/ 4 h 4"/>
                <a:gd name="T8" fmla="*/ 0 w 24"/>
                <a:gd name="T9" fmla="*/ 2 h 4"/>
                <a:gd name="T10" fmla="*/ 22 w 24"/>
                <a:gd name="T11" fmla="*/ 2 h 4"/>
                <a:gd name="T12" fmla="*/ 24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4" y="0"/>
                  </a:moveTo>
                  <a:cubicBezTo>
                    <a:pt x="24" y="0"/>
                    <a:pt x="24" y="1"/>
                    <a:pt x="24" y="2"/>
                  </a:cubicBezTo>
                  <a:cubicBezTo>
                    <a:pt x="24" y="4"/>
                    <a:pt x="22" y="4"/>
                    <a:pt x="22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2"/>
                    <a:pt x="24" y="2"/>
                    <a:pt x="24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18"/>
            <p:cNvSpPr>
              <a:spLocks/>
            </p:cNvSpPr>
            <p:nvPr/>
          </p:nvSpPr>
          <p:spPr bwMode="gray">
            <a:xfrm>
              <a:off x="8933162" y="5019995"/>
              <a:ext cx="12700" cy="25400"/>
            </a:xfrm>
            <a:custGeom>
              <a:avLst/>
              <a:gdLst>
                <a:gd name="T0" fmla="*/ 7 w 9"/>
                <a:gd name="T1" fmla="*/ 18 h 18"/>
                <a:gd name="T2" fmla="*/ 9 w 9"/>
                <a:gd name="T3" fmla="*/ 16 h 18"/>
                <a:gd name="T4" fmla="*/ 9 w 9"/>
                <a:gd name="T5" fmla="*/ 11 h 18"/>
                <a:gd name="T6" fmla="*/ 7 w 9"/>
                <a:gd name="T7" fmla="*/ 8 h 18"/>
                <a:gd name="T8" fmla="*/ 0 w 9"/>
                <a:gd name="T9" fmla="*/ 0 h 18"/>
                <a:gd name="T10" fmla="*/ 0 w 9"/>
                <a:gd name="T11" fmla="*/ 18 h 18"/>
                <a:gd name="T12" fmla="*/ 7 w 9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8">
                  <a:moveTo>
                    <a:pt x="7" y="18"/>
                  </a:moveTo>
                  <a:cubicBezTo>
                    <a:pt x="7" y="18"/>
                    <a:pt x="9" y="18"/>
                    <a:pt x="9" y="16"/>
                  </a:cubicBezTo>
                  <a:cubicBezTo>
                    <a:pt x="9" y="14"/>
                    <a:pt x="9" y="11"/>
                    <a:pt x="9" y="11"/>
                  </a:cubicBezTo>
                  <a:cubicBezTo>
                    <a:pt x="9" y="11"/>
                    <a:pt x="9" y="10"/>
                    <a:pt x="7" y="8"/>
                  </a:cubicBezTo>
                  <a:cubicBezTo>
                    <a:pt x="5" y="7"/>
                    <a:pt x="1" y="2"/>
                    <a:pt x="0" y="0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7" y="18"/>
                  </a:lnTo>
                  <a:close/>
                </a:path>
              </a:pathLst>
            </a:custGeom>
            <a:solidFill>
              <a:srgbClr val="3131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19"/>
            <p:cNvSpPr>
              <a:spLocks/>
            </p:cNvSpPr>
            <p:nvPr/>
          </p:nvSpPr>
          <p:spPr bwMode="gray">
            <a:xfrm>
              <a:off x="8874425" y="4935858"/>
              <a:ext cx="33338" cy="77787"/>
            </a:xfrm>
            <a:custGeom>
              <a:avLst/>
              <a:gdLst>
                <a:gd name="T0" fmla="*/ 0 w 21"/>
                <a:gd name="T1" fmla="*/ 0 h 49"/>
                <a:gd name="T2" fmla="*/ 0 w 21"/>
                <a:gd name="T3" fmla="*/ 10 h 49"/>
                <a:gd name="T4" fmla="*/ 0 w 21"/>
                <a:gd name="T5" fmla="*/ 49 h 49"/>
                <a:gd name="T6" fmla="*/ 13 w 21"/>
                <a:gd name="T7" fmla="*/ 49 h 49"/>
                <a:gd name="T8" fmla="*/ 21 w 21"/>
                <a:gd name="T9" fmla="*/ 11 h 49"/>
                <a:gd name="T10" fmla="*/ 21 w 21"/>
                <a:gd name="T11" fmla="*/ 0 h 49"/>
                <a:gd name="T12" fmla="*/ 0 w 21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49">
                  <a:moveTo>
                    <a:pt x="0" y="0"/>
                  </a:moveTo>
                  <a:lnTo>
                    <a:pt x="0" y="10"/>
                  </a:lnTo>
                  <a:lnTo>
                    <a:pt x="0" y="49"/>
                  </a:lnTo>
                  <a:lnTo>
                    <a:pt x="13" y="49"/>
                  </a:lnTo>
                  <a:lnTo>
                    <a:pt x="21" y="11"/>
                  </a:lnTo>
                  <a:lnTo>
                    <a:pt x="2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20"/>
            <p:cNvSpPr>
              <a:spLocks/>
            </p:cNvSpPr>
            <p:nvPr/>
          </p:nvSpPr>
          <p:spPr bwMode="gray">
            <a:xfrm>
              <a:off x="8895062" y="4935858"/>
              <a:ext cx="12700" cy="77787"/>
            </a:xfrm>
            <a:custGeom>
              <a:avLst/>
              <a:gdLst>
                <a:gd name="T0" fmla="*/ 4 w 8"/>
                <a:gd name="T1" fmla="*/ 0 h 49"/>
                <a:gd name="T2" fmla="*/ 4 w 8"/>
                <a:gd name="T3" fmla="*/ 11 h 49"/>
                <a:gd name="T4" fmla="*/ 0 w 8"/>
                <a:gd name="T5" fmla="*/ 49 h 49"/>
                <a:gd name="T6" fmla="*/ 8 w 8"/>
                <a:gd name="T7" fmla="*/ 11 h 49"/>
                <a:gd name="T8" fmla="*/ 8 w 8"/>
                <a:gd name="T9" fmla="*/ 0 h 49"/>
                <a:gd name="T10" fmla="*/ 4 w 8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49">
                  <a:moveTo>
                    <a:pt x="4" y="0"/>
                  </a:moveTo>
                  <a:lnTo>
                    <a:pt x="4" y="11"/>
                  </a:lnTo>
                  <a:lnTo>
                    <a:pt x="0" y="49"/>
                  </a:lnTo>
                  <a:lnTo>
                    <a:pt x="8" y="11"/>
                  </a:lnTo>
                  <a:lnTo>
                    <a:pt x="8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99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21"/>
            <p:cNvSpPr>
              <a:spLocks/>
            </p:cNvSpPr>
            <p:nvPr/>
          </p:nvSpPr>
          <p:spPr bwMode="gray">
            <a:xfrm>
              <a:off x="8874425" y="4935858"/>
              <a:ext cx="6350" cy="77787"/>
            </a:xfrm>
            <a:custGeom>
              <a:avLst/>
              <a:gdLst>
                <a:gd name="T0" fmla="*/ 0 w 4"/>
                <a:gd name="T1" fmla="*/ 0 h 49"/>
                <a:gd name="T2" fmla="*/ 0 w 4"/>
                <a:gd name="T3" fmla="*/ 10 h 49"/>
                <a:gd name="T4" fmla="*/ 0 w 4"/>
                <a:gd name="T5" fmla="*/ 49 h 49"/>
                <a:gd name="T6" fmla="*/ 4 w 4"/>
                <a:gd name="T7" fmla="*/ 10 h 49"/>
                <a:gd name="T8" fmla="*/ 4 w 4"/>
                <a:gd name="T9" fmla="*/ 0 h 49"/>
                <a:gd name="T10" fmla="*/ 0 w 4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9">
                  <a:moveTo>
                    <a:pt x="0" y="0"/>
                  </a:moveTo>
                  <a:lnTo>
                    <a:pt x="0" y="10"/>
                  </a:lnTo>
                  <a:lnTo>
                    <a:pt x="0" y="49"/>
                  </a:lnTo>
                  <a:lnTo>
                    <a:pt x="4" y="1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22"/>
            <p:cNvSpPr>
              <a:spLocks/>
            </p:cNvSpPr>
            <p:nvPr/>
          </p:nvSpPr>
          <p:spPr bwMode="gray">
            <a:xfrm>
              <a:off x="8874425" y="4997770"/>
              <a:ext cx="34925" cy="47625"/>
            </a:xfrm>
            <a:custGeom>
              <a:avLst/>
              <a:gdLst>
                <a:gd name="T0" fmla="*/ 0 w 25"/>
                <a:gd name="T1" fmla="*/ 0 h 34"/>
                <a:gd name="T2" fmla="*/ 0 w 25"/>
                <a:gd name="T3" fmla="*/ 34 h 34"/>
                <a:gd name="T4" fmla="*/ 23 w 25"/>
                <a:gd name="T5" fmla="*/ 34 h 34"/>
                <a:gd name="T6" fmla="*/ 24 w 25"/>
                <a:gd name="T7" fmla="*/ 32 h 34"/>
                <a:gd name="T8" fmla="*/ 24 w 25"/>
                <a:gd name="T9" fmla="*/ 27 h 34"/>
                <a:gd name="T10" fmla="*/ 22 w 25"/>
                <a:gd name="T11" fmla="*/ 24 h 34"/>
                <a:gd name="T12" fmla="*/ 16 w 25"/>
                <a:gd name="T13" fmla="*/ 16 h 34"/>
                <a:gd name="T14" fmla="*/ 16 w 25"/>
                <a:gd name="T15" fmla="*/ 0 h 34"/>
                <a:gd name="T16" fmla="*/ 0 w 25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34">
                  <a:moveTo>
                    <a:pt x="0" y="0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23" y="34"/>
                    <a:pt x="24" y="34"/>
                    <a:pt x="24" y="32"/>
                  </a:cubicBezTo>
                  <a:cubicBezTo>
                    <a:pt x="24" y="30"/>
                    <a:pt x="24" y="27"/>
                    <a:pt x="24" y="27"/>
                  </a:cubicBezTo>
                  <a:cubicBezTo>
                    <a:pt x="24" y="27"/>
                    <a:pt x="25" y="26"/>
                    <a:pt x="22" y="24"/>
                  </a:cubicBezTo>
                  <a:cubicBezTo>
                    <a:pt x="20" y="23"/>
                    <a:pt x="16" y="18"/>
                    <a:pt x="16" y="16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23"/>
            <p:cNvSpPr>
              <a:spLocks/>
            </p:cNvSpPr>
            <p:nvPr/>
          </p:nvSpPr>
          <p:spPr bwMode="gray">
            <a:xfrm>
              <a:off x="8874425" y="5042220"/>
              <a:ext cx="33338" cy="4762"/>
            </a:xfrm>
            <a:custGeom>
              <a:avLst/>
              <a:gdLst>
                <a:gd name="T0" fmla="*/ 24 w 24"/>
                <a:gd name="T1" fmla="*/ 0 h 4"/>
                <a:gd name="T2" fmla="*/ 24 w 24"/>
                <a:gd name="T3" fmla="*/ 2 h 4"/>
                <a:gd name="T4" fmla="*/ 23 w 24"/>
                <a:gd name="T5" fmla="*/ 4 h 4"/>
                <a:gd name="T6" fmla="*/ 0 w 24"/>
                <a:gd name="T7" fmla="*/ 4 h 4"/>
                <a:gd name="T8" fmla="*/ 0 w 24"/>
                <a:gd name="T9" fmla="*/ 2 h 4"/>
                <a:gd name="T10" fmla="*/ 23 w 24"/>
                <a:gd name="T11" fmla="*/ 2 h 4"/>
                <a:gd name="T12" fmla="*/ 24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4" y="0"/>
                  </a:moveTo>
                  <a:cubicBezTo>
                    <a:pt x="24" y="0"/>
                    <a:pt x="24" y="1"/>
                    <a:pt x="24" y="2"/>
                  </a:cubicBezTo>
                  <a:cubicBezTo>
                    <a:pt x="24" y="4"/>
                    <a:pt x="23" y="4"/>
                    <a:pt x="23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3" y="2"/>
                    <a:pt x="24" y="2"/>
                    <a:pt x="24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24"/>
            <p:cNvSpPr>
              <a:spLocks/>
            </p:cNvSpPr>
            <p:nvPr/>
          </p:nvSpPr>
          <p:spPr bwMode="gray">
            <a:xfrm>
              <a:off x="8896650" y="5019995"/>
              <a:ext cx="11113" cy="25400"/>
            </a:xfrm>
            <a:custGeom>
              <a:avLst/>
              <a:gdLst>
                <a:gd name="T0" fmla="*/ 0 w 8"/>
                <a:gd name="T1" fmla="*/ 0 h 18"/>
                <a:gd name="T2" fmla="*/ 0 w 8"/>
                <a:gd name="T3" fmla="*/ 18 h 18"/>
                <a:gd name="T4" fmla="*/ 7 w 8"/>
                <a:gd name="T5" fmla="*/ 18 h 18"/>
                <a:gd name="T6" fmla="*/ 8 w 8"/>
                <a:gd name="T7" fmla="*/ 16 h 18"/>
                <a:gd name="T8" fmla="*/ 8 w 8"/>
                <a:gd name="T9" fmla="*/ 11 h 18"/>
                <a:gd name="T10" fmla="*/ 8 w 8"/>
                <a:gd name="T11" fmla="*/ 11 h 18"/>
                <a:gd name="T12" fmla="*/ 8 w 8"/>
                <a:gd name="T13" fmla="*/ 11 h 18"/>
                <a:gd name="T14" fmla="*/ 8 w 8"/>
                <a:gd name="T15" fmla="*/ 11 h 18"/>
                <a:gd name="T16" fmla="*/ 6 w 8"/>
                <a:gd name="T17" fmla="*/ 8 h 18"/>
                <a:gd name="T18" fmla="*/ 0 w 8"/>
                <a:gd name="T1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18">
                  <a:moveTo>
                    <a:pt x="0" y="0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7" y="18"/>
                    <a:pt x="8" y="18"/>
                    <a:pt x="8" y="16"/>
                  </a:cubicBezTo>
                  <a:cubicBezTo>
                    <a:pt x="8" y="14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0"/>
                    <a:pt x="8" y="9"/>
                    <a:pt x="6" y="8"/>
                  </a:cubicBezTo>
                  <a:cubicBezTo>
                    <a:pt x="4" y="7"/>
                    <a:pt x="0" y="2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25"/>
            <p:cNvSpPr>
              <a:spLocks/>
            </p:cNvSpPr>
            <p:nvPr/>
          </p:nvSpPr>
          <p:spPr bwMode="gray">
            <a:xfrm>
              <a:off x="8929987" y="4756470"/>
              <a:ext cx="9525" cy="1587"/>
            </a:xfrm>
            <a:custGeom>
              <a:avLst/>
              <a:gdLst>
                <a:gd name="T0" fmla="*/ 0 w 6"/>
                <a:gd name="T1" fmla="*/ 0 h 1"/>
                <a:gd name="T2" fmla="*/ 6 w 6"/>
                <a:gd name="T3" fmla="*/ 1 h 1"/>
                <a:gd name="T4" fmla="*/ 6 w 6"/>
                <a:gd name="T5" fmla="*/ 1 h 1"/>
                <a:gd name="T6" fmla="*/ 0 w 6"/>
                <a:gd name="T7" fmla="*/ 0 h 1"/>
                <a:gd name="T8" fmla="*/ 0 w 6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">
                  <a:moveTo>
                    <a:pt x="0" y="0"/>
                  </a:moveTo>
                  <a:lnTo>
                    <a:pt x="6" y="1"/>
                  </a:lnTo>
                  <a:lnTo>
                    <a:pt x="6" y="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BD9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26"/>
            <p:cNvSpPr>
              <a:spLocks/>
            </p:cNvSpPr>
            <p:nvPr/>
          </p:nvSpPr>
          <p:spPr bwMode="gray">
            <a:xfrm>
              <a:off x="8917287" y="4731070"/>
              <a:ext cx="0" cy="1587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F6CA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27"/>
            <p:cNvSpPr>
              <a:spLocks/>
            </p:cNvSpPr>
            <p:nvPr/>
          </p:nvSpPr>
          <p:spPr bwMode="gray">
            <a:xfrm>
              <a:off x="8899825" y="4724720"/>
              <a:ext cx="50800" cy="57150"/>
            </a:xfrm>
            <a:custGeom>
              <a:avLst/>
              <a:gdLst>
                <a:gd name="T0" fmla="*/ 33 w 36"/>
                <a:gd name="T1" fmla="*/ 16 h 42"/>
                <a:gd name="T2" fmla="*/ 28 w 36"/>
                <a:gd name="T3" fmla="*/ 7 h 42"/>
                <a:gd name="T4" fmla="*/ 27 w 36"/>
                <a:gd name="T5" fmla="*/ 5 h 42"/>
                <a:gd name="T6" fmla="*/ 27 w 36"/>
                <a:gd name="T7" fmla="*/ 5 h 42"/>
                <a:gd name="T8" fmla="*/ 17 w 36"/>
                <a:gd name="T9" fmla="*/ 4 h 42"/>
                <a:gd name="T10" fmla="*/ 13 w 36"/>
                <a:gd name="T11" fmla="*/ 0 h 42"/>
                <a:gd name="T12" fmla="*/ 13 w 36"/>
                <a:gd name="T13" fmla="*/ 0 h 42"/>
                <a:gd name="T14" fmla="*/ 13 w 36"/>
                <a:gd name="T15" fmla="*/ 5 h 42"/>
                <a:gd name="T16" fmla="*/ 13 w 36"/>
                <a:gd name="T17" fmla="*/ 6 h 42"/>
                <a:gd name="T18" fmla="*/ 13 w 36"/>
                <a:gd name="T19" fmla="*/ 11 h 42"/>
                <a:gd name="T20" fmla="*/ 14 w 36"/>
                <a:gd name="T21" fmla="*/ 14 h 42"/>
                <a:gd name="T22" fmla="*/ 11 w 36"/>
                <a:gd name="T23" fmla="*/ 14 h 42"/>
                <a:gd name="T24" fmla="*/ 6 w 36"/>
                <a:gd name="T25" fmla="*/ 11 h 42"/>
                <a:gd name="T26" fmla="*/ 3 w 36"/>
                <a:gd name="T27" fmla="*/ 12 h 42"/>
                <a:gd name="T28" fmla="*/ 4 w 36"/>
                <a:gd name="T29" fmla="*/ 17 h 42"/>
                <a:gd name="T30" fmla="*/ 5 w 36"/>
                <a:gd name="T31" fmla="*/ 20 h 42"/>
                <a:gd name="T32" fmla="*/ 6 w 36"/>
                <a:gd name="T33" fmla="*/ 22 h 42"/>
                <a:gd name="T34" fmla="*/ 6 w 36"/>
                <a:gd name="T35" fmla="*/ 22 h 42"/>
                <a:gd name="T36" fmla="*/ 6 w 36"/>
                <a:gd name="T37" fmla="*/ 22 h 42"/>
                <a:gd name="T38" fmla="*/ 2 w 36"/>
                <a:gd name="T39" fmla="*/ 31 h 42"/>
                <a:gd name="T40" fmla="*/ 0 w 36"/>
                <a:gd name="T41" fmla="*/ 30 h 42"/>
                <a:gd name="T42" fmla="*/ 2 w 36"/>
                <a:gd name="T43" fmla="*/ 41 h 42"/>
                <a:gd name="T44" fmla="*/ 19 w 36"/>
                <a:gd name="T45" fmla="*/ 42 h 42"/>
                <a:gd name="T46" fmla="*/ 18 w 36"/>
                <a:gd name="T47" fmla="*/ 36 h 42"/>
                <a:gd name="T48" fmla="*/ 23 w 36"/>
                <a:gd name="T49" fmla="*/ 37 h 42"/>
                <a:gd name="T50" fmla="*/ 28 w 36"/>
                <a:gd name="T51" fmla="*/ 34 h 42"/>
                <a:gd name="T52" fmla="*/ 29 w 36"/>
                <a:gd name="T53" fmla="*/ 29 h 42"/>
                <a:gd name="T54" fmla="*/ 29 w 36"/>
                <a:gd name="T55" fmla="*/ 24 h 42"/>
                <a:gd name="T56" fmla="*/ 30 w 36"/>
                <a:gd name="T57" fmla="*/ 20 h 42"/>
                <a:gd name="T58" fmla="*/ 33 w 36"/>
                <a:gd name="T59" fmla="*/ 1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6" h="42">
                  <a:moveTo>
                    <a:pt x="33" y="16"/>
                  </a:moveTo>
                  <a:cubicBezTo>
                    <a:pt x="33" y="16"/>
                    <a:pt x="28" y="8"/>
                    <a:pt x="28" y="7"/>
                  </a:cubicBezTo>
                  <a:cubicBezTo>
                    <a:pt x="27" y="6"/>
                    <a:pt x="27" y="5"/>
                    <a:pt x="27" y="5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3" y="6"/>
                    <a:pt x="20" y="5"/>
                    <a:pt x="17" y="4"/>
                  </a:cubicBezTo>
                  <a:cubicBezTo>
                    <a:pt x="15" y="2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13" y="9"/>
                    <a:pt x="13" y="11"/>
                  </a:cubicBezTo>
                  <a:cubicBezTo>
                    <a:pt x="14" y="12"/>
                    <a:pt x="14" y="14"/>
                    <a:pt x="14" y="14"/>
                  </a:cubicBezTo>
                  <a:cubicBezTo>
                    <a:pt x="14" y="16"/>
                    <a:pt x="11" y="14"/>
                    <a:pt x="11" y="14"/>
                  </a:cubicBezTo>
                  <a:cubicBezTo>
                    <a:pt x="11" y="14"/>
                    <a:pt x="9" y="12"/>
                    <a:pt x="6" y="11"/>
                  </a:cubicBezTo>
                  <a:cubicBezTo>
                    <a:pt x="5" y="11"/>
                    <a:pt x="4" y="11"/>
                    <a:pt x="3" y="12"/>
                  </a:cubicBezTo>
                  <a:cubicBezTo>
                    <a:pt x="3" y="13"/>
                    <a:pt x="3" y="15"/>
                    <a:pt x="4" y="17"/>
                  </a:cubicBezTo>
                  <a:cubicBezTo>
                    <a:pt x="4" y="18"/>
                    <a:pt x="4" y="20"/>
                    <a:pt x="5" y="20"/>
                  </a:cubicBezTo>
                  <a:cubicBezTo>
                    <a:pt x="5" y="21"/>
                    <a:pt x="6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6" y="28"/>
                    <a:pt x="2" y="31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20" y="37"/>
                    <a:pt x="21" y="37"/>
                    <a:pt x="23" y="37"/>
                  </a:cubicBezTo>
                  <a:cubicBezTo>
                    <a:pt x="28" y="37"/>
                    <a:pt x="28" y="34"/>
                    <a:pt x="28" y="34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6" y="19"/>
                    <a:pt x="34" y="17"/>
                    <a:pt x="33" y="16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28"/>
            <p:cNvSpPr>
              <a:spLocks/>
            </p:cNvSpPr>
            <p:nvPr/>
          </p:nvSpPr>
          <p:spPr bwMode="gray">
            <a:xfrm>
              <a:off x="8907762" y="4772345"/>
              <a:ext cx="17463" cy="4762"/>
            </a:xfrm>
            <a:custGeom>
              <a:avLst/>
              <a:gdLst>
                <a:gd name="T0" fmla="*/ 0 w 12"/>
                <a:gd name="T1" fmla="*/ 0 h 3"/>
                <a:gd name="T2" fmla="*/ 12 w 12"/>
                <a:gd name="T3" fmla="*/ 3 h 3"/>
                <a:gd name="T4" fmla="*/ 12 w 12"/>
                <a:gd name="T5" fmla="*/ 1 h 3"/>
                <a:gd name="T6" fmla="*/ 0 w 1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3">
                  <a:moveTo>
                    <a:pt x="0" y="0"/>
                  </a:moveTo>
                  <a:cubicBezTo>
                    <a:pt x="1" y="1"/>
                    <a:pt x="4" y="3"/>
                    <a:pt x="12" y="3"/>
                  </a:cubicBezTo>
                  <a:cubicBezTo>
                    <a:pt x="12" y="2"/>
                    <a:pt x="12" y="2"/>
                    <a:pt x="12" y="1"/>
                  </a:cubicBezTo>
                  <a:cubicBezTo>
                    <a:pt x="8" y="1"/>
                    <a:pt x="4" y="1"/>
                    <a:pt x="0" y="0"/>
                  </a:cubicBezTo>
                  <a:close/>
                </a:path>
              </a:pathLst>
            </a:custGeom>
            <a:solidFill>
              <a:srgbClr val="8054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29"/>
            <p:cNvSpPr>
              <a:spLocks/>
            </p:cNvSpPr>
            <p:nvPr/>
          </p:nvSpPr>
          <p:spPr bwMode="gray">
            <a:xfrm>
              <a:off x="8934750" y="4758058"/>
              <a:ext cx="4763" cy="4762"/>
            </a:xfrm>
            <a:custGeom>
              <a:avLst/>
              <a:gdLst>
                <a:gd name="T0" fmla="*/ 4 w 4"/>
                <a:gd name="T1" fmla="*/ 3 h 4"/>
                <a:gd name="T2" fmla="*/ 2 w 4"/>
                <a:gd name="T3" fmla="*/ 0 h 4"/>
                <a:gd name="T4" fmla="*/ 0 w 4"/>
                <a:gd name="T5" fmla="*/ 0 h 4"/>
                <a:gd name="T6" fmla="*/ 4 w 4"/>
                <a:gd name="T7" fmla="*/ 4 h 4"/>
                <a:gd name="T8" fmla="*/ 4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4" y="3"/>
                  </a:moveTo>
                  <a:cubicBezTo>
                    <a:pt x="3" y="2"/>
                    <a:pt x="2" y="1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2" y="2"/>
                    <a:pt x="4" y="4"/>
                  </a:cubicBezTo>
                  <a:lnTo>
                    <a:pt x="4" y="3"/>
                  </a:lnTo>
                  <a:close/>
                </a:path>
              </a:pathLst>
            </a:custGeom>
            <a:solidFill>
              <a:srgbClr val="8054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30"/>
            <p:cNvSpPr>
              <a:spLocks/>
            </p:cNvSpPr>
            <p:nvPr/>
          </p:nvSpPr>
          <p:spPr bwMode="gray">
            <a:xfrm>
              <a:off x="8937925" y="4758058"/>
              <a:ext cx="1588" cy="3175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0 h 3"/>
                <a:gd name="T4" fmla="*/ 2 w 2"/>
                <a:gd name="T5" fmla="*/ 3 h 3"/>
                <a:gd name="T6" fmla="*/ 2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2"/>
                    <a:pt x="2" y="3"/>
                  </a:cubicBezTo>
                  <a:lnTo>
                    <a:pt x="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31"/>
            <p:cNvSpPr>
              <a:spLocks/>
            </p:cNvSpPr>
            <p:nvPr/>
          </p:nvSpPr>
          <p:spPr bwMode="gray">
            <a:xfrm>
              <a:off x="8934750" y="4739008"/>
              <a:ext cx="4763" cy="3175"/>
            </a:xfrm>
            <a:custGeom>
              <a:avLst/>
              <a:gdLst>
                <a:gd name="T0" fmla="*/ 3 w 3"/>
                <a:gd name="T1" fmla="*/ 1 h 3"/>
                <a:gd name="T2" fmla="*/ 1 w 3"/>
                <a:gd name="T3" fmla="*/ 3 h 3"/>
                <a:gd name="T4" fmla="*/ 0 w 3"/>
                <a:gd name="T5" fmla="*/ 2 h 3"/>
                <a:gd name="T6" fmla="*/ 1 w 3"/>
                <a:gd name="T7" fmla="*/ 0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3" y="2"/>
                    <a:pt x="2" y="3"/>
                    <a:pt x="1" y="3"/>
                  </a:cubicBezTo>
                  <a:cubicBezTo>
                    <a:pt x="1" y="3"/>
                    <a:pt x="0" y="3"/>
                    <a:pt x="0" y="2"/>
                  </a:cubicBezTo>
                  <a:cubicBezTo>
                    <a:pt x="0" y="1"/>
                    <a:pt x="0" y="1"/>
                    <a:pt x="1" y="0"/>
                  </a:cubicBezTo>
                  <a:cubicBezTo>
                    <a:pt x="2" y="0"/>
                    <a:pt x="2" y="1"/>
                    <a:pt x="3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32"/>
            <p:cNvSpPr>
              <a:spLocks/>
            </p:cNvSpPr>
            <p:nvPr/>
          </p:nvSpPr>
          <p:spPr bwMode="gray">
            <a:xfrm>
              <a:off x="8893475" y="4772345"/>
              <a:ext cx="34925" cy="22225"/>
            </a:xfrm>
            <a:custGeom>
              <a:avLst/>
              <a:gdLst>
                <a:gd name="T0" fmla="*/ 0 w 22"/>
                <a:gd name="T1" fmla="*/ 8 h 14"/>
                <a:gd name="T2" fmla="*/ 2 w 22"/>
                <a:gd name="T3" fmla="*/ 0 h 14"/>
                <a:gd name="T4" fmla="*/ 22 w 22"/>
                <a:gd name="T5" fmla="*/ 4 h 14"/>
                <a:gd name="T6" fmla="*/ 22 w 22"/>
                <a:gd name="T7" fmla="*/ 14 h 14"/>
                <a:gd name="T8" fmla="*/ 0 w 22"/>
                <a:gd name="T9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4">
                  <a:moveTo>
                    <a:pt x="0" y="8"/>
                  </a:moveTo>
                  <a:lnTo>
                    <a:pt x="2" y="0"/>
                  </a:lnTo>
                  <a:lnTo>
                    <a:pt x="22" y="4"/>
                  </a:lnTo>
                  <a:lnTo>
                    <a:pt x="22" y="14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33"/>
            <p:cNvSpPr>
              <a:spLocks/>
            </p:cNvSpPr>
            <p:nvPr/>
          </p:nvSpPr>
          <p:spPr bwMode="gray">
            <a:xfrm>
              <a:off x="8855375" y="4777108"/>
              <a:ext cx="103188" cy="166687"/>
            </a:xfrm>
            <a:custGeom>
              <a:avLst/>
              <a:gdLst>
                <a:gd name="T0" fmla="*/ 31 w 74"/>
                <a:gd name="T1" fmla="*/ 4 h 121"/>
                <a:gd name="T2" fmla="*/ 14 w 74"/>
                <a:gd name="T3" fmla="*/ 24 h 121"/>
                <a:gd name="T4" fmla="*/ 0 w 74"/>
                <a:gd name="T5" fmla="*/ 119 h 121"/>
                <a:gd name="T6" fmla="*/ 68 w 74"/>
                <a:gd name="T7" fmla="*/ 115 h 121"/>
                <a:gd name="T8" fmla="*/ 62 w 74"/>
                <a:gd name="T9" fmla="*/ 16 h 121"/>
                <a:gd name="T10" fmla="*/ 31 w 74"/>
                <a:gd name="T11" fmla="*/ 4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121">
                  <a:moveTo>
                    <a:pt x="31" y="4"/>
                  </a:moveTo>
                  <a:cubicBezTo>
                    <a:pt x="17" y="5"/>
                    <a:pt x="14" y="22"/>
                    <a:pt x="14" y="24"/>
                  </a:cubicBezTo>
                  <a:cubicBezTo>
                    <a:pt x="13" y="49"/>
                    <a:pt x="11" y="118"/>
                    <a:pt x="0" y="119"/>
                  </a:cubicBezTo>
                  <a:cubicBezTo>
                    <a:pt x="60" y="119"/>
                    <a:pt x="62" y="121"/>
                    <a:pt x="68" y="115"/>
                  </a:cubicBezTo>
                  <a:cubicBezTo>
                    <a:pt x="74" y="109"/>
                    <a:pt x="62" y="16"/>
                    <a:pt x="62" y="16"/>
                  </a:cubicBezTo>
                  <a:cubicBezTo>
                    <a:pt x="61" y="0"/>
                    <a:pt x="48" y="3"/>
                    <a:pt x="31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34"/>
            <p:cNvSpPr>
              <a:spLocks/>
            </p:cNvSpPr>
            <p:nvPr/>
          </p:nvSpPr>
          <p:spPr bwMode="gray">
            <a:xfrm>
              <a:off x="8855375" y="4780283"/>
              <a:ext cx="69850" cy="160337"/>
            </a:xfrm>
            <a:custGeom>
              <a:avLst/>
              <a:gdLst>
                <a:gd name="T0" fmla="*/ 31 w 50"/>
                <a:gd name="T1" fmla="*/ 1 h 116"/>
                <a:gd name="T2" fmla="*/ 14 w 50"/>
                <a:gd name="T3" fmla="*/ 21 h 116"/>
                <a:gd name="T4" fmla="*/ 0 w 50"/>
                <a:gd name="T5" fmla="*/ 116 h 116"/>
                <a:gd name="T6" fmla="*/ 9 w 50"/>
                <a:gd name="T7" fmla="*/ 116 h 116"/>
                <a:gd name="T8" fmla="*/ 8 w 50"/>
                <a:gd name="T9" fmla="*/ 116 h 116"/>
                <a:gd name="T10" fmla="*/ 22 w 50"/>
                <a:gd name="T11" fmla="*/ 31 h 116"/>
                <a:gd name="T12" fmla="*/ 40 w 50"/>
                <a:gd name="T13" fmla="*/ 2 h 116"/>
                <a:gd name="T14" fmla="*/ 49 w 50"/>
                <a:gd name="T15" fmla="*/ 0 h 116"/>
                <a:gd name="T16" fmla="*/ 31 w 50"/>
                <a:gd name="T17" fmla="*/ 1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" h="116">
                  <a:moveTo>
                    <a:pt x="31" y="1"/>
                  </a:moveTo>
                  <a:cubicBezTo>
                    <a:pt x="17" y="2"/>
                    <a:pt x="14" y="19"/>
                    <a:pt x="14" y="21"/>
                  </a:cubicBezTo>
                  <a:cubicBezTo>
                    <a:pt x="13" y="46"/>
                    <a:pt x="11" y="115"/>
                    <a:pt x="0" y="116"/>
                  </a:cubicBezTo>
                  <a:cubicBezTo>
                    <a:pt x="3" y="116"/>
                    <a:pt x="6" y="116"/>
                    <a:pt x="9" y="116"/>
                  </a:cubicBezTo>
                  <a:cubicBezTo>
                    <a:pt x="8" y="116"/>
                    <a:pt x="8" y="116"/>
                    <a:pt x="8" y="116"/>
                  </a:cubicBezTo>
                  <a:cubicBezTo>
                    <a:pt x="20" y="115"/>
                    <a:pt x="21" y="55"/>
                    <a:pt x="22" y="31"/>
                  </a:cubicBezTo>
                  <a:cubicBezTo>
                    <a:pt x="22" y="29"/>
                    <a:pt x="26" y="3"/>
                    <a:pt x="40" y="2"/>
                  </a:cubicBezTo>
                  <a:cubicBezTo>
                    <a:pt x="43" y="2"/>
                    <a:pt x="50" y="1"/>
                    <a:pt x="49" y="0"/>
                  </a:cubicBezTo>
                  <a:cubicBezTo>
                    <a:pt x="44" y="0"/>
                    <a:pt x="38" y="0"/>
                    <a:pt x="31" y="1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35"/>
            <p:cNvSpPr>
              <a:spLocks/>
            </p:cNvSpPr>
            <p:nvPr/>
          </p:nvSpPr>
          <p:spPr bwMode="gray">
            <a:xfrm>
              <a:off x="8890300" y="4850133"/>
              <a:ext cx="87313" cy="55562"/>
            </a:xfrm>
            <a:custGeom>
              <a:avLst/>
              <a:gdLst>
                <a:gd name="T0" fmla="*/ 63 w 63"/>
                <a:gd name="T1" fmla="*/ 36 h 41"/>
                <a:gd name="T2" fmla="*/ 57 w 63"/>
                <a:gd name="T3" fmla="*/ 41 h 41"/>
                <a:gd name="T4" fmla="*/ 6 w 63"/>
                <a:gd name="T5" fmla="*/ 41 h 41"/>
                <a:gd name="T6" fmla="*/ 0 w 63"/>
                <a:gd name="T7" fmla="*/ 36 h 41"/>
                <a:gd name="T8" fmla="*/ 0 w 63"/>
                <a:gd name="T9" fmla="*/ 6 h 41"/>
                <a:gd name="T10" fmla="*/ 6 w 63"/>
                <a:gd name="T11" fmla="*/ 0 h 41"/>
                <a:gd name="T12" fmla="*/ 57 w 63"/>
                <a:gd name="T13" fmla="*/ 0 h 41"/>
                <a:gd name="T14" fmla="*/ 63 w 63"/>
                <a:gd name="T15" fmla="*/ 6 h 41"/>
                <a:gd name="T16" fmla="*/ 63 w 63"/>
                <a:gd name="T17" fmla="*/ 3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3" h="41">
                  <a:moveTo>
                    <a:pt x="63" y="36"/>
                  </a:moveTo>
                  <a:cubicBezTo>
                    <a:pt x="63" y="39"/>
                    <a:pt x="60" y="41"/>
                    <a:pt x="57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3" y="41"/>
                    <a:pt x="0" y="39"/>
                    <a:pt x="0" y="3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60" y="0"/>
                    <a:pt x="63" y="3"/>
                    <a:pt x="63" y="6"/>
                  </a:cubicBezTo>
                  <a:lnTo>
                    <a:pt x="63" y="36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36"/>
            <p:cNvSpPr>
              <a:spLocks/>
            </p:cNvSpPr>
            <p:nvPr/>
          </p:nvSpPr>
          <p:spPr bwMode="gray">
            <a:xfrm>
              <a:off x="8960150" y="4897758"/>
              <a:ext cx="19050" cy="20637"/>
            </a:xfrm>
            <a:custGeom>
              <a:avLst/>
              <a:gdLst>
                <a:gd name="T0" fmla="*/ 0 w 14"/>
                <a:gd name="T1" fmla="*/ 10 h 15"/>
                <a:gd name="T2" fmla="*/ 0 w 14"/>
                <a:gd name="T3" fmla="*/ 10 h 15"/>
                <a:gd name="T4" fmla="*/ 1 w 14"/>
                <a:gd name="T5" fmla="*/ 12 h 15"/>
                <a:gd name="T6" fmla="*/ 6 w 14"/>
                <a:gd name="T7" fmla="*/ 15 h 15"/>
                <a:gd name="T8" fmla="*/ 8 w 14"/>
                <a:gd name="T9" fmla="*/ 14 h 15"/>
                <a:gd name="T10" fmla="*/ 9 w 14"/>
                <a:gd name="T11" fmla="*/ 13 h 15"/>
                <a:gd name="T12" fmla="*/ 11 w 14"/>
                <a:gd name="T13" fmla="*/ 12 h 15"/>
                <a:gd name="T14" fmla="*/ 11 w 14"/>
                <a:gd name="T15" fmla="*/ 10 h 15"/>
                <a:gd name="T16" fmla="*/ 13 w 14"/>
                <a:gd name="T17" fmla="*/ 9 h 15"/>
                <a:gd name="T18" fmla="*/ 12 w 14"/>
                <a:gd name="T19" fmla="*/ 6 h 15"/>
                <a:gd name="T20" fmla="*/ 11 w 14"/>
                <a:gd name="T21" fmla="*/ 6 h 15"/>
                <a:gd name="T22" fmla="*/ 13 w 14"/>
                <a:gd name="T23" fmla="*/ 5 h 15"/>
                <a:gd name="T24" fmla="*/ 13 w 14"/>
                <a:gd name="T25" fmla="*/ 3 h 15"/>
                <a:gd name="T26" fmla="*/ 8 w 14"/>
                <a:gd name="T27" fmla="*/ 0 h 15"/>
                <a:gd name="T28" fmla="*/ 6 w 14"/>
                <a:gd name="T29" fmla="*/ 0 h 15"/>
                <a:gd name="T30" fmla="*/ 0 w 14"/>
                <a:gd name="T31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" h="15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1" y="12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5"/>
                    <a:pt x="8" y="15"/>
                    <a:pt x="8" y="14"/>
                  </a:cubicBezTo>
                  <a:cubicBezTo>
                    <a:pt x="9" y="14"/>
                    <a:pt x="9" y="13"/>
                    <a:pt x="9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1" y="11"/>
                    <a:pt x="11" y="10"/>
                    <a:pt x="11" y="10"/>
                  </a:cubicBezTo>
                  <a:cubicBezTo>
                    <a:pt x="11" y="10"/>
                    <a:pt x="12" y="10"/>
                    <a:pt x="13" y="9"/>
                  </a:cubicBezTo>
                  <a:cubicBezTo>
                    <a:pt x="13" y="8"/>
                    <a:pt x="13" y="7"/>
                    <a:pt x="1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3" y="6"/>
                    <a:pt x="13" y="5"/>
                  </a:cubicBezTo>
                  <a:cubicBezTo>
                    <a:pt x="14" y="4"/>
                    <a:pt x="14" y="3"/>
                    <a:pt x="13" y="3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2" y="2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37"/>
            <p:cNvSpPr>
              <a:spLocks/>
            </p:cNvSpPr>
            <p:nvPr/>
          </p:nvSpPr>
          <p:spPr bwMode="gray">
            <a:xfrm>
              <a:off x="8960150" y="4892995"/>
              <a:ext cx="15875" cy="6350"/>
            </a:xfrm>
            <a:custGeom>
              <a:avLst/>
              <a:gdLst>
                <a:gd name="T0" fmla="*/ 0 w 11"/>
                <a:gd name="T1" fmla="*/ 2 h 4"/>
                <a:gd name="T2" fmla="*/ 2 w 11"/>
                <a:gd name="T3" fmla="*/ 0 h 4"/>
                <a:gd name="T4" fmla="*/ 10 w 11"/>
                <a:gd name="T5" fmla="*/ 0 h 4"/>
                <a:gd name="T6" fmla="*/ 11 w 11"/>
                <a:gd name="T7" fmla="*/ 2 h 4"/>
                <a:gd name="T8" fmla="*/ 11 w 11"/>
                <a:gd name="T9" fmla="*/ 2 h 4"/>
                <a:gd name="T10" fmla="*/ 10 w 11"/>
                <a:gd name="T11" fmla="*/ 4 h 4"/>
                <a:gd name="T12" fmla="*/ 2 w 11"/>
                <a:gd name="T13" fmla="*/ 4 h 4"/>
                <a:gd name="T14" fmla="*/ 0 w 11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4"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1" y="1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0" y="4"/>
                    <a:pt x="10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38"/>
            <p:cNvSpPr>
              <a:spLocks/>
            </p:cNvSpPr>
            <p:nvPr/>
          </p:nvSpPr>
          <p:spPr bwMode="gray">
            <a:xfrm>
              <a:off x="8893475" y="4797745"/>
              <a:ext cx="77788" cy="115887"/>
            </a:xfrm>
            <a:custGeom>
              <a:avLst/>
              <a:gdLst>
                <a:gd name="T0" fmla="*/ 48 w 57"/>
                <a:gd name="T1" fmla="*/ 84 h 84"/>
                <a:gd name="T2" fmla="*/ 42 w 57"/>
                <a:gd name="T3" fmla="*/ 82 h 84"/>
                <a:gd name="T4" fmla="*/ 18 w 57"/>
                <a:gd name="T5" fmla="*/ 59 h 84"/>
                <a:gd name="T6" fmla="*/ 1 w 57"/>
                <a:gd name="T7" fmla="*/ 11 h 84"/>
                <a:gd name="T8" fmla="*/ 6 w 57"/>
                <a:gd name="T9" fmla="*/ 1 h 84"/>
                <a:gd name="T10" fmla="*/ 16 w 57"/>
                <a:gd name="T11" fmla="*/ 6 h 84"/>
                <a:gd name="T12" fmla="*/ 32 w 57"/>
                <a:gd name="T13" fmla="*/ 50 h 84"/>
                <a:gd name="T14" fmla="*/ 53 w 57"/>
                <a:gd name="T15" fmla="*/ 70 h 84"/>
                <a:gd name="T16" fmla="*/ 54 w 57"/>
                <a:gd name="T17" fmla="*/ 81 h 84"/>
                <a:gd name="T18" fmla="*/ 48 w 57"/>
                <a:gd name="T1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84">
                  <a:moveTo>
                    <a:pt x="48" y="84"/>
                  </a:moveTo>
                  <a:cubicBezTo>
                    <a:pt x="46" y="84"/>
                    <a:pt x="44" y="83"/>
                    <a:pt x="42" y="82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7"/>
                    <a:pt x="2" y="2"/>
                    <a:pt x="6" y="1"/>
                  </a:cubicBezTo>
                  <a:cubicBezTo>
                    <a:pt x="10" y="0"/>
                    <a:pt x="15" y="2"/>
                    <a:pt x="16" y="6"/>
                  </a:cubicBezTo>
                  <a:cubicBezTo>
                    <a:pt x="32" y="50"/>
                    <a:pt x="32" y="50"/>
                    <a:pt x="32" y="50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57" y="73"/>
                    <a:pt x="57" y="78"/>
                    <a:pt x="54" y="81"/>
                  </a:cubicBezTo>
                  <a:cubicBezTo>
                    <a:pt x="52" y="83"/>
                    <a:pt x="50" y="84"/>
                    <a:pt x="48" y="8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39"/>
            <p:cNvSpPr>
              <a:spLocks/>
            </p:cNvSpPr>
            <p:nvPr/>
          </p:nvSpPr>
          <p:spPr bwMode="gray">
            <a:xfrm>
              <a:off x="8893475" y="4799333"/>
              <a:ext cx="69850" cy="114300"/>
            </a:xfrm>
            <a:custGeom>
              <a:avLst/>
              <a:gdLst>
                <a:gd name="T0" fmla="*/ 48 w 51"/>
                <a:gd name="T1" fmla="*/ 76 h 82"/>
                <a:gd name="T2" fmla="*/ 23 w 51"/>
                <a:gd name="T3" fmla="*/ 53 h 82"/>
                <a:gd name="T4" fmla="*/ 5 w 51"/>
                <a:gd name="T5" fmla="*/ 2 h 82"/>
                <a:gd name="T6" fmla="*/ 4 w 51"/>
                <a:gd name="T7" fmla="*/ 0 h 82"/>
                <a:gd name="T8" fmla="*/ 1 w 51"/>
                <a:gd name="T9" fmla="*/ 9 h 82"/>
                <a:gd name="T10" fmla="*/ 18 w 51"/>
                <a:gd name="T11" fmla="*/ 57 h 82"/>
                <a:gd name="T12" fmla="*/ 42 w 51"/>
                <a:gd name="T13" fmla="*/ 80 h 82"/>
                <a:gd name="T14" fmla="*/ 48 w 51"/>
                <a:gd name="T15" fmla="*/ 82 h 82"/>
                <a:gd name="T16" fmla="*/ 51 w 51"/>
                <a:gd name="T17" fmla="*/ 81 h 82"/>
                <a:gd name="T18" fmla="*/ 48 w 51"/>
                <a:gd name="T19" fmla="*/ 76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82">
                  <a:moveTo>
                    <a:pt x="48" y="76"/>
                  </a:moveTo>
                  <a:cubicBezTo>
                    <a:pt x="23" y="53"/>
                    <a:pt x="23" y="53"/>
                    <a:pt x="23" y="53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1"/>
                    <a:pt x="5" y="1"/>
                    <a:pt x="4" y="0"/>
                  </a:cubicBezTo>
                  <a:cubicBezTo>
                    <a:pt x="1" y="2"/>
                    <a:pt x="0" y="6"/>
                    <a:pt x="1" y="9"/>
                  </a:cubicBezTo>
                  <a:cubicBezTo>
                    <a:pt x="18" y="57"/>
                    <a:pt x="18" y="57"/>
                    <a:pt x="18" y="57"/>
                  </a:cubicBezTo>
                  <a:cubicBezTo>
                    <a:pt x="42" y="80"/>
                    <a:pt x="42" y="80"/>
                    <a:pt x="42" y="80"/>
                  </a:cubicBezTo>
                  <a:cubicBezTo>
                    <a:pt x="44" y="81"/>
                    <a:pt x="46" y="82"/>
                    <a:pt x="48" y="82"/>
                  </a:cubicBezTo>
                  <a:cubicBezTo>
                    <a:pt x="49" y="82"/>
                    <a:pt x="50" y="82"/>
                    <a:pt x="51" y="81"/>
                  </a:cubicBezTo>
                  <a:cubicBezTo>
                    <a:pt x="51" y="79"/>
                    <a:pt x="50" y="78"/>
                    <a:pt x="48" y="76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40"/>
            <p:cNvSpPr>
              <a:spLocks/>
            </p:cNvSpPr>
            <p:nvPr/>
          </p:nvSpPr>
          <p:spPr bwMode="gray">
            <a:xfrm>
              <a:off x="8869662" y="4696145"/>
              <a:ext cx="73025" cy="73025"/>
            </a:xfrm>
            <a:custGeom>
              <a:avLst/>
              <a:gdLst>
                <a:gd name="T0" fmla="*/ 49 w 53"/>
                <a:gd name="T1" fmla="*/ 11 h 53"/>
                <a:gd name="T2" fmla="*/ 42 w 53"/>
                <a:gd name="T3" fmla="*/ 6 h 53"/>
                <a:gd name="T4" fmla="*/ 40 w 53"/>
                <a:gd name="T5" fmla="*/ 6 h 53"/>
                <a:gd name="T6" fmla="*/ 33 w 53"/>
                <a:gd name="T7" fmla="*/ 1 h 53"/>
                <a:gd name="T8" fmla="*/ 29 w 53"/>
                <a:gd name="T9" fmla="*/ 3 h 53"/>
                <a:gd name="T10" fmla="*/ 23 w 53"/>
                <a:gd name="T11" fmla="*/ 0 h 53"/>
                <a:gd name="T12" fmla="*/ 15 w 53"/>
                <a:gd name="T13" fmla="*/ 4 h 53"/>
                <a:gd name="T14" fmla="*/ 14 w 53"/>
                <a:gd name="T15" fmla="*/ 4 h 53"/>
                <a:gd name="T16" fmla="*/ 6 w 53"/>
                <a:gd name="T17" fmla="*/ 12 h 53"/>
                <a:gd name="T18" fmla="*/ 6 w 53"/>
                <a:gd name="T19" fmla="*/ 13 h 53"/>
                <a:gd name="T20" fmla="*/ 0 w 53"/>
                <a:gd name="T21" fmla="*/ 21 h 53"/>
                <a:gd name="T22" fmla="*/ 1 w 53"/>
                <a:gd name="T23" fmla="*/ 25 h 53"/>
                <a:gd name="T24" fmla="*/ 0 w 53"/>
                <a:gd name="T25" fmla="*/ 30 h 53"/>
                <a:gd name="T26" fmla="*/ 4 w 53"/>
                <a:gd name="T27" fmla="*/ 37 h 53"/>
                <a:gd name="T28" fmla="*/ 4 w 53"/>
                <a:gd name="T29" fmla="*/ 38 h 53"/>
                <a:gd name="T30" fmla="*/ 3 w 53"/>
                <a:gd name="T31" fmla="*/ 39 h 53"/>
                <a:gd name="T32" fmla="*/ 11 w 53"/>
                <a:gd name="T33" fmla="*/ 48 h 53"/>
                <a:gd name="T34" fmla="*/ 11 w 53"/>
                <a:gd name="T35" fmla="*/ 48 h 53"/>
                <a:gd name="T36" fmla="*/ 16 w 53"/>
                <a:gd name="T37" fmla="*/ 52 h 53"/>
                <a:gd name="T38" fmla="*/ 19 w 53"/>
                <a:gd name="T39" fmla="*/ 52 h 53"/>
                <a:gd name="T40" fmla="*/ 22 w 53"/>
                <a:gd name="T41" fmla="*/ 53 h 53"/>
                <a:gd name="T42" fmla="*/ 22 w 53"/>
                <a:gd name="T43" fmla="*/ 53 h 53"/>
                <a:gd name="T44" fmla="*/ 22 w 53"/>
                <a:gd name="T45" fmla="*/ 53 h 53"/>
                <a:gd name="T46" fmla="*/ 26 w 53"/>
                <a:gd name="T47" fmla="*/ 50 h 53"/>
                <a:gd name="T48" fmla="*/ 31 w 53"/>
                <a:gd name="T49" fmla="*/ 49 h 53"/>
                <a:gd name="T50" fmla="*/ 31 w 53"/>
                <a:gd name="T51" fmla="*/ 40 h 53"/>
                <a:gd name="T52" fmla="*/ 38 w 53"/>
                <a:gd name="T53" fmla="*/ 39 h 53"/>
                <a:gd name="T54" fmla="*/ 38 w 53"/>
                <a:gd name="T55" fmla="*/ 31 h 53"/>
                <a:gd name="T56" fmla="*/ 43 w 53"/>
                <a:gd name="T57" fmla="*/ 30 h 53"/>
                <a:gd name="T58" fmla="*/ 45 w 53"/>
                <a:gd name="T59" fmla="*/ 26 h 53"/>
                <a:gd name="T60" fmla="*/ 49 w 53"/>
                <a:gd name="T61" fmla="*/ 26 h 53"/>
                <a:gd name="T62" fmla="*/ 49 w 53"/>
                <a:gd name="T63" fmla="*/ 26 h 53"/>
                <a:gd name="T64" fmla="*/ 53 w 53"/>
                <a:gd name="T65" fmla="*/ 17 h 53"/>
                <a:gd name="T66" fmla="*/ 49 w 53"/>
                <a:gd name="T67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3" h="53">
                  <a:moveTo>
                    <a:pt x="49" y="11"/>
                  </a:moveTo>
                  <a:cubicBezTo>
                    <a:pt x="48" y="8"/>
                    <a:pt x="45" y="6"/>
                    <a:pt x="42" y="6"/>
                  </a:cubicBezTo>
                  <a:cubicBezTo>
                    <a:pt x="41" y="6"/>
                    <a:pt x="41" y="6"/>
                    <a:pt x="40" y="6"/>
                  </a:cubicBezTo>
                  <a:cubicBezTo>
                    <a:pt x="39" y="3"/>
                    <a:pt x="36" y="1"/>
                    <a:pt x="33" y="1"/>
                  </a:cubicBezTo>
                  <a:cubicBezTo>
                    <a:pt x="32" y="1"/>
                    <a:pt x="30" y="2"/>
                    <a:pt x="29" y="3"/>
                  </a:cubicBezTo>
                  <a:cubicBezTo>
                    <a:pt x="27" y="1"/>
                    <a:pt x="25" y="0"/>
                    <a:pt x="23" y="0"/>
                  </a:cubicBezTo>
                  <a:cubicBezTo>
                    <a:pt x="19" y="0"/>
                    <a:pt x="16" y="2"/>
                    <a:pt x="15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0" y="4"/>
                    <a:pt x="6" y="8"/>
                    <a:pt x="6" y="12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3" y="14"/>
                    <a:pt x="0" y="17"/>
                    <a:pt x="0" y="21"/>
                  </a:cubicBezTo>
                  <a:cubicBezTo>
                    <a:pt x="0" y="22"/>
                    <a:pt x="1" y="24"/>
                    <a:pt x="1" y="25"/>
                  </a:cubicBezTo>
                  <a:cubicBezTo>
                    <a:pt x="0" y="26"/>
                    <a:pt x="0" y="28"/>
                    <a:pt x="0" y="30"/>
                  </a:cubicBezTo>
                  <a:cubicBezTo>
                    <a:pt x="0" y="33"/>
                    <a:pt x="1" y="36"/>
                    <a:pt x="4" y="37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3" y="38"/>
                    <a:pt x="3" y="39"/>
                    <a:pt x="3" y="39"/>
                  </a:cubicBezTo>
                  <a:cubicBezTo>
                    <a:pt x="3" y="44"/>
                    <a:pt x="7" y="47"/>
                    <a:pt x="11" y="48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50"/>
                    <a:pt x="14" y="52"/>
                    <a:pt x="16" y="52"/>
                  </a:cubicBezTo>
                  <a:cubicBezTo>
                    <a:pt x="17" y="52"/>
                    <a:pt x="18" y="52"/>
                    <a:pt x="19" y="52"/>
                  </a:cubicBezTo>
                  <a:cubicBezTo>
                    <a:pt x="20" y="52"/>
                    <a:pt x="21" y="53"/>
                    <a:pt x="22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4" y="52"/>
                    <a:pt x="25" y="51"/>
                    <a:pt x="26" y="50"/>
                  </a:cubicBezTo>
                  <a:cubicBezTo>
                    <a:pt x="27" y="50"/>
                    <a:pt x="29" y="50"/>
                    <a:pt x="31" y="49"/>
                  </a:cubicBezTo>
                  <a:cubicBezTo>
                    <a:pt x="39" y="46"/>
                    <a:pt x="32" y="45"/>
                    <a:pt x="31" y="40"/>
                  </a:cubicBezTo>
                  <a:cubicBezTo>
                    <a:pt x="31" y="35"/>
                    <a:pt x="36" y="40"/>
                    <a:pt x="38" y="39"/>
                  </a:cubicBezTo>
                  <a:cubicBezTo>
                    <a:pt x="40" y="39"/>
                    <a:pt x="38" y="35"/>
                    <a:pt x="38" y="31"/>
                  </a:cubicBezTo>
                  <a:cubicBezTo>
                    <a:pt x="37" y="27"/>
                    <a:pt x="39" y="30"/>
                    <a:pt x="43" y="30"/>
                  </a:cubicBezTo>
                  <a:cubicBezTo>
                    <a:pt x="46" y="29"/>
                    <a:pt x="46" y="28"/>
                    <a:pt x="45" y="26"/>
                  </a:cubicBezTo>
                  <a:cubicBezTo>
                    <a:pt x="47" y="26"/>
                    <a:pt x="48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52" y="24"/>
                    <a:pt x="53" y="20"/>
                    <a:pt x="53" y="17"/>
                  </a:cubicBezTo>
                  <a:cubicBezTo>
                    <a:pt x="52" y="14"/>
                    <a:pt x="51" y="13"/>
                    <a:pt x="49" y="1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41"/>
            <p:cNvSpPr>
              <a:spLocks/>
            </p:cNvSpPr>
            <p:nvPr/>
          </p:nvSpPr>
          <p:spPr bwMode="gray">
            <a:xfrm>
              <a:off x="8861725" y="4683445"/>
              <a:ext cx="82550" cy="65087"/>
            </a:xfrm>
            <a:custGeom>
              <a:avLst/>
              <a:gdLst>
                <a:gd name="T0" fmla="*/ 60 w 60"/>
                <a:gd name="T1" fmla="*/ 26 h 47"/>
                <a:gd name="T2" fmla="*/ 59 w 60"/>
                <a:gd name="T3" fmla="*/ 21 h 47"/>
                <a:gd name="T4" fmla="*/ 22 w 60"/>
                <a:gd name="T5" fmla="*/ 6 h 47"/>
                <a:gd name="T6" fmla="*/ 6 w 60"/>
                <a:gd name="T7" fmla="*/ 43 h 47"/>
                <a:gd name="T8" fmla="*/ 8 w 60"/>
                <a:gd name="T9" fmla="*/ 47 h 47"/>
                <a:gd name="T10" fmla="*/ 60 w 60"/>
                <a:gd name="T11" fmla="*/ 2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47">
                  <a:moveTo>
                    <a:pt x="60" y="26"/>
                  </a:moveTo>
                  <a:cubicBezTo>
                    <a:pt x="60" y="24"/>
                    <a:pt x="59" y="23"/>
                    <a:pt x="59" y="21"/>
                  </a:cubicBezTo>
                  <a:cubicBezTo>
                    <a:pt x="53" y="7"/>
                    <a:pt x="36" y="0"/>
                    <a:pt x="22" y="6"/>
                  </a:cubicBezTo>
                  <a:cubicBezTo>
                    <a:pt x="7" y="12"/>
                    <a:pt x="0" y="29"/>
                    <a:pt x="6" y="43"/>
                  </a:cubicBezTo>
                  <a:cubicBezTo>
                    <a:pt x="7" y="44"/>
                    <a:pt x="7" y="46"/>
                    <a:pt x="8" y="47"/>
                  </a:cubicBezTo>
                  <a:lnTo>
                    <a:pt x="60" y="26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42"/>
            <p:cNvSpPr>
              <a:spLocks/>
            </p:cNvSpPr>
            <p:nvPr/>
          </p:nvSpPr>
          <p:spPr bwMode="gray">
            <a:xfrm>
              <a:off x="8885537" y="4683445"/>
              <a:ext cx="58738" cy="38100"/>
            </a:xfrm>
            <a:custGeom>
              <a:avLst/>
              <a:gdLst>
                <a:gd name="T0" fmla="*/ 34 w 42"/>
                <a:gd name="T1" fmla="*/ 24 h 28"/>
                <a:gd name="T2" fmla="*/ 35 w 42"/>
                <a:gd name="T3" fmla="*/ 28 h 28"/>
                <a:gd name="T4" fmla="*/ 42 w 42"/>
                <a:gd name="T5" fmla="*/ 26 h 28"/>
                <a:gd name="T6" fmla="*/ 41 w 42"/>
                <a:gd name="T7" fmla="*/ 21 h 28"/>
                <a:gd name="T8" fmla="*/ 4 w 42"/>
                <a:gd name="T9" fmla="*/ 6 h 28"/>
                <a:gd name="T10" fmla="*/ 0 w 42"/>
                <a:gd name="T11" fmla="*/ 8 h 28"/>
                <a:gd name="T12" fmla="*/ 34 w 42"/>
                <a:gd name="T13" fmla="*/ 2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28">
                  <a:moveTo>
                    <a:pt x="34" y="24"/>
                  </a:moveTo>
                  <a:cubicBezTo>
                    <a:pt x="34" y="26"/>
                    <a:pt x="34" y="27"/>
                    <a:pt x="35" y="28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2" y="24"/>
                    <a:pt x="41" y="23"/>
                    <a:pt x="41" y="21"/>
                  </a:cubicBezTo>
                  <a:cubicBezTo>
                    <a:pt x="35" y="7"/>
                    <a:pt x="18" y="0"/>
                    <a:pt x="4" y="6"/>
                  </a:cubicBezTo>
                  <a:cubicBezTo>
                    <a:pt x="2" y="7"/>
                    <a:pt x="1" y="7"/>
                    <a:pt x="0" y="8"/>
                  </a:cubicBezTo>
                  <a:cubicBezTo>
                    <a:pt x="14" y="4"/>
                    <a:pt x="28" y="11"/>
                    <a:pt x="34" y="24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43"/>
            <p:cNvSpPr>
              <a:spLocks/>
            </p:cNvSpPr>
            <p:nvPr/>
          </p:nvSpPr>
          <p:spPr bwMode="gray">
            <a:xfrm>
              <a:off x="8864900" y="4692970"/>
              <a:ext cx="26988" cy="55562"/>
            </a:xfrm>
            <a:custGeom>
              <a:avLst/>
              <a:gdLst>
                <a:gd name="T0" fmla="*/ 20 w 20"/>
                <a:gd name="T1" fmla="*/ 0 h 40"/>
                <a:gd name="T2" fmla="*/ 16 w 20"/>
                <a:gd name="T3" fmla="*/ 1 h 40"/>
                <a:gd name="T4" fmla="*/ 3 w 20"/>
                <a:gd name="T5" fmla="*/ 30 h 40"/>
                <a:gd name="T6" fmla="*/ 3 w 20"/>
                <a:gd name="T7" fmla="*/ 30 h 40"/>
                <a:gd name="T8" fmla="*/ 3 w 20"/>
                <a:gd name="T9" fmla="*/ 31 h 40"/>
                <a:gd name="T10" fmla="*/ 4 w 20"/>
                <a:gd name="T11" fmla="*/ 36 h 40"/>
                <a:gd name="T12" fmla="*/ 6 w 20"/>
                <a:gd name="T13" fmla="*/ 40 h 40"/>
                <a:gd name="T14" fmla="*/ 10 w 20"/>
                <a:gd name="T15" fmla="*/ 38 h 40"/>
                <a:gd name="T16" fmla="*/ 13 w 20"/>
                <a:gd name="T17" fmla="*/ 37 h 40"/>
                <a:gd name="T18" fmla="*/ 11 w 20"/>
                <a:gd name="T19" fmla="*/ 33 h 40"/>
                <a:gd name="T20" fmla="*/ 20 w 20"/>
                <a:gd name="T2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0">
                  <a:moveTo>
                    <a:pt x="20" y="0"/>
                  </a:moveTo>
                  <a:cubicBezTo>
                    <a:pt x="18" y="0"/>
                    <a:pt x="17" y="1"/>
                    <a:pt x="16" y="1"/>
                  </a:cubicBezTo>
                  <a:cubicBezTo>
                    <a:pt x="6" y="7"/>
                    <a:pt x="0" y="19"/>
                    <a:pt x="3" y="30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3" y="33"/>
                    <a:pt x="4" y="34"/>
                    <a:pt x="4" y="36"/>
                  </a:cubicBezTo>
                  <a:cubicBezTo>
                    <a:pt x="5" y="37"/>
                    <a:pt x="6" y="39"/>
                    <a:pt x="6" y="40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36"/>
                    <a:pt x="12" y="34"/>
                    <a:pt x="11" y="33"/>
                  </a:cubicBezTo>
                  <a:cubicBezTo>
                    <a:pt x="6" y="21"/>
                    <a:pt x="10" y="8"/>
                    <a:pt x="20" y="0"/>
                  </a:cubicBez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44"/>
            <p:cNvSpPr>
              <a:spLocks/>
            </p:cNvSpPr>
            <p:nvPr/>
          </p:nvSpPr>
          <p:spPr bwMode="gray">
            <a:xfrm>
              <a:off x="8864900" y="4708845"/>
              <a:ext cx="84138" cy="39687"/>
            </a:xfrm>
            <a:custGeom>
              <a:avLst/>
              <a:gdLst>
                <a:gd name="T0" fmla="*/ 58 w 61"/>
                <a:gd name="T1" fmla="*/ 0 h 29"/>
                <a:gd name="T2" fmla="*/ 1 w 61"/>
                <a:gd name="T3" fmla="*/ 23 h 29"/>
                <a:gd name="T4" fmla="*/ 1 w 61"/>
                <a:gd name="T5" fmla="*/ 27 h 29"/>
                <a:gd name="T6" fmla="*/ 3 w 61"/>
                <a:gd name="T7" fmla="*/ 29 h 29"/>
                <a:gd name="T8" fmla="*/ 61 w 61"/>
                <a:gd name="T9" fmla="*/ 5 h 29"/>
                <a:gd name="T10" fmla="*/ 61 w 61"/>
                <a:gd name="T11" fmla="*/ 2 h 29"/>
                <a:gd name="T12" fmla="*/ 58 w 61"/>
                <a:gd name="T13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29">
                  <a:moveTo>
                    <a:pt x="58" y="0"/>
                  </a:move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0" y="25"/>
                    <a:pt x="1" y="27"/>
                  </a:cubicBezTo>
                  <a:cubicBezTo>
                    <a:pt x="2" y="28"/>
                    <a:pt x="3" y="29"/>
                    <a:pt x="3" y="29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5"/>
                    <a:pt x="61" y="4"/>
                    <a:pt x="61" y="2"/>
                  </a:cubicBezTo>
                  <a:cubicBezTo>
                    <a:pt x="60" y="0"/>
                    <a:pt x="58" y="0"/>
                    <a:pt x="58" y="0"/>
                  </a:cubicBez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45"/>
            <p:cNvSpPr>
              <a:spLocks noEditPoints="1"/>
            </p:cNvSpPr>
            <p:nvPr/>
          </p:nvSpPr>
          <p:spPr bwMode="gray">
            <a:xfrm>
              <a:off x="8693450" y="5112070"/>
              <a:ext cx="246063" cy="301625"/>
            </a:xfrm>
            <a:custGeom>
              <a:avLst/>
              <a:gdLst>
                <a:gd name="T0" fmla="*/ 100 w 178"/>
                <a:gd name="T1" fmla="*/ 161 h 219"/>
                <a:gd name="T2" fmla="*/ 175 w 178"/>
                <a:gd name="T3" fmla="*/ 114 h 219"/>
                <a:gd name="T4" fmla="*/ 176 w 178"/>
                <a:gd name="T5" fmla="*/ 113 h 219"/>
                <a:gd name="T6" fmla="*/ 176 w 178"/>
                <a:gd name="T7" fmla="*/ 113 h 219"/>
                <a:gd name="T8" fmla="*/ 177 w 178"/>
                <a:gd name="T9" fmla="*/ 112 h 219"/>
                <a:gd name="T10" fmla="*/ 177 w 178"/>
                <a:gd name="T11" fmla="*/ 110 h 219"/>
                <a:gd name="T12" fmla="*/ 177 w 178"/>
                <a:gd name="T13" fmla="*/ 109 h 219"/>
                <a:gd name="T14" fmla="*/ 177 w 178"/>
                <a:gd name="T15" fmla="*/ 108 h 219"/>
                <a:gd name="T16" fmla="*/ 176 w 178"/>
                <a:gd name="T17" fmla="*/ 107 h 219"/>
                <a:gd name="T18" fmla="*/ 176 w 178"/>
                <a:gd name="T19" fmla="*/ 107 h 219"/>
                <a:gd name="T20" fmla="*/ 175 w 178"/>
                <a:gd name="T21" fmla="*/ 106 h 219"/>
                <a:gd name="T22" fmla="*/ 174 w 178"/>
                <a:gd name="T23" fmla="*/ 105 h 219"/>
                <a:gd name="T24" fmla="*/ 100 w 178"/>
                <a:gd name="T25" fmla="*/ 58 h 219"/>
                <a:gd name="T26" fmla="*/ 176 w 178"/>
                <a:gd name="T27" fmla="*/ 3 h 219"/>
                <a:gd name="T28" fmla="*/ 89 w 178"/>
                <a:gd name="T29" fmla="*/ 51 h 219"/>
                <a:gd name="T30" fmla="*/ 2 w 178"/>
                <a:gd name="T31" fmla="*/ 3 h 219"/>
                <a:gd name="T32" fmla="*/ 78 w 178"/>
                <a:gd name="T33" fmla="*/ 58 h 219"/>
                <a:gd name="T34" fmla="*/ 3 w 178"/>
                <a:gd name="T35" fmla="*/ 105 h 219"/>
                <a:gd name="T36" fmla="*/ 2 w 178"/>
                <a:gd name="T37" fmla="*/ 106 h 219"/>
                <a:gd name="T38" fmla="*/ 2 w 178"/>
                <a:gd name="T39" fmla="*/ 107 h 219"/>
                <a:gd name="T40" fmla="*/ 2 w 178"/>
                <a:gd name="T41" fmla="*/ 107 h 219"/>
                <a:gd name="T42" fmla="*/ 1 w 178"/>
                <a:gd name="T43" fmla="*/ 108 h 219"/>
                <a:gd name="T44" fmla="*/ 1 w 178"/>
                <a:gd name="T45" fmla="*/ 109 h 219"/>
                <a:gd name="T46" fmla="*/ 1 w 178"/>
                <a:gd name="T47" fmla="*/ 110 h 219"/>
                <a:gd name="T48" fmla="*/ 1 w 178"/>
                <a:gd name="T49" fmla="*/ 112 h 219"/>
                <a:gd name="T50" fmla="*/ 1 w 178"/>
                <a:gd name="T51" fmla="*/ 113 h 219"/>
                <a:gd name="T52" fmla="*/ 2 w 178"/>
                <a:gd name="T53" fmla="*/ 113 h 219"/>
                <a:gd name="T54" fmla="*/ 3 w 178"/>
                <a:gd name="T55" fmla="*/ 114 h 219"/>
                <a:gd name="T56" fmla="*/ 78 w 178"/>
                <a:gd name="T57" fmla="*/ 161 h 219"/>
                <a:gd name="T58" fmla="*/ 2 w 178"/>
                <a:gd name="T59" fmla="*/ 216 h 219"/>
                <a:gd name="T60" fmla="*/ 10 w 178"/>
                <a:gd name="T61" fmla="*/ 218 h 219"/>
                <a:gd name="T62" fmla="*/ 168 w 178"/>
                <a:gd name="T63" fmla="*/ 218 h 219"/>
                <a:gd name="T64" fmla="*/ 176 w 178"/>
                <a:gd name="T65" fmla="*/ 216 h 219"/>
                <a:gd name="T66" fmla="*/ 18 w 178"/>
                <a:gd name="T67" fmla="*/ 110 h 219"/>
                <a:gd name="T68" fmla="*/ 160 w 178"/>
                <a:gd name="T69" fmla="*/ 110 h 219"/>
                <a:gd name="T70" fmla="*/ 18 w 178"/>
                <a:gd name="T71" fmla="*/ 11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78" h="219">
                  <a:moveTo>
                    <a:pt x="174" y="208"/>
                  </a:moveTo>
                  <a:cubicBezTo>
                    <a:pt x="100" y="161"/>
                    <a:pt x="100" y="161"/>
                    <a:pt x="100" y="161"/>
                  </a:cubicBezTo>
                  <a:cubicBezTo>
                    <a:pt x="174" y="115"/>
                    <a:pt x="174" y="115"/>
                    <a:pt x="174" y="115"/>
                  </a:cubicBezTo>
                  <a:cubicBezTo>
                    <a:pt x="175" y="114"/>
                    <a:pt x="175" y="114"/>
                    <a:pt x="175" y="114"/>
                  </a:cubicBezTo>
                  <a:cubicBezTo>
                    <a:pt x="175" y="114"/>
                    <a:pt x="175" y="114"/>
                    <a:pt x="175" y="114"/>
                  </a:cubicBezTo>
                  <a:cubicBezTo>
                    <a:pt x="175" y="114"/>
                    <a:pt x="176" y="114"/>
                    <a:pt x="176" y="113"/>
                  </a:cubicBezTo>
                  <a:cubicBezTo>
                    <a:pt x="176" y="113"/>
                    <a:pt x="176" y="113"/>
                    <a:pt x="176" y="113"/>
                  </a:cubicBezTo>
                  <a:cubicBezTo>
                    <a:pt x="176" y="113"/>
                    <a:pt x="176" y="113"/>
                    <a:pt x="176" y="113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77" y="111"/>
                    <a:pt x="177" y="111"/>
                    <a:pt x="177" y="111"/>
                  </a:cubicBezTo>
                  <a:cubicBezTo>
                    <a:pt x="177" y="110"/>
                    <a:pt x="177" y="110"/>
                    <a:pt x="177" y="110"/>
                  </a:cubicBezTo>
                  <a:cubicBezTo>
                    <a:pt x="177" y="110"/>
                    <a:pt x="177" y="110"/>
                    <a:pt x="177" y="110"/>
                  </a:cubicBezTo>
                  <a:cubicBezTo>
                    <a:pt x="177" y="109"/>
                    <a:pt x="177" y="109"/>
                    <a:pt x="177" y="109"/>
                  </a:cubicBezTo>
                  <a:cubicBezTo>
                    <a:pt x="177" y="109"/>
                    <a:pt x="177" y="109"/>
                    <a:pt x="177" y="109"/>
                  </a:cubicBezTo>
                  <a:cubicBezTo>
                    <a:pt x="177" y="108"/>
                    <a:pt x="177" y="108"/>
                    <a:pt x="177" y="108"/>
                  </a:cubicBezTo>
                  <a:cubicBezTo>
                    <a:pt x="177" y="108"/>
                    <a:pt x="177" y="108"/>
                    <a:pt x="177" y="108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6"/>
                    <a:pt x="176" y="106"/>
                    <a:pt x="176" y="106"/>
                  </a:cubicBezTo>
                  <a:cubicBezTo>
                    <a:pt x="175" y="106"/>
                    <a:pt x="175" y="106"/>
                    <a:pt x="175" y="106"/>
                  </a:cubicBezTo>
                  <a:cubicBezTo>
                    <a:pt x="175" y="105"/>
                    <a:pt x="175" y="105"/>
                    <a:pt x="175" y="105"/>
                  </a:cubicBezTo>
                  <a:cubicBezTo>
                    <a:pt x="174" y="105"/>
                    <a:pt x="174" y="105"/>
                    <a:pt x="174" y="105"/>
                  </a:cubicBezTo>
                  <a:cubicBezTo>
                    <a:pt x="174" y="105"/>
                    <a:pt x="174" y="105"/>
                    <a:pt x="174" y="105"/>
                  </a:cubicBezTo>
                  <a:cubicBezTo>
                    <a:pt x="100" y="58"/>
                    <a:pt x="100" y="58"/>
                    <a:pt x="100" y="58"/>
                  </a:cubicBezTo>
                  <a:cubicBezTo>
                    <a:pt x="174" y="12"/>
                    <a:pt x="174" y="12"/>
                    <a:pt x="174" y="12"/>
                  </a:cubicBezTo>
                  <a:cubicBezTo>
                    <a:pt x="177" y="10"/>
                    <a:pt x="178" y="6"/>
                    <a:pt x="176" y="3"/>
                  </a:cubicBezTo>
                  <a:cubicBezTo>
                    <a:pt x="174" y="1"/>
                    <a:pt x="171" y="0"/>
                    <a:pt x="168" y="2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7" y="0"/>
                    <a:pt x="3" y="1"/>
                    <a:pt x="2" y="3"/>
                  </a:cubicBezTo>
                  <a:cubicBezTo>
                    <a:pt x="0" y="6"/>
                    <a:pt x="1" y="10"/>
                    <a:pt x="4" y="12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4" y="105"/>
                    <a:pt x="4" y="105"/>
                    <a:pt x="4" y="105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11"/>
                    <a:pt x="1" y="111"/>
                    <a:pt x="1" y="111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1" y="113"/>
                    <a:pt x="1" y="113"/>
                    <a:pt x="1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4"/>
                    <a:pt x="2" y="114"/>
                    <a:pt x="3" y="114"/>
                  </a:cubicBezTo>
                  <a:cubicBezTo>
                    <a:pt x="3" y="114"/>
                    <a:pt x="3" y="114"/>
                    <a:pt x="3" y="114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78" y="161"/>
                    <a:pt x="78" y="161"/>
                    <a:pt x="78" y="161"/>
                  </a:cubicBezTo>
                  <a:cubicBezTo>
                    <a:pt x="4" y="208"/>
                    <a:pt x="4" y="208"/>
                    <a:pt x="4" y="208"/>
                  </a:cubicBezTo>
                  <a:cubicBezTo>
                    <a:pt x="1" y="210"/>
                    <a:pt x="0" y="213"/>
                    <a:pt x="2" y="216"/>
                  </a:cubicBezTo>
                  <a:cubicBezTo>
                    <a:pt x="3" y="218"/>
                    <a:pt x="5" y="219"/>
                    <a:pt x="7" y="219"/>
                  </a:cubicBezTo>
                  <a:cubicBezTo>
                    <a:pt x="8" y="219"/>
                    <a:pt x="9" y="219"/>
                    <a:pt x="10" y="218"/>
                  </a:cubicBezTo>
                  <a:cubicBezTo>
                    <a:pt x="89" y="169"/>
                    <a:pt x="89" y="169"/>
                    <a:pt x="89" y="169"/>
                  </a:cubicBezTo>
                  <a:cubicBezTo>
                    <a:pt x="168" y="218"/>
                    <a:pt x="168" y="218"/>
                    <a:pt x="168" y="218"/>
                  </a:cubicBezTo>
                  <a:cubicBezTo>
                    <a:pt x="169" y="219"/>
                    <a:pt x="170" y="219"/>
                    <a:pt x="171" y="219"/>
                  </a:cubicBezTo>
                  <a:cubicBezTo>
                    <a:pt x="173" y="219"/>
                    <a:pt x="175" y="218"/>
                    <a:pt x="176" y="216"/>
                  </a:cubicBezTo>
                  <a:cubicBezTo>
                    <a:pt x="178" y="213"/>
                    <a:pt x="177" y="210"/>
                    <a:pt x="174" y="208"/>
                  </a:cubicBezTo>
                  <a:close/>
                  <a:moveTo>
                    <a:pt x="18" y="110"/>
                  </a:moveTo>
                  <a:cubicBezTo>
                    <a:pt x="89" y="65"/>
                    <a:pt x="89" y="65"/>
                    <a:pt x="89" y="65"/>
                  </a:cubicBezTo>
                  <a:cubicBezTo>
                    <a:pt x="160" y="110"/>
                    <a:pt x="160" y="110"/>
                    <a:pt x="160" y="110"/>
                  </a:cubicBezTo>
                  <a:cubicBezTo>
                    <a:pt x="89" y="154"/>
                    <a:pt x="89" y="154"/>
                    <a:pt x="89" y="154"/>
                  </a:cubicBezTo>
                  <a:lnTo>
                    <a:pt x="18" y="11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46"/>
            <p:cNvSpPr>
              <a:spLocks/>
            </p:cNvSpPr>
            <p:nvPr/>
          </p:nvSpPr>
          <p:spPr bwMode="gray">
            <a:xfrm>
              <a:off x="8642650" y="5386708"/>
              <a:ext cx="346075" cy="112712"/>
            </a:xfrm>
            <a:custGeom>
              <a:avLst/>
              <a:gdLst>
                <a:gd name="T0" fmla="*/ 250 w 250"/>
                <a:gd name="T1" fmla="*/ 72 h 81"/>
                <a:gd name="T2" fmla="*/ 241 w 250"/>
                <a:gd name="T3" fmla="*/ 81 h 81"/>
                <a:gd name="T4" fmla="*/ 9 w 250"/>
                <a:gd name="T5" fmla="*/ 81 h 81"/>
                <a:gd name="T6" fmla="*/ 0 w 250"/>
                <a:gd name="T7" fmla="*/ 72 h 81"/>
                <a:gd name="T8" fmla="*/ 0 w 250"/>
                <a:gd name="T9" fmla="*/ 9 h 81"/>
                <a:gd name="T10" fmla="*/ 9 w 250"/>
                <a:gd name="T11" fmla="*/ 0 h 81"/>
                <a:gd name="T12" fmla="*/ 241 w 250"/>
                <a:gd name="T13" fmla="*/ 0 h 81"/>
                <a:gd name="T14" fmla="*/ 250 w 250"/>
                <a:gd name="T15" fmla="*/ 9 h 81"/>
                <a:gd name="T16" fmla="*/ 250 w 250"/>
                <a:gd name="T17" fmla="*/ 7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81">
                  <a:moveTo>
                    <a:pt x="250" y="72"/>
                  </a:moveTo>
                  <a:cubicBezTo>
                    <a:pt x="250" y="77"/>
                    <a:pt x="246" y="81"/>
                    <a:pt x="241" y="81"/>
                  </a:cubicBezTo>
                  <a:cubicBezTo>
                    <a:pt x="9" y="81"/>
                    <a:pt x="9" y="81"/>
                    <a:pt x="9" y="81"/>
                  </a:cubicBezTo>
                  <a:cubicBezTo>
                    <a:pt x="4" y="81"/>
                    <a:pt x="0" y="77"/>
                    <a:pt x="0" y="72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lnTo>
                    <a:pt x="250" y="7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47"/>
            <p:cNvSpPr>
              <a:spLocks/>
            </p:cNvSpPr>
            <p:nvPr/>
          </p:nvSpPr>
          <p:spPr bwMode="gray">
            <a:xfrm>
              <a:off x="8642650" y="5405758"/>
              <a:ext cx="327025" cy="93662"/>
            </a:xfrm>
            <a:custGeom>
              <a:avLst/>
              <a:gdLst>
                <a:gd name="T0" fmla="*/ 22 w 236"/>
                <a:gd name="T1" fmla="*/ 55 h 68"/>
                <a:gd name="T2" fmla="*/ 14 w 236"/>
                <a:gd name="T3" fmla="*/ 46 h 68"/>
                <a:gd name="T4" fmla="*/ 14 w 236"/>
                <a:gd name="T5" fmla="*/ 0 h 68"/>
                <a:gd name="T6" fmla="*/ 0 w 236"/>
                <a:gd name="T7" fmla="*/ 0 h 68"/>
                <a:gd name="T8" fmla="*/ 0 w 236"/>
                <a:gd name="T9" fmla="*/ 59 h 68"/>
                <a:gd name="T10" fmla="*/ 9 w 236"/>
                <a:gd name="T11" fmla="*/ 68 h 68"/>
                <a:gd name="T12" fmla="*/ 236 w 236"/>
                <a:gd name="T13" fmla="*/ 68 h 68"/>
                <a:gd name="T14" fmla="*/ 236 w 236"/>
                <a:gd name="T15" fmla="*/ 55 h 68"/>
                <a:gd name="T16" fmla="*/ 22 w 236"/>
                <a:gd name="T17" fmla="*/ 55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6" h="68">
                  <a:moveTo>
                    <a:pt x="22" y="55"/>
                  </a:moveTo>
                  <a:cubicBezTo>
                    <a:pt x="17" y="55"/>
                    <a:pt x="14" y="51"/>
                    <a:pt x="14" y="46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64"/>
                    <a:pt x="4" y="68"/>
                    <a:pt x="9" y="68"/>
                  </a:cubicBezTo>
                  <a:cubicBezTo>
                    <a:pt x="236" y="68"/>
                    <a:pt x="236" y="68"/>
                    <a:pt x="236" y="68"/>
                  </a:cubicBezTo>
                  <a:cubicBezTo>
                    <a:pt x="236" y="55"/>
                    <a:pt x="236" y="55"/>
                    <a:pt x="236" y="55"/>
                  </a:cubicBezTo>
                  <a:lnTo>
                    <a:pt x="22" y="55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48"/>
            <p:cNvSpPr>
              <a:spLocks/>
            </p:cNvSpPr>
            <p:nvPr/>
          </p:nvSpPr>
          <p:spPr bwMode="gray">
            <a:xfrm>
              <a:off x="8642650" y="5386708"/>
              <a:ext cx="346075" cy="112712"/>
            </a:xfrm>
            <a:custGeom>
              <a:avLst/>
              <a:gdLst>
                <a:gd name="T0" fmla="*/ 241 w 250"/>
                <a:gd name="T1" fmla="*/ 81 h 81"/>
                <a:gd name="T2" fmla="*/ 236 w 250"/>
                <a:gd name="T3" fmla="*/ 81 h 81"/>
                <a:gd name="T4" fmla="*/ 236 w 250"/>
                <a:gd name="T5" fmla="*/ 22 h 81"/>
                <a:gd name="T6" fmla="*/ 228 w 250"/>
                <a:gd name="T7" fmla="*/ 13 h 81"/>
                <a:gd name="T8" fmla="*/ 0 w 250"/>
                <a:gd name="T9" fmla="*/ 13 h 81"/>
                <a:gd name="T10" fmla="*/ 0 w 250"/>
                <a:gd name="T11" fmla="*/ 9 h 81"/>
                <a:gd name="T12" fmla="*/ 9 w 250"/>
                <a:gd name="T13" fmla="*/ 0 h 81"/>
                <a:gd name="T14" fmla="*/ 241 w 250"/>
                <a:gd name="T15" fmla="*/ 0 h 81"/>
                <a:gd name="T16" fmla="*/ 250 w 250"/>
                <a:gd name="T17" fmla="*/ 9 h 81"/>
                <a:gd name="T18" fmla="*/ 250 w 250"/>
                <a:gd name="T19" fmla="*/ 72 h 81"/>
                <a:gd name="T20" fmla="*/ 241 w 250"/>
                <a:gd name="T21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" h="81">
                  <a:moveTo>
                    <a:pt x="241" y="81"/>
                  </a:moveTo>
                  <a:cubicBezTo>
                    <a:pt x="236" y="81"/>
                    <a:pt x="236" y="81"/>
                    <a:pt x="236" y="81"/>
                  </a:cubicBezTo>
                  <a:cubicBezTo>
                    <a:pt x="236" y="22"/>
                    <a:pt x="236" y="22"/>
                    <a:pt x="236" y="22"/>
                  </a:cubicBezTo>
                  <a:cubicBezTo>
                    <a:pt x="236" y="17"/>
                    <a:pt x="232" y="13"/>
                    <a:pt x="228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cubicBezTo>
                    <a:pt x="250" y="72"/>
                    <a:pt x="250" y="72"/>
                    <a:pt x="250" y="72"/>
                  </a:cubicBezTo>
                  <a:cubicBezTo>
                    <a:pt x="250" y="77"/>
                    <a:pt x="246" y="81"/>
                    <a:pt x="241" y="8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Oval 49"/>
            <p:cNvSpPr>
              <a:spLocks noChangeArrowheads="1"/>
            </p:cNvSpPr>
            <p:nvPr/>
          </p:nvSpPr>
          <p:spPr bwMode="gray">
            <a:xfrm>
              <a:off x="8674400" y="5454970"/>
              <a:ext cx="87313" cy="873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Oval 50"/>
            <p:cNvSpPr>
              <a:spLocks noChangeArrowheads="1"/>
            </p:cNvSpPr>
            <p:nvPr/>
          </p:nvSpPr>
          <p:spPr bwMode="gray">
            <a:xfrm>
              <a:off x="8693450" y="5474020"/>
              <a:ext cx="49213" cy="49212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51"/>
            <p:cNvSpPr>
              <a:spLocks/>
            </p:cNvSpPr>
            <p:nvPr/>
          </p:nvSpPr>
          <p:spPr bwMode="gray">
            <a:xfrm>
              <a:off x="8693450" y="5480370"/>
              <a:ext cx="42863" cy="42862"/>
            </a:xfrm>
            <a:custGeom>
              <a:avLst/>
              <a:gdLst>
                <a:gd name="T0" fmla="*/ 18 w 31"/>
                <a:gd name="T1" fmla="*/ 31 h 31"/>
                <a:gd name="T2" fmla="*/ 31 w 31"/>
                <a:gd name="T3" fmla="*/ 26 h 31"/>
                <a:gd name="T4" fmla="*/ 6 w 31"/>
                <a:gd name="T5" fmla="*/ 0 h 31"/>
                <a:gd name="T6" fmla="*/ 0 w 31"/>
                <a:gd name="T7" fmla="*/ 13 h 31"/>
                <a:gd name="T8" fmla="*/ 18 w 31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18" y="31"/>
                  </a:moveTo>
                  <a:cubicBezTo>
                    <a:pt x="23" y="31"/>
                    <a:pt x="28" y="29"/>
                    <a:pt x="31" y="2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4"/>
                    <a:pt x="0" y="8"/>
                    <a:pt x="0" y="13"/>
                  </a:cubicBezTo>
                  <a:cubicBezTo>
                    <a:pt x="0" y="23"/>
                    <a:pt x="8" y="31"/>
                    <a:pt x="18" y="3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Oval 52"/>
            <p:cNvSpPr>
              <a:spLocks noChangeArrowheads="1"/>
            </p:cNvSpPr>
            <p:nvPr/>
          </p:nvSpPr>
          <p:spPr bwMode="gray">
            <a:xfrm>
              <a:off x="8869662" y="5454970"/>
              <a:ext cx="87313" cy="873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Oval 53"/>
            <p:cNvSpPr>
              <a:spLocks noChangeArrowheads="1"/>
            </p:cNvSpPr>
            <p:nvPr/>
          </p:nvSpPr>
          <p:spPr bwMode="gray">
            <a:xfrm>
              <a:off x="8887125" y="5474020"/>
              <a:ext cx="50800" cy="49212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54"/>
            <p:cNvSpPr>
              <a:spLocks/>
            </p:cNvSpPr>
            <p:nvPr/>
          </p:nvSpPr>
          <p:spPr bwMode="gray">
            <a:xfrm>
              <a:off x="8887125" y="5480370"/>
              <a:ext cx="42863" cy="42862"/>
            </a:xfrm>
            <a:custGeom>
              <a:avLst/>
              <a:gdLst>
                <a:gd name="T0" fmla="*/ 18 w 31"/>
                <a:gd name="T1" fmla="*/ 31 h 31"/>
                <a:gd name="T2" fmla="*/ 31 w 31"/>
                <a:gd name="T3" fmla="*/ 26 h 31"/>
                <a:gd name="T4" fmla="*/ 6 w 31"/>
                <a:gd name="T5" fmla="*/ 0 h 31"/>
                <a:gd name="T6" fmla="*/ 0 w 31"/>
                <a:gd name="T7" fmla="*/ 13 h 31"/>
                <a:gd name="T8" fmla="*/ 18 w 31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18" y="31"/>
                  </a:moveTo>
                  <a:cubicBezTo>
                    <a:pt x="23" y="31"/>
                    <a:pt x="28" y="29"/>
                    <a:pt x="31" y="2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4"/>
                    <a:pt x="0" y="8"/>
                    <a:pt x="0" y="13"/>
                  </a:cubicBezTo>
                  <a:cubicBezTo>
                    <a:pt x="0" y="23"/>
                    <a:pt x="8" y="31"/>
                    <a:pt x="18" y="3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55"/>
            <p:cNvSpPr>
              <a:spLocks noEditPoints="1"/>
            </p:cNvSpPr>
            <p:nvPr/>
          </p:nvSpPr>
          <p:spPr bwMode="gray">
            <a:xfrm>
              <a:off x="8631537" y="4907283"/>
              <a:ext cx="368300" cy="223837"/>
            </a:xfrm>
            <a:custGeom>
              <a:avLst/>
              <a:gdLst>
                <a:gd name="T0" fmla="*/ 258 w 266"/>
                <a:gd name="T1" fmla="*/ 0 h 163"/>
                <a:gd name="T2" fmla="*/ 8 w 266"/>
                <a:gd name="T3" fmla="*/ 0 h 163"/>
                <a:gd name="T4" fmla="*/ 0 w 266"/>
                <a:gd name="T5" fmla="*/ 8 h 163"/>
                <a:gd name="T6" fmla="*/ 8 w 266"/>
                <a:gd name="T7" fmla="*/ 16 h 163"/>
                <a:gd name="T8" fmla="*/ 23 w 266"/>
                <a:gd name="T9" fmla="*/ 16 h 163"/>
                <a:gd name="T10" fmla="*/ 23 w 266"/>
                <a:gd name="T11" fmla="*/ 102 h 163"/>
                <a:gd name="T12" fmla="*/ 17 w 266"/>
                <a:gd name="T13" fmla="*/ 102 h 163"/>
                <a:gd name="T14" fmla="*/ 8 w 266"/>
                <a:gd name="T15" fmla="*/ 111 h 163"/>
                <a:gd name="T16" fmla="*/ 8 w 266"/>
                <a:gd name="T17" fmla="*/ 155 h 163"/>
                <a:gd name="T18" fmla="*/ 17 w 266"/>
                <a:gd name="T19" fmla="*/ 163 h 163"/>
                <a:gd name="T20" fmla="*/ 249 w 266"/>
                <a:gd name="T21" fmla="*/ 163 h 163"/>
                <a:gd name="T22" fmla="*/ 258 w 266"/>
                <a:gd name="T23" fmla="*/ 155 h 163"/>
                <a:gd name="T24" fmla="*/ 258 w 266"/>
                <a:gd name="T25" fmla="*/ 111 h 163"/>
                <a:gd name="T26" fmla="*/ 249 w 266"/>
                <a:gd name="T27" fmla="*/ 102 h 163"/>
                <a:gd name="T28" fmla="*/ 243 w 266"/>
                <a:gd name="T29" fmla="*/ 102 h 163"/>
                <a:gd name="T30" fmla="*/ 243 w 266"/>
                <a:gd name="T31" fmla="*/ 16 h 163"/>
                <a:gd name="T32" fmla="*/ 258 w 266"/>
                <a:gd name="T33" fmla="*/ 16 h 163"/>
                <a:gd name="T34" fmla="*/ 266 w 266"/>
                <a:gd name="T35" fmla="*/ 8 h 163"/>
                <a:gd name="T36" fmla="*/ 258 w 266"/>
                <a:gd name="T37" fmla="*/ 0 h 163"/>
                <a:gd name="T38" fmla="*/ 189 w 266"/>
                <a:gd name="T39" fmla="*/ 16 h 163"/>
                <a:gd name="T40" fmla="*/ 189 w 266"/>
                <a:gd name="T41" fmla="*/ 102 h 163"/>
                <a:gd name="T42" fmla="*/ 160 w 266"/>
                <a:gd name="T43" fmla="*/ 102 h 163"/>
                <a:gd name="T44" fmla="*/ 160 w 266"/>
                <a:gd name="T45" fmla="*/ 16 h 163"/>
                <a:gd name="T46" fmla="*/ 189 w 266"/>
                <a:gd name="T47" fmla="*/ 16 h 163"/>
                <a:gd name="T48" fmla="*/ 148 w 266"/>
                <a:gd name="T49" fmla="*/ 16 h 163"/>
                <a:gd name="T50" fmla="*/ 148 w 266"/>
                <a:gd name="T51" fmla="*/ 102 h 163"/>
                <a:gd name="T52" fmla="*/ 118 w 266"/>
                <a:gd name="T53" fmla="*/ 102 h 163"/>
                <a:gd name="T54" fmla="*/ 118 w 266"/>
                <a:gd name="T55" fmla="*/ 16 h 163"/>
                <a:gd name="T56" fmla="*/ 148 w 266"/>
                <a:gd name="T57" fmla="*/ 16 h 163"/>
                <a:gd name="T58" fmla="*/ 106 w 266"/>
                <a:gd name="T59" fmla="*/ 16 h 163"/>
                <a:gd name="T60" fmla="*/ 106 w 266"/>
                <a:gd name="T61" fmla="*/ 102 h 163"/>
                <a:gd name="T62" fmla="*/ 77 w 266"/>
                <a:gd name="T63" fmla="*/ 102 h 163"/>
                <a:gd name="T64" fmla="*/ 77 w 266"/>
                <a:gd name="T65" fmla="*/ 16 h 163"/>
                <a:gd name="T66" fmla="*/ 106 w 266"/>
                <a:gd name="T67" fmla="*/ 16 h 163"/>
                <a:gd name="T68" fmla="*/ 35 w 266"/>
                <a:gd name="T69" fmla="*/ 16 h 163"/>
                <a:gd name="T70" fmla="*/ 65 w 266"/>
                <a:gd name="T71" fmla="*/ 16 h 163"/>
                <a:gd name="T72" fmla="*/ 65 w 266"/>
                <a:gd name="T73" fmla="*/ 102 h 163"/>
                <a:gd name="T74" fmla="*/ 35 w 266"/>
                <a:gd name="T75" fmla="*/ 102 h 163"/>
                <a:gd name="T76" fmla="*/ 35 w 266"/>
                <a:gd name="T77" fmla="*/ 16 h 163"/>
                <a:gd name="T78" fmla="*/ 201 w 266"/>
                <a:gd name="T79" fmla="*/ 102 h 163"/>
                <a:gd name="T80" fmla="*/ 201 w 266"/>
                <a:gd name="T81" fmla="*/ 16 h 163"/>
                <a:gd name="T82" fmla="*/ 231 w 266"/>
                <a:gd name="T83" fmla="*/ 16 h 163"/>
                <a:gd name="T84" fmla="*/ 231 w 266"/>
                <a:gd name="T85" fmla="*/ 102 h 163"/>
                <a:gd name="T86" fmla="*/ 201 w 266"/>
                <a:gd name="T87" fmla="*/ 102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66" h="163">
                  <a:moveTo>
                    <a:pt x="25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3"/>
                    <a:pt x="4" y="16"/>
                    <a:pt x="8" y="16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3" y="102"/>
                    <a:pt x="23" y="102"/>
                    <a:pt x="23" y="102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2" y="102"/>
                    <a:pt x="8" y="106"/>
                    <a:pt x="8" y="111"/>
                  </a:cubicBezTo>
                  <a:cubicBezTo>
                    <a:pt x="8" y="155"/>
                    <a:pt x="8" y="155"/>
                    <a:pt x="8" y="155"/>
                  </a:cubicBezTo>
                  <a:cubicBezTo>
                    <a:pt x="8" y="160"/>
                    <a:pt x="12" y="163"/>
                    <a:pt x="17" y="163"/>
                  </a:cubicBezTo>
                  <a:cubicBezTo>
                    <a:pt x="249" y="163"/>
                    <a:pt x="249" y="163"/>
                    <a:pt x="249" y="163"/>
                  </a:cubicBezTo>
                  <a:cubicBezTo>
                    <a:pt x="254" y="163"/>
                    <a:pt x="258" y="160"/>
                    <a:pt x="258" y="155"/>
                  </a:cubicBezTo>
                  <a:cubicBezTo>
                    <a:pt x="258" y="111"/>
                    <a:pt x="258" y="111"/>
                    <a:pt x="258" y="111"/>
                  </a:cubicBezTo>
                  <a:cubicBezTo>
                    <a:pt x="258" y="106"/>
                    <a:pt x="254" y="102"/>
                    <a:pt x="249" y="102"/>
                  </a:cubicBezTo>
                  <a:cubicBezTo>
                    <a:pt x="243" y="102"/>
                    <a:pt x="243" y="102"/>
                    <a:pt x="243" y="102"/>
                  </a:cubicBezTo>
                  <a:cubicBezTo>
                    <a:pt x="243" y="16"/>
                    <a:pt x="243" y="16"/>
                    <a:pt x="243" y="16"/>
                  </a:cubicBezTo>
                  <a:cubicBezTo>
                    <a:pt x="258" y="16"/>
                    <a:pt x="258" y="16"/>
                    <a:pt x="258" y="16"/>
                  </a:cubicBezTo>
                  <a:cubicBezTo>
                    <a:pt x="262" y="16"/>
                    <a:pt x="266" y="13"/>
                    <a:pt x="266" y="8"/>
                  </a:cubicBezTo>
                  <a:cubicBezTo>
                    <a:pt x="266" y="4"/>
                    <a:pt x="262" y="0"/>
                    <a:pt x="258" y="0"/>
                  </a:cubicBezTo>
                  <a:close/>
                  <a:moveTo>
                    <a:pt x="189" y="16"/>
                  </a:moveTo>
                  <a:cubicBezTo>
                    <a:pt x="189" y="102"/>
                    <a:pt x="189" y="102"/>
                    <a:pt x="189" y="102"/>
                  </a:cubicBezTo>
                  <a:cubicBezTo>
                    <a:pt x="160" y="102"/>
                    <a:pt x="160" y="102"/>
                    <a:pt x="160" y="102"/>
                  </a:cubicBezTo>
                  <a:cubicBezTo>
                    <a:pt x="160" y="16"/>
                    <a:pt x="160" y="16"/>
                    <a:pt x="160" y="16"/>
                  </a:cubicBezTo>
                  <a:lnTo>
                    <a:pt x="189" y="16"/>
                  </a:lnTo>
                  <a:close/>
                  <a:moveTo>
                    <a:pt x="148" y="16"/>
                  </a:moveTo>
                  <a:cubicBezTo>
                    <a:pt x="148" y="102"/>
                    <a:pt x="148" y="102"/>
                    <a:pt x="148" y="102"/>
                  </a:cubicBezTo>
                  <a:cubicBezTo>
                    <a:pt x="118" y="102"/>
                    <a:pt x="118" y="102"/>
                    <a:pt x="118" y="102"/>
                  </a:cubicBezTo>
                  <a:cubicBezTo>
                    <a:pt x="118" y="16"/>
                    <a:pt x="118" y="16"/>
                    <a:pt x="118" y="16"/>
                  </a:cubicBezTo>
                  <a:lnTo>
                    <a:pt x="148" y="16"/>
                  </a:lnTo>
                  <a:close/>
                  <a:moveTo>
                    <a:pt x="106" y="16"/>
                  </a:moveTo>
                  <a:cubicBezTo>
                    <a:pt x="106" y="102"/>
                    <a:pt x="106" y="102"/>
                    <a:pt x="106" y="102"/>
                  </a:cubicBezTo>
                  <a:cubicBezTo>
                    <a:pt x="77" y="102"/>
                    <a:pt x="77" y="102"/>
                    <a:pt x="77" y="102"/>
                  </a:cubicBezTo>
                  <a:cubicBezTo>
                    <a:pt x="77" y="16"/>
                    <a:pt x="77" y="16"/>
                    <a:pt x="77" y="16"/>
                  </a:cubicBezTo>
                  <a:lnTo>
                    <a:pt x="106" y="16"/>
                  </a:lnTo>
                  <a:close/>
                  <a:moveTo>
                    <a:pt x="35" y="16"/>
                  </a:moveTo>
                  <a:cubicBezTo>
                    <a:pt x="65" y="16"/>
                    <a:pt x="65" y="16"/>
                    <a:pt x="65" y="16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35" y="102"/>
                    <a:pt x="35" y="102"/>
                    <a:pt x="35" y="102"/>
                  </a:cubicBezTo>
                  <a:lnTo>
                    <a:pt x="35" y="16"/>
                  </a:lnTo>
                  <a:close/>
                  <a:moveTo>
                    <a:pt x="201" y="102"/>
                  </a:moveTo>
                  <a:cubicBezTo>
                    <a:pt x="201" y="16"/>
                    <a:pt x="201" y="16"/>
                    <a:pt x="201" y="16"/>
                  </a:cubicBezTo>
                  <a:cubicBezTo>
                    <a:pt x="231" y="16"/>
                    <a:pt x="231" y="16"/>
                    <a:pt x="231" y="16"/>
                  </a:cubicBezTo>
                  <a:cubicBezTo>
                    <a:pt x="231" y="102"/>
                    <a:pt x="231" y="102"/>
                    <a:pt x="231" y="102"/>
                  </a:cubicBezTo>
                  <a:lnTo>
                    <a:pt x="201" y="10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56"/>
            <p:cNvSpPr>
              <a:spLocks/>
            </p:cNvSpPr>
            <p:nvPr/>
          </p:nvSpPr>
          <p:spPr bwMode="gray">
            <a:xfrm>
              <a:off x="8642650" y="5067620"/>
              <a:ext cx="327025" cy="63500"/>
            </a:xfrm>
            <a:custGeom>
              <a:avLst/>
              <a:gdLst>
                <a:gd name="T0" fmla="*/ 22 w 236"/>
                <a:gd name="T1" fmla="*/ 34 h 47"/>
                <a:gd name="T2" fmla="*/ 14 w 236"/>
                <a:gd name="T3" fmla="*/ 25 h 47"/>
                <a:gd name="T4" fmla="*/ 14 w 236"/>
                <a:gd name="T5" fmla="*/ 0 h 47"/>
                <a:gd name="T6" fmla="*/ 0 w 236"/>
                <a:gd name="T7" fmla="*/ 0 h 47"/>
                <a:gd name="T8" fmla="*/ 0 w 236"/>
                <a:gd name="T9" fmla="*/ 39 h 47"/>
                <a:gd name="T10" fmla="*/ 9 w 236"/>
                <a:gd name="T11" fmla="*/ 47 h 47"/>
                <a:gd name="T12" fmla="*/ 236 w 236"/>
                <a:gd name="T13" fmla="*/ 47 h 47"/>
                <a:gd name="T14" fmla="*/ 236 w 236"/>
                <a:gd name="T15" fmla="*/ 34 h 47"/>
                <a:gd name="T16" fmla="*/ 22 w 236"/>
                <a:gd name="T17" fmla="*/ 34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6" h="47">
                  <a:moveTo>
                    <a:pt x="22" y="34"/>
                  </a:moveTo>
                  <a:cubicBezTo>
                    <a:pt x="17" y="34"/>
                    <a:pt x="14" y="30"/>
                    <a:pt x="14" y="2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4"/>
                    <a:pt x="4" y="47"/>
                    <a:pt x="9" y="47"/>
                  </a:cubicBezTo>
                  <a:cubicBezTo>
                    <a:pt x="236" y="47"/>
                    <a:pt x="236" y="47"/>
                    <a:pt x="236" y="47"/>
                  </a:cubicBezTo>
                  <a:cubicBezTo>
                    <a:pt x="236" y="34"/>
                    <a:pt x="236" y="34"/>
                    <a:pt x="236" y="34"/>
                  </a:cubicBezTo>
                  <a:lnTo>
                    <a:pt x="22" y="34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57"/>
            <p:cNvSpPr>
              <a:spLocks/>
            </p:cNvSpPr>
            <p:nvPr/>
          </p:nvSpPr>
          <p:spPr bwMode="gray">
            <a:xfrm>
              <a:off x="8642650" y="5046983"/>
              <a:ext cx="346075" cy="84137"/>
            </a:xfrm>
            <a:custGeom>
              <a:avLst/>
              <a:gdLst>
                <a:gd name="T0" fmla="*/ 241 w 250"/>
                <a:gd name="T1" fmla="*/ 61 h 61"/>
                <a:gd name="T2" fmla="*/ 236 w 250"/>
                <a:gd name="T3" fmla="*/ 61 h 61"/>
                <a:gd name="T4" fmla="*/ 236 w 250"/>
                <a:gd name="T5" fmla="*/ 22 h 61"/>
                <a:gd name="T6" fmla="*/ 228 w 250"/>
                <a:gd name="T7" fmla="*/ 14 h 61"/>
                <a:gd name="T8" fmla="*/ 0 w 250"/>
                <a:gd name="T9" fmla="*/ 14 h 61"/>
                <a:gd name="T10" fmla="*/ 0 w 250"/>
                <a:gd name="T11" fmla="*/ 9 h 61"/>
                <a:gd name="T12" fmla="*/ 9 w 250"/>
                <a:gd name="T13" fmla="*/ 0 h 61"/>
                <a:gd name="T14" fmla="*/ 241 w 250"/>
                <a:gd name="T15" fmla="*/ 0 h 61"/>
                <a:gd name="T16" fmla="*/ 250 w 250"/>
                <a:gd name="T17" fmla="*/ 9 h 61"/>
                <a:gd name="T18" fmla="*/ 250 w 250"/>
                <a:gd name="T19" fmla="*/ 53 h 61"/>
                <a:gd name="T20" fmla="*/ 241 w 250"/>
                <a:gd name="T2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" h="61">
                  <a:moveTo>
                    <a:pt x="241" y="61"/>
                  </a:moveTo>
                  <a:cubicBezTo>
                    <a:pt x="236" y="61"/>
                    <a:pt x="236" y="61"/>
                    <a:pt x="236" y="61"/>
                  </a:cubicBezTo>
                  <a:cubicBezTo>
                    <a:pt x="236" y="22"/>
                    <a:pt x="236" y="22"/>
                    <a:pt x="236" y="22"/>
                  </a:cubicBezTo>
                  <a:cubicBezTo>
                    <a:pt x="236" y="18"/>
                    <a:pt x="232" y="14"/>
                    <a:pt x="228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cubicBezTo>
                    <a:pt x="250" y="53"/>
                    <a:pt x="250" y="53"/>
                    <a:pt x="250" y="53"/>
                  </a:cubicBezTo>
                  <a:cubicBezTo>
                    <a:pt x="250" y="58"/>
                    <a:pt x="246" y="61"/>
                    <a:pt x="241" y="6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58"/>
            <p:cNvSpPr>
              <a:spLocks/>
            </p:cNvSpPr>
            <p:nvPr/>
          </p:nvSpPr>
          <p:spPr bwMode="gray">
            <a:xfrm>
              <a:off x="10792125" y="4919983"/>
              <a:ext cx="61913" cy="311150"/>
            </a:xfrm>
            <a:custGeom>
              <a:avLst/>
              <a:gdLst>
                <a:gd name="T0" fmla="*/ 39 w 45"/>
                <a:gd name="T1" fmla="*/ 180 h 226"/>
                <a:gd name="T2" fmla="*/ 33 w 45"/>
                <a:gd name="T3" fmla="*/ 180 h 226"/>
                <a:gd name="T4" fmla="*/ 33 w 45"/>
                <a:gd name="T5" fmla="*/ 0 h 226"/>
                <a:gd name="T6" fmla="*/ 12 w 45"/>
                <a:gd name="T7" fmla="*/ 0 h 226"/>
                <a:gd name="T8" fmla="*/ 12 w 45"/>
                <a:gd name="T9" fmla="*/ 180 h 226"/>
                <a:gd name="T10" fmla="*/ 5 w 45"/>
                <a:gd name="T11" fmla="*/ 180 h 226"/>
                <a:gd name="T12" fmla="*/ 0 w 45"/>
                <a:gd name="T13" fmla="*/ 186 h 226"/>
                <a:gd name="T14" fmla="*/ 0 w 45"/>
                <a:gd name="T15" fmla="*/ 226 h 226"/>
                <a:gd name="T16" fmla="*/ 45 w 45"/>
                <a:gd name="T17" fmla="*/ 226 h 226"/>
                <a:gd name="T18" fmla="*/ 45 w 45"/>
                <a:gd name="T19" fmla="*/ 186 h 226"/>
                <a:gd name="T20" fmla="*/ 39 w 45"/>
                <a:gd name="T21" fmla="*/ 18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" h="226">
                  <a:moveTo>
                    <a:pt x="39" y="180"/>
                  </a:moveTo>
                  <a:cubicBezTo>
                    <a:pt x="33" y="180"/>
                    <a:pt x="33" y="180"/>
                    <a:pt x="33" y="18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80"/>
                    <a:pt x="12" y="180"/>
                    <a:pt x="12" y="180"/>
                  </a:cubicBezTo>
                  <a:cubicBezTo>
                    <a:pt x="5" y="180"/>
                    <a:pt x="5" y="180"/>
                    <a:pt x="5" y="180"/>
                  </a:cubicBezTo>
                  <a:cubicBezTo>
                    <a:pt x="2" y="180"/>
                    <a:pt x="0" y="182"/>
                    <a:pt x="0" y="186"/>
                  </a:cubicBezTo>
                  <a:cubicBezTo>
                    <a:pt x="0" y="226"/>
                    <a:pt x="0" y="226"/>
                    <a:pt x="0" y="226"/>
                  </a:cubicBezTo>
                  <a:cubicBezTo>
                    <a:pt x="45" y="226"/>
                    <a:pt x="45" y="226"/>
                    <a:pt x="45" y="226"/>
                  </a:cubicBezTo>
                  <a:cubicBezTo>
                    <a:pt x="45" y="186"/>
                    <a:pt x="45" y="186"/>
                    <a:pt x="45" y="186"/>
                  </a:cubicBezTo>
                  <a:cubicBezTo>
                    <a:pt x="45" y="182"/>
                    <a:pt x="42" y="180"/>
                    <a:pt x="39" y="180"/>
                  </a:cubicBezTo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59"/>
            <p:cNvSpPr>
              <a:spLocks/>
            </p:cNvSpPr>
            <p:nvPr/>
          </p:nvSpPr>
          <p:spPr bwMode="gray">
            <a:xfrm>
              <a:off x="10827050" y="4919983"/>
              <a:ext cx="26988" cy="311150"/>
            </a:xfrm>
            <a:custGeom>
              <a:avLst/>
              <a:gdLst>
                <a:gd name="T0" fmla="*/ 14 w 20"/>
                <a:gd name="T1" fmla="*/ 180 h 226"/>
                <a:gd name="T2" fmla="*/ 8 w 20"/>
                <a:gd name="T3" fmla="*/ 180 h 226"/>
                <a:gd name="T4" fmla="*/ 8 w 20"/>
                <a:gd name="T5" fmla="*/ 0 h 226"/>
                <a:gd name="T6" fmla="*/ 0 w 20"/>
                <a:gd name="T7" fmla="*/ 0 h 226"/>
                <a:gd name="T8" fmla="*/ 0 w 20"/>
                <a:gd name="T9" fmla="*/ 180 h 226"/>
                <a:gd name="T10" fmla="*/ 6 w 20"/>
                <a:gd name="T11" fmla="*/ 180 h 226"/>
                <a:gd name="T12" fmla="*/ 12 w 20"/>
                <a:gd name="T13" fmla="*/ 186 h 226"/>
                <a:gd name="T14" fmla="*/ 12 w 20"/>
                <a:gd name="T15" fmla="*/ 226 h 226"/>
                <a:gd name="T16" fmla="*/ 20 w 20"/>
                <a:gd name="T17" fmla="*/ 226 h 226"/>
                <a:gd name="T18" fmla="*/ 20 w 20"/>
                <a:gd name="T19" fmla="*/ 186 h 226"/>
                <a:gd name="T20" fmla="*/ 14 w 20"/>
                <a:gd name="T21" fmla="*/ 18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26">
                  <a:moveTo>
                    <a:pt x="14" y="180"/>
                  </a:moveTo>
                  <a:cubicBezTo>
                    <a:pt x="8" y="180"/>
                    <a:pt x="8" y="180"/>
                    <a:pt x="8" y="18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6" y="180"/>
                    <a:pt x="6" y="180"/>
                    <a:pt x="6" y="180"/>
                  </a:cubicBezTo>
                  <a:cubicBezTo>
                    <a:pt x="9" y="180"/>
                    <a:pt x="12" y="182"/>
                    <a:pt x="12" y="186"/>
                  </a:cubicBezTo>
                  <a:cubicBezTo>
                    <a:pt x="12" y="226"/>
                    <a:pt x="12" y="226"/>
                    <a:pt x="12" y="226"/>
                  </a:cubicBezTo>
                  <a:cubicBezTo>
                    <a:pt x="20" y="226"/>
                    <a:pt x="20" y="226"/>
                    <a:pt x="20" y="226"/>
                  </a:cubicBezTo>
                  <a:cubicBezTo>
                    <a:pt x="20" y="186"/>
                    <a:pt x="20" y="186"/>
                    <a:pt x="20" y="186"/>
                  </a:cubicBezTo>
                  <a:cubicBezTo>
                    <a:pt x="20" y="182"/>
                    <a:pt x="17" y="180"/>
                    <a:pt x="14" y="180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60"/>
            <p:cNvSpPr>
              <a:spLocks/>
            </p:cNvSpPr>
            <p:nvPr/>
          </p:nvSpPr>
          <p:spPr bwMode="gray">
            <a:xfrm>
              <a:off x="10792125" y="4919983"/>
              <a:ext cx="25400" cy="311150"/>
            </a:xfrm>
            <a:custGeom>
              <a:avLst/>
              <a:gdLst>
                <a:gd name="T0" fmla="*/ 19 w 19"/>
                <a:gd name="T1" fmla="*/ 0 h 226"/>
                <a:gd name="T2" fmla="*/ 12 w 19"/>
                <a:gd name="T3" fmla="*/ 0 h 226"/>
                <a:gd name="T4" fmla="*/ 12 w 19"/>
                <a:gd name="T5" fmla="*/ 180 h 226"/>
                <a:gd name="T6" fmla="*/ 5 w 19"/>
                <a:gd name="T7" fmla="*/ 180 h 226"/>
                <a:gd name="T8" fmla="*/ 0 w 19"/>
                <a:gd name="T9" fmla="*/ 186 h 226"/>
                <a:gd name="T10" fmla="*/ 0 w 19"/>
                <a:gd name="T11" fmla="*/ 226 h 226"/>
                <a:gd name="T12" fmla="*/ 7 w 19"/>
                <a:gd name="T13" fmla="*/ 226 h 226"/>
                <a:gd name="T14" fmla="*/ 7 w 19"/>
                <a:gd name="T15" fmla="*/ 186 h 226"/>
                <a:gd name="T16" fmla="*/ 13 w 19"/>
                <a:gd name="T17" fmla="*/ 180 h 226"/>
                <a:gd name="T18" fmla="*/ 19 w 19"/>
                <a:gd name="T19" fmla="*/ 180 h 226"/>
                <a:gd name="T20" fmla="*/ 19 w 19"/>
                <a:gd name="T21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226">
                  <a:moveTo>
                    <a:pt x="19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180"/>
                    <a:pt x="12" y="180"/>
                    <a:pt x="12" y="180"/>
                  </a:cubicBezTo>
                  <a:cubicBezTo>
                    <a:pt x="5" y="180"/>
                    <a:pt x="5" y="180"/>
                    <a:pt x="5" y="180"/>
                  </a:cubicBezTo>
                  <a:cubicBezTo>
                    <a:pt x="2" y="180"/>
                    <a:pt x="0" y="182"/>
                    <a:pt x="0" y="186"/>
                  </a:cubicBezTo>
                  <a:cubicBezTo>
                    <a:pt x="0" y="226"/>
                    <a:pt x="0" y="226"/>
                    <a:pt x="0" y="226"/>
                  </a:cubicBezTo>
                  <a:cubicBezTo>
                    <a:pt x="7" y="226"/>
                    <a:pt x="7" y="226"/>
                    <a:pt x="7" y="226"/>
                  </a:cubicBezTo>
                  <a:cubicBezTo>
                    <a:pt x="7" y="186"/>
                    <a:pt x="7" y="186"/>
                    <a:pt x="7" y="186"/>
                  </a:cubicBezTo>
                  <a:cubicBezTo>
                    <a:pt x="7" y="182"/>
                    <a:pt x="10" y="180"/>
                    <a:pt x="13" y="180"/>
                  </a:cubicBezTo>
                  <a:cubicBezTo>
                    <a:pt x="19" y="180"/>
                    <a:pt x="19" y="180"/>
                    <a:pt x="19" y="180"/>
                  </a:cubicBezTo>
                  <a:cubicBezTo>
                    <a:pt x="19" y="0"/>
                    <a:pt x="19" y="0"/>
                    <a:pt x="19" y="0"/>
                  </a:cubicBezTo>
                </a:path>
              </a:pathLst>
            </a:custGeom>
            <a:solidFill>
              <a:srgbClr val="FFC7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61"/>
            <p:cNvSpPr>
              <a:spLocks/>
            </p:cNvSpPr>
            <p:nvPr/>
          </p:nvSpPr>
          <p:spPr bwMode="gray">
            <a:xfrm>
              <a:off x="10068225" y="4172270"/>
              <a:ext cx="242888" cy="239712"/>
            </a:xfrm>
            <a:custGeom>
              <a:avLst/>
              <a:gdLst>
                <a:gd name="T0" fmla="*/ 153 w 153"/>
                <a:gd name="T1" fmla="*/ 98 h 151"/>
                <a:gd name="T2" fmla="*/ 100 w 153"/>
                <a:gd name="T3" fmla="*/ 151 h 151"/>
                <a:gd name="T4" fmla="*/ 0 w 153"/>
                <a:gd name="T5" fmla="*/ 52 h 151"/>
                <a:gd name="T6" fmla="*/ 53 w 153"/>
                <a:gd name="T7" fmla="*/ 0 h 151"/>
                <a:gd name="T8" fmla="*/ 153 w 153"/>
                <a:gd name="T9" fmla="*/ 98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151">
                  <a:moveTo>
                    <a:pt x="153" y="98"/>
                  </a:moveTo>
                  <a:lnTo>
                    <a:pt x="100" y="151"/>
                  </a:lnTo>
                  <a:lnTo>
                    <a:pt x="0" y="52"/>
                  </a:lnTo>
                  <a:lnTo>
                    <a:pt x="53" y="0"/>
                  </a:lnTo>
                  <a:lnTo>
                    <a:pt x="153" y="98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62"/>
            <p:cNvSpPr>
              <a:spLocks/>
            </p:cNvSpPr>
            <p:nvPr/>
          </p:nvSpPr>
          <p:spPr bwMode="gray">
            <a:xfrm>
              <a:off x="9560225" y="3665858"/>
              <a:ext cx="579438" cy="576262"/>
            </a:xfrm>
            <a:custGeom>
              <a:avLst/>
              <a:gdLst>
                <a:gd name="T0" fmla="*/ 415 w 419"/>
                <a:gd name="T1" fmla="*/ 379 h 419"/>
                <a:gd name="T2" fmla="*/ 415 w 419"/>
                <a:gd name="T3" fmla="*/ 392 h 419"/>
                <a:gd name="T4" fmla="*/ 392 w 419"/>
                <a:gd name="T5" fmla="*/ 415 h 419"/>
                <a:gd name="T6" fmla="*/ 380 w 419"/>
                <a:gd name="T7" fmla="*/ 415 h 419"/>
                <a:gd name="T8" fmla="*/ 3 w 419"/>
                <a:gd name="T9" fmla="*/ 39 h 419"/>
                <a:gd name="T10" fmla="*/ 3 w 419"/>
                <a:gd name="T11" fmla="*/ 27 h 419"/>
                <a:gd name="T12" fmla="*/ 27 w 419"/>
                <a:gd name="T13" fmla="*/ 3 h 419"/>
                <a:gd name="T14" fmla="*/ 39 w 419"/>
                <a:gd name="T15" fmla="*/ 3 h 419"/>
                <a:gd name="T16" fmla="*/ 415 w 419"/>
                <a:gd name="T17" fmla="*/ 37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9" h="419">
                  <a:moveTo>
                    <a:pt x="415" y="379"/>
                  </a:moveTo>
                  <a:cubicBezTo>
                    <a:pt x="419" y="383"/>
                    <a:pt x="419" y="388"/>
                    <a:pt x="415" y="392"/>
                  </a:cubicBezTo>
                  <a:cubicBezTo>
                    <a:pt x="392" y="415"/>
                    <a:pt x="392" y="415"/>
                    <a:pt x="392" y="415"/>
                  </a:cubicBezTo>
                  <a:cubicBezTo>
                    <a:pt x="388" y="419"/>
                    <a:pt x="383" y="419"/>
                    <a:pt x="380" y="415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0" y="35"/>
                    <a:pt x="0" y="30"/>
                    <a:pt x="3" y="27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30" y="0"/>
                    <a:pt x="36" y="0"/>
                    <a:pt x="39" y="3"/>
                  </a:cubicBezTo>
                  <a:lnTo>
                    <a:pt x="415" y="37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63"/>
            <p:cNvSpPr>
              <a:spLocks/>
            </p:cNvSpPr>
            <p:nvPr/>
          </p:nvSpPr>
          <p:spPr bwMode="gray">
            <a:xfrm>
              <a:off x="10185700" y="4288158"/>
              <a:ext cx="1066800" cy="1058862"/>
            </a:xfrm>
            <a:custGeom>
              <a:avLst/>
              <a:gdLst>
                <a:gd name="T0" fmla="*/ 672 w 672"/>
                <a:gd name="T1" fmla="*/ 594 h 667"/>
                <a:gd name="T2" fmla="*/ 597 w 672"/>
                <a:gd name="T3" fmla="*/ 667 h 667"/>
                <a:gd name="T4" fmla="*/ 0 w 672"/>
                <a:gd name="T5" fmla="*/ 74 h 667"/>
                <a:gd name="T6" fmla="*/ 74 w 672"/>
                <a:gd name="T7" fmla="*/ 0 h 667"/>
                <a:gd name="T8" fmla="*/ 672 w 672"/>
                <a:gd name="T9" fmla="*/ 594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2" h="667">
                  <a:moveTo>
                    <a:pt x="672" y="594"/>
                  </a:moveTo>
                  <a:lnTo>
                    <a:pt x="597" y="667"/>
                  </a:lnTo>
                  <a:lnTo>
                    <a:pt x="0" y="74"/>
                  </a:lnTo>
                  <a:lnTo>
                    <a:pt x="74" y="0"/>
                  </a:lnTo>
                  <a:lnTo>
                    <a:pt x="672" y="594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64"/>
            <p:cNvSpPr>
              <a:spLocks/>
            </p:cNvSpPr>
            <p:nvPr/>
          </p:nvSpPr>
          <p:spPr bwMode="gray">
            <a:xfrm>
              <a:off x="10055525" y="4159570"/>
              <a:ext cx="109538" cy="106362"/>
            </a:xfrm>
            <a:custGeom>
              <a:avLst/>
              <a:gdLst>
                <a:gd name="T0" fmla="*/ 9 w 79"/>
                <a:gd name="T1" fmla="*/ 77 h 77"/>
                <a:gd name="T2" fmla="*/ 4 w 79"/>
                <a:gd name="T3" fmla="*/ 75 h 77"/>
                <a:gd name="T4" fmla="*/ 4 w 79"/>
                <a:gd name="T5" fmla="*/ 64 h 77"/>
                <a:gd name="T6" fmla="*/ 64 w 79"/>
                <a:gd name="T7" fmla="*/ 3 h 77"/>
                <a:gd name="T8" fmla="*/ 75 w 79"/>
                <a:gd name="T9" fmla="*/ 3 h 77"/>
                <a:gd name="T10" fmla="*/ 75 w 79"/>
                <a:gd name="T11" fmla="*/ 15 h 77"/>
                <a:gd name="T12" fmla="*/ 15 w 79"/>
                <a:gd name="T13" fmla="*/ 75 h 77"/>
                <a:gd name="T14" fmla="*/ 9 w 79"/>
                <a:gd name="T1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9" h="77">
                  <a:moveTo>
                    <a:pt x="9" y="77"/>
                  </a:moveTo>
                  <a:cubicBezTo>
                    <a:pt x="7" y="77"/>
                    <a:pt x="5" y="77"/>
                    <a:pt x="4" y="75"/>
                  </a:cubicBezTo>
                  <a:cubicBezTo>
                    <a:pt x="0" y="72"/>
                    <a:pt x="0" y="67"/>
                    <a:pt x="4" y="64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7" y="0"/>
                    <a:pt x="72" y="0"/>
                    <a:pt x="75" y="3"/>
                  </a:cubicBezTo>
                  <a:cubicBezTo>
                    <a:pt x="79" y="6"/>
                    <a:pt x="79" y="12"/>
                    <a:pt x="75" y="15"/>
                  </a:cubicBezTo>
                  <a:cubicBezTo>
                    <a:pt x="15" y="75"/>
                    <a:pt x="15" y="75"/>
                    <a:pt x="15" y="75"/>
                  </a:cubicBezTo>
                  <a:cubicBezTo>
                    <a:pt x="13" y="77"/>
                    <a:pt x="11" y="77"/>
                    <a:pt x="9" y="77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65"/>
            <p:cNvSpPr>
              <a:spLocks/>
            </p:cNvSpPr>
            <p:nvPr/>
          </p:nvSpPr>
          <p:spPr bwMode="gray">
            <a:xfrm>
              <a:off x="9787237" y="3891283"/>
              <a:ext cx="79375" cy="77787"/>
            </a:xfrm>
            <a:custGeom>
              <a:avLst/>
              <a:gdLst>
                <a:gd name="T0" fmla="*/ 9 w 58"/>
                <a:gd name="T1" fmla="*/ 57 h 57"/>
                <a:gd name="T2" fmla="*/ 3 w 58"/>
                <a:gd name="T3" fmla="*/ 55 h 57"/>
                <a:gd name="T4" fmla="*/ 3 w 58"/>
                <a:gd name="T5" fmla="*/ 44 h 57"/>
                <a:gd name="T6" fmla="*/ 44 w 58"/>
                <a:gd name="T7" fmla="*/ 3 h 57"/>
                <a:gd name="T8" fmla="*/ 55 w 58"/>
                <a:gd name="T9" fmla="*/ 3 h 57"/>
                <a:gd name="T10" fmla="*/ 55 w 58"/>
                <a:gd name="T11" fmla="*/ 14 h 57"/>
                <a:gd name="T12" fmla="*/ 15 w 58"/>
                <a:gd name="T13" fmla="*/ 55 h 57"/>
                <a:gd name="T14" fmla="*/ 9 w 58"/>
                <a:gd name="T15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57">
                  <a:moveTo>
                    <a:pt x="9" y="57"/>
                  </a:moveTo>
                  <a:cubicBezTo>
                    <a:pt x="7" y="57"/>
                    <a:pt x="5" y="56"/>
                    <a:pt x="3" y="55"/>
                  </a:cubicBezTo>
                  <a:cubicBezTo>
                    <a:pt x="0" y="52"/>
                    <a:pt x="0" y="47"/>
                    <a:pt x="3" y="44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7" y="0"/>
                    <a:pt x="52" y="0"/>
                    <a:pt x="55" y="3"/>
                  </a:cubicBezTo>
                  <a:cubicBezTo>
                    <a:pt x="58" y="6"/>
                    <a:pt x="58" y="11"/>
                    <a:pt x="55" y="14"/>
                  </a:cubicBezTo>
                  <a:cubicBezTo>
                    <a:pt x="15" y="55"/>
                    <a:pt x="15" y="55"/>
                    <a:pt x="15" y="55"/>
                  </a:cubicBezTo>
                  <a:cubicBezTo>
                    <a:pt x="13" y="56"/>
                    <a:pt x="11" y="57"/>
                    <a:pt x="9" y="57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66"/>
            <p:cNvSpPr>
              <a:spLocks/>
            </p:cNvSpPr>
            <p:nvPr/>
          </p:nvSpPr>
          <p:spPr bwMode="gray">
            <a:xfrm>
              <a:off x="10168237" y="4270695"/>
              <a:ext cx="153988" cy="150812"/>
            </a:xfrm>
            <a:custGeom>
              <a:avLst/>
              <a:gdLst>
                <a:gd name="T0" fmla="*/ 9 w 111"/>
                <a:gd name="T1" fmla="*/ 110 h 110"/>
                <a:gd name="T2" fmla="*/ 3 w 111"/>
                <a:gd name="T3" fmla="*/ 108 h 110"/>
                <a:gd name="T4" fmla="*/ 3 w 111"/>
                <a:gd name="T5" fmla="*/ 96 h 110"/>
                <a:gd name="T6" fmla="*/ 96 w 111"/>
                <a:gd name="T7" fmla="*/ 3 h 110"/>
                <a:gd name="T8" fmla="*/ 108 w 111"/>
                <a:gd name="T9" fmla="*/ 3 h 110"/>
                <a:gd name="T10" fmla="*/ 108 w 111"/>
                <a:gd name="T11" fmla="*/ 15 h 110"/>
                <a:gd name="T12" fmla="*/ 15 w 111"/>
                <a:gd name="T13" fmla="*/ 108 h 110"/>
                <a:gd name="T14" fmla="*/ 9 w 111"/>
                <a:gd name="T15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1" h="110">
                  <a:moveTo>
                    <a:pt x="9" y="110"/>
                  </a:moveTo>
                  <a:cubicBezTo>
                    <a:pt x="7" y="110"/>
                    <a:pt x="5" y="109"/>
                    <a:pt x="3" y="108"/>
                  </a:cubicBezTo>
                  <a:cubicBezTo>
                    <a:pt x="0" y="104"/>
                    <a:pt x="0" y="99"/>
                    <a:pt x="3" y="96"/>
                  </a:cubicBezTo>
                  <a:cubicBezTo>
                    <a:pt x="96" y="3"/>
                    <a:pt x="96" y="3"/>
                    <a:pt x="96" y="3"/>
                  </a:cubicBezTo>
                  <a:cubicBezTo>
                    <a:pt x="100" y="0"/>
                    <a:pt x="105" y="0"/>
                    <a:pt x="108" y="3"/>
                  </a:cubicBezTo>
                  <a:cubicBezTo>
                    <a:pt x="111" y="6"/>
                    <a:pt x="111" y="11"/>
                    <a:pt x="108" y="15"/>
                  </a:cubicBezTo>
                  <a:cubicBezTo>
                    <a:pt x="15" y="108"/>
                    <a:pt x="15" y="108"/>
                    <a:pt x="15" y="108"/>
                  </a:cubicBezTo>
                  <a:cubicBezTo>
                    <a:pt x="13" y="109"/>
                    <a:pt x="11" y="110"/>
                    <a:pt x="9" y="110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67"/>
            <p:cNvSpPr>
              <a:spLocks/>
            </p:cNvSpPr>
            <p:nvPr/>
          </p:nvSpPr>
          <p:spPr bwMode="gray">
            <a:xfrm>
              <a:off x="10269837" y="4296095"/>
              <a:ext cx="982663" cy="944562"/>
            </a:xfrm>
            <a:custGeom>
              <a:avLst/>
              <a:gdLst>
                <a:gd name="T0" fmla="*/ 619 w 619"/>
                <a:gd name="T1" fmla="*/ 589 h 595"/>
                <a:gd name="T2" fmla="*/ 613 w 619"/>
                <a:gd name="T3" fmla="*/ 595 h 595"/>
                <a:gd name="T4" fmla="*/ 0 w 619"/>
                <a:gd name="T5" fmla="*/ 26 h 595"/>
                <a:gd name="T6" fmla="*/ 27 w 619"/>
                <a:gd name="T7" fmla="*/ 0 h 595"/>
                <a:gd name="T8" fmla="*/ 619 w 619"/>
                <a:gd name="T9" fmla="*/ 589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9" h="595">
                  <a:moveTo>
                    <a:pt x="619" y="589"/>
                  </a:moveTo>
                  <a:lnTo>
                    <a:pt x="613" y="595"/>
                  </a:lnTo>
                  <a:lnTo>
                    <a:pt x="0" y="26"/>
                  </a:lnTo>
                  <a:lnTo>
                    <a:pt x="27" y="0"/>
                  </a:lnTo>
                  <a:lnTo>
                    <a:pt x="619" y="589"/>
                  </a:ln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68"/>
            <p:cNvSpPr>
              <a:spLocks/>
            </p:cNvSpPr>
            <p:nvPr/>
          </p:nvSpPr>
          <p:spPr bwMode="gray">
            <a:xfrm>
              <a:off x="10193637" y="4370708"/>
              <a:ext cx="949325" cy="976312"/>
            </a:xfrm>
            <a:custGeom>
              <a:avLst/>
              <a:gdLst>
                <a:gd name="T0" fmla="*/ 592 w 598"/>
                <a:gd name="T1" fmla="*/ 615 h 615"/>
                <a:gd name="T2" fmla="*/ 598 w 598"/>
                <a:gd name="T3" fmla="*/ 610 h 615"/>
                <a:gd name="T4" fmla="*/ 27 w 598"/>
                <a:gd name="T5" fmla="*/ 0 h 615"/>
                <a:gd name="T6" fmla="*/ 0 w 598"/>
                <a:gd name="T7" fmla="*/ 27 h 615"/>
                <a:gd name="T8" fmla="*/ 592 w 598"/>
                <a:gd name="T9" fmla="*/ 615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8" h="615">
                  <a:moveTo>
                    <a:pt x="592" y="615"/>
                  </a:moveTo>
                  <a:lnTo>
                    <a:pt x="598" y="610"/>
                  </a:lnTo>
                  <a:lnTo>
                    <a:pt x="27" y="0"/>
                  </a:lnTo>
                  <a:lnTo>
                    <a:pt x="0" y="27"/>
                  </a:lnTo>
                  <a:lnTo>
                    <a:pt x="592" y="615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69"/>
            <p:cNvSpPr>
              <a:spLocks/>
            </p:cNvSpPr>
            <p:nvPr/>
          </p:nvSpPr>
          <p:spPr bwMode="gray">
            <a:xfrm>
              <a:off x="10615912" y="5231133"/>
              <a:ext cx="665163" cy="93662"/>
            </a:xfrm>
            <a:custGeom>
              <a:avLst/>
              <a:gdLst>
                <a:gd name="T0" fmla="*/ 481 w 481"/>
                <a:gd name="T1" fmla="*/ 14 h 69"/>
                <a:gd name="T2" fmla="*/ 467 w 481"/>
                <a:gd name="T3" fmla="*/ 0 h 69"/>
                <a:gd name="T4" fmla="*/ 15 w 481"/>
                <a:gd name="T5" fmla="*/ 0 h 69"/>
                <a:gd name="T6" fmla="*/ 0 w 481"/>
                <a:gd name="T7" fmla="*/ 14 h 69"/>
                <a:gd name="T8" fmla="*/ 0 w 481"/>
                <a:gd name="T9" fmla="*/ 55 h 69"/>
                <a:gd name="T10" fmla="*/ 15 w 481"/>
                <a:gd name="T11" fmla="*/ 69 h 69"/>
                <a:gd name="T12" fmla="*/ 467 w 481"/>
                <a:gd name="T13" fmla="*/ 69 h 69"/>
                <a:gd name="T14" fmla="*/ 481 w 481"/>
                <a:gd name="T15" fmla="*/ 55 h 69"/>
                <a:gd name="T16" fmla="*/ 481 w 481"/>
                <a:gd name="T17" fmla="*/ 1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1" h="69">
                  <a:moveTo>
                    <a:pt x="481" y="14"/>
                  </a:moveTo>
                  <a:cubicBezTo>
                    <a:pt x="481" y="6"/>
                    <a:pt x="475" y="0"/>
                    <a:pt x="467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6"/>
                    <a:pt x="0" y="14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63"/>
                    <a:pt x="7" y="69"/>
                    <a:pt x="15" y="69"/>
                  </a:cubicBezTo>
                  <a:cubicBezTo>
                    <a:pt x="467" y="69"/>
                    <a:pt x="467" y="69"/>
                    <a:pt x="467" y="69"/>
                  </a:cubicBezTo>
                  <a:cubicBezTo>
                    <a:pt x="475" y="69"/>
                    <a:pt x="481" y="63"/>
                    <a:pt x="481" y="55"/>
                  </a:cubicBezTo>
                  <a:lnTo>
                    <a:pt x="481" y="1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Oval 70"/>
            <p:cNvSpPr>
              <a:spLocks noChangeArrowheads="1"/>
            </p:cNvSpPr>
            <p:nvPr/>
          </p:nvSpPr>
          <p:spPr bwMode="gray">
            <a:xfrm>
              <a:off x="1031270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Oval 71"/>
            <p:cNvSpPr>
              <a:spLocks noChangeArrowheads="1"/>
            </p:cNvSpPr>
            <p:nvPr/>
          </p:nvSpPr>
          <p:spPr bwMode="gray">
            <a:xfrm>
              <a:off x="10695287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Oval 72"/>
            <p:cNvSpPr>
              <a:spLocks noChangeArrowheads="1"/>
            </p:cNvSpPr>
            <p:nvPr/>
          </p:nvSpPr>
          <p:spPr bwMode="gray">
            <a:xfrm>
              <a:off x="1098580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Freeform 73"/>
            <p:cNvSpPr>
              <a:spLocks/>
            </p:cNvSpPr>
            <p:nvPr/>
          </p:nvSpPr>
          <p:spPr bwMode="gray">
            <a:xfrm>
              <a:off x="10176175" y="5042220"/>
              <a:ext cx="341313" cy="404812"/>
            </a:xfrm>
            <a:custGeom>
              <a:avLst/>
              <a:gdLst>
                <a:gd name="T0" fmla="*/ 247 w 247"/>
                <a:gd name="T1" fmla="*/ 0 h 295"/>
                <a:gd name="T2" fmla="*/ 66 w 247"/>
                <a:gd name="T3" fmla="*/ 0 h 295"/>
                <a:gd name="T4" fmla="*/ 16 w 247"/>
                <a:gd name="T5" fmla="*/ 295 h 295"/>
                <a:gd name="T6" fmla="*/ 197 w 247"/>
                <a:gd name="T7" fmla="*/ 295 h 295"/>
                <a:gd name="T8" fmla="*/ 247 w 247"/>
                <a:gd name="T9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7" h="295">
                  <a:moveTo>
                    <a:pt x="247" y="0"/>
                  </a:moveTo>
                  <a:cubicBezTo>
                    <a:pt x="193" y="0"/>
                    <a:pt x="97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197" y="295"/>
                    <a:pt x="197" y="295"/>
                    <a:pt x="197" y="295"/>
                  </a:cubicBezTo>
                  <a:cubicBezTo>
                    <a:pt x="197" y="295"/>
                    <a:pt x="181" y="76"/>
                    <a:pt x="247" y="0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Freeform 74"/>
            <p:cNvSpPr>
              <a:spLocks/>
            </p:cNvSpPr>
            <p:nvPr/>
          </p:nvSpPr>
          <p:spPr bwMode="gray">
            <a:xfrm>
              <a:off x="10727037" y="5324795"/>
              <a:ext cx="3175" cy="1587"/>
            </a:xfrm>
            <a:custGeom>
              <a:avLst/>
              <a:gdLst>
                <a:gd name="T0" fmla="*/ 0 w 2"/>
                <a:gd name="T1" fmla="*/ 1 h 1"/>
                <a:gd name="T2" fmla="*/ 2 w 2"/>
                <a:gd name="T3" fmla="*/ 0 h 1"/>
                <a:gd name="T4" fmla="*/ 0 w 2"/>
                <a:gd name="T5" fmla="*/ 0 h 1"/>
                <a:gd name="T6" fmla="*/ 0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1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Freeform 75"/>
            <p:cNvSpPr>
              <a:spLocks/>
            </p:cNvSpPr>
            <p:nvPr/>
          </p:nvSpPr>
          <p:spPr bwMode="gray">
            <a:xfrm>
              <a:off x="10512725" y="5324795"/>
              <a:ext cx="3175" cy="1587"/>
            </a:xfrm>
            <a:custGeom>
              <a:avLst/>
              <a:gdLst>
                <a:gd name="T0" fmla="*/ 0 w 3"/>
                <a:gd name="T1" fmla="*/ 1 h 1"/>
                <a:gd name="T2" fmla="*/ 3 w 3"/>
                <a:gd name="T3" fmla="*/ 0 h 1"/>
                <a:gd name="T4" fmla="*/ 0 w 3"/>
                <a:gd name="T5" fmla="*/ 0 h 1"/>
                <a:gd name="T6" fmla="*/ 0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cubicBezTo>
                    <a:pt x="1" y="0"/>
                    <a:pt x="2" y="0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Freeform 76"/>
            <p:cNvSpPr>
              <a:spLocks/>
            </p:cNvSpPr>
            <p:nvPr/>
          </p:nvSpPr>
          <p:spPr bwMode="gray">
            <a:xfrm>
              <a:off x="10176175" y="5042220"/>
              <a:ext cx="127000" cy="404812"/>
            </a:xfrm>
            <a:custGeom>
              <a:avLst/>
              <a:gdLst>
                <a:gd name="T0" fmla="*/ 92 w 92"/>
                <a:gd name="T1" fmla="*/ 0 h 295"/>
                <a:gd name="T2" fmla="*/ 66 w 92"/>
                <a:gd name="T3" fmla="*/ 0 h 295"/>
                <a:gd name="T4" fmla="*/ 16 w 92"/>
                <a:gd name="T5" fmla="*/ 295 h 295"/>
                <a:gd name="T6" fmla="*/ 42 w 92"/>
                <a:gd name="T7" fmla="*/ 295 h 295"/>
                <a:gd name="T8" fmla="*/ 92 w 92"/>
                <a:gd name="T9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295">
                  <a:moveTo>
                    <a:pt x="92" y="0"/>
                  </a:moveTo>
                  <a:cubicBezTo>
                    <a:pt x="82" y="0"/>
                    <a:pt x="73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42" y="295"/>
                    <a:pt x="42" y="295"/>
                    <a:pt x="42" y="295"/>
                  </a:cubicBezTo>
                  <a:cubicBezTo>
                    <a:pt x="42" y="295"/>
                    <a:pt x="26" y="76"/>
                    <a:pt x="92" y="0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Rectangle 77"/>
            <p:cNvSpPr>
              <a:spLocks noChangeArrowheads="1"/>
            </p:cNvSpPr>
            <p:nvPr/>
          </p:nvSpPr>
          <p:spPr bwMode="gray">
            <a:xfrm>
              <a:off x="9574512" y="3729358"/>
              <a:ext cx="22225" cy="693737"/>
            </a:xfrm>
            <a:prstGeom prst="rect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Freeform 78"/>
            <p:cNvSpPr>
              <a:spLocks/>
            </p:cNvSpPr>
            <p:nvPr/>
          </p:nvSpPr>
          <p:spPr bwMode="gray">
            <a:xfrm>
              <a:off x="10393662" y="5042220"/>
              <a:ext cx="906463" cy="404812"/>
            </a:xfrm>
            <a:custGeom>
              <a:avLst/>
              <a:gdLst>
                <a:gd name="T0" fmla="*/ 642 w 656"/>
                <a:gd name="T1" fmla="*/ 206 h 295"/>
                <a:gd name="T2" fmla="*/ 219 w 656"/>
                <a:gd name="T3" fmla="*/ 206 h 295"/>
                <a:gd name="T4" fmla="*/ 217 w 656"/>
                <a:gd name="T5" fmla="*/ 207 h 295"/>
                <a:gd name="T6" fmla="*/ 217 w 656"/>
                <a:gd name="T7" fmla="*/ 0 h 295"/>
                <a:gd name="T8" fmla="*/ 66 w 656"/>
                <a:gd name="T9" fmla="*/ 0 h 295"/>
                <a:gd name="T10" fmla="*/ 16 w 656"/>
                <a:gd name="T11" fmla="*/ 295 h 295"/>
                <a:gd name="T12" fmla="*/ 642 w 656"/>
                <a:gd name="T13" fmla="*/ 295 h 295"/>
                <a:gd name="T14" fmla="*/ 656 w 656"/>
                <a:gd name="T15" fmla="*/ 281 h 295"/>
                <a:gd name="T16" fmla="*/ 656 w 656"/>
                <a:gd name="T17" fmla="*/ 221 h 295"/>
                <a:gd name="T18" fmla="*/ 642 w 656"/>
                <a:gd name="T19" fmla="*/ 206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6" h="295">
                  <a:moveTo>
                    <a:pt x="642" y="206"/>
                  </a:moveTo>
                  <a:cubicBezTo>
                    <a:pt x="219" y="206"/>
                    <a:pt x="219" y="206"/>
                    <a:pt x="219" y="206"/>
                  </a:cubicBezTo>
                  <a:cubicBezTo>
                    <a:pt x="219" y="206"/>
                    <a:pt x="218" y="206"/>
                    <a:pt x="217" y="207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17" y="0"/>
                    <a:pt x="119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642" y="295"/>
                    <a:pt x="642" y="295"/>
                    <a:pt x="642" y="295"/>
                  </a:cubicBezTo>
                  <a:cubicBezTo>
                    <a:pt x="650" y="295"/>
                    <a:pt x="656" y="289"/>
                    <a:pt x="656" y="281"/>
                  </a:cubicBezTo>
                  <a:cubicBezTo>
                    <a:pt x="656" y="221"/>
                    <a:pt x="656" y="221"/>
                    <a:pt x="656" y="221"/>
                  </a:cubicBezTo>
                  <a:cubicBezTo>
                    <a:pt x="656" y="213"/>
                    <a:pt x="650" y="206"/>
                    <a:pt x="642" y="206"/>
                  </a:cubicBez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Freeform 79"/>
            <p:cNvSpPr>
              <a:spLocks/>
            </p:cNvSpPr>
            <p:nvPr/>
          </p:nvSpPr>
          <p:spPr bwMode="gray">
            <a:xfrm>
              <a:off x="10393662" y="5042220"/>
              <a:ext cx="300038" cy="404812"/>
            </a:xfrm>
            <a:custGeom>
              <a:avLst/>
              <a:gdLst>
                <a:gd name="T0" fmla="*/ 81 w 217"/>
                <a:gd name="T1" fmla="*/ 15 h 295"/>
                <a:gd name="T2" fmla="*/ 217 w 217"/>
                <a:gd name="T3" fmla="*/ 15 h 295"/>
                <a:gd name="T4" fmla="*/ 217 w 217"/>
                <a:gd name="T5" fmla="*/ 0 h 295"/>
                <a:gd name="T6" fmla="*/ 66 w 217"/>
                <a:gd name="T7" fmla="*/ 0 h 295"/>
                <a:gd name="T8" fmla="*/ 16 w 217"/>
                <a:gd name="T9" fmla="*/ 295 h 295"/>
                <a:gd name="T10" fmla="*/ 30 w 217"/>
                <a:gd name="T11" fmla="*/ 295 h 295"/>
                <a:gd name="T12" fmla="*/ 81 w 217"/>
                <a:gd name="T13" fmla="*/ 15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7" h="295">
                  <a:moveTo>
                    <a:pt x="81" y="15"/>
                  </a:moveTo>
                  <a:cubicBezTo>
                    <a:pt x="122" y="15"/>
                    <a:pt x="188" y="15"/>
                    <a:pt x="217" y="15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17" y="0"/>
                    <a:pt x="119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30" y="295"/>
                    <a:pt x="30" y="295"/>
                    <a:pt x="30" y="295"/>
                  </a:cubicBezTo>
                  <a:cubicBezTo>
                    <a:pt x="28" y="244"/>
                    <a:pt x="25" y="79"/>
                    <a:pt x="81" y="15"/>
                  </a:cubicBezTo>
                  <a:close/>
                </a:path>
              </a:pathLst>
            </a:custGeom>
            <a:solidFill>
              <a:srgbClr val="FFCB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Freeform 80"/>
            <p:cNvSpPr>
              <a:spLocks/>
            </p:cNvSpPr>
            <p:nvPr/>
          </p:nvSpPr>
          <p:spPr bwMode="gray">
            <a:xfrm>
              <a:off x="10414300" y="542798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Freeform 81"/>
            <p:cNvSpPr>
              <a:spLocks/>
            </p:cNvSpPr>
            <p:nvPr/>
          </p:nvSpPr>
          <p:spPr bwMode="gray">
            <a:xfrm>
              <a:off x="10414300" y="5432745"/>
              <a:ext cx="0" cy="1587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Freeform 82"/>
            <p:cNvSpPr>
              <a:spLocks/>
            </p:cNvSpPr>
            <p:nvPr/>
          </p:nvSpPr>
          <p:spPr bwMode="gray">
            <a:xfrm>
              <a:off x="10414300" y="544068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Freeform 83"/>
            <p:cNvSpPr>
              <a:spLocks/>
            </p:cNvSpPr>
            <p:nvPr/>
          </p:nvSpPr>
          <p:spPr bwMode="gray">
            <a:xfrm>
              <a:off x="10433350" y="5324795"/>
              <a:ext cx="866775" cy="122237"/>
            </a:xfrm>
            <a:custGeom>
              <a:avLst/>
              <a:gdLst>
                <a:gd name="T0" fmla="*/ 613 w 627"/>
                <a:gd name="T1" fmla="*/ 0 h 89"/>
                <a:gd name="T2" fmla="*/ 613 w 627"/>
                <a:gd name="T3" fmla="*/ 56 h 89"/>
                <a:gd name="T4" fmla="*/ 599 w 627"/>
                <a:gd name="T5" fmla="*/ 71 h 89"/>
                <a:gd name="T6" fmla="*/ 0 w 627"/>
                <a:gd name="T7" fmla="*/ 71 h 89"/>
                <a:gd name="T8" fmla="*/ 1 w 627"/>
                <a:gd name="T9" fmla="*/ 89 h 89"/>
                <a:gd name="T10" fmla="*/ 613 w 627"/>
                <a:gd name="T11" fmla="*/ 89 h 89"/>
                <a:gd name="T12" fmla="*/ 627 w 627"/>
                <a:gd name="T13" fmla="*/ 75 h 89"/>
                <a:gd name="T14" fmla="*/ 627 w 627"/>
                <a:gd name="T15" fmla="*/ 15 h 89"/>
                <a:gd name="T16" fmla="*/ 613 w 627"/>
                <a:gd name="T17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7" h="89">
                  <a:moveTo>
                    <a:pt x="613" y="0"/>
                  </a:moveTo>
                  <a:cubicBezTo>
                    <a:pt x="613" y="56"/>
                    <a:pt x="613" y="56"/>
                    <a:pt x="613" y="56"/>
                  </a:cubicBezTo>
                  <a:cubicBezTo>
                    <a:pt x="613" y="64"/>
                    <a:pt x="607" y="71"/>
                    <a:pt x="599" y="71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78"/>
                    <a:pt x="1" y="84"/>
                    <a:pt x="1" y="89"/>
                  </a:cubicBezTo>
                  <a:cubicBezTo>
                    <a:pt x="613" y="89"/>
                    <a:pt x="613" y="89"/>
                    <a:pt x="613" y="89"/>
                  </a:cubicBezTo>
                  <a:cubicBezTo>
                    <a:pt x="621" y="89"/>
                    <a:pt x="627" y="83"/>
                    <a:pt x="627" y="75"/>
                  </a:cubicBezTo>
                  <a:cubicBezTo>
                    <a:pt x="627" y="15"/>
                    <a:pt x="627" y="15"/>
                    <a:pt x="627" y="15"/>
                  </a:cubicBezTo>
                  <a:cubicBezTo>
                    <a:pt x="627" y="7"/>
                    <a:pt x="621" y="1"/>
                    <a:pt x="613" y="0"/>
                  </a:cubicBezTo>
                  <a:close/>
                </a:path>
              </a:pathLst>
            </a:custGeom>
            <a:solidFill>
              <a:srgbClr val="DB9D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Freeform 84"/>
            <p:cNvSpPr>
              <a:spLocks/>
            </p:cNvSpPr>
            <p:nvPr/>
          </p:nvSpPr>
          <p:spPr bwMode="gray">
            <a:xfrm>
              <a:off x="10452400" y="5086670"/>
              <a:ext cx="203200" cy="238125"/>
            </a:xfrm>
            <a:custGeom>
              <a:avLst/>
              <a:gdLst>
                <a:gd name="T0" fmla="*/ 146 w 146"/>
                <a:gd name="T1" fmla="*/ 174 h 174"/>
                <a:gd name="T2" fmla="*/ 146 w 146"/>
                <a:gd name="T3" fmla="*/ 0 h 174"/>
                <a:gd name="T4" fmla="*/ 40 w 146"/>
                <a:gd name="T5" fmla="*/ 0 h 174"/>
                <a:gd name="T6" fmla="*/ 0 w 146"/>
                <a:gd name="T7" fmla="*/ 174 h 174"/>
                <a:gd name="T8" fmla="*/ 146 w 146"/>
                <a:gd name="T9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6" h="174">
                  <a:moveTo>
                    <a:pt x="146" y="174"/>
                  </a:moveTo>
                  <a:cubicBezTo>
                    <a:pt x="146" y="0"/>
                    <a:pt x="146" y="0"/>
                    <a:pt x="146" y="0"/>
                  </a:cubicBezTo>
                  <a:cubicBezTo>
                    <a:pt x="146" y="0"/>
                    <a:pt x="82" y="0"/>
                    <a:pt x="40" y="0"/>
                  </a:cubicBezTo>
                  <a:cubicBezTo>
                    <a:pt x="8" y="38"/>
                    <a:pt x="0" y="119"/>
                    <a:pt x="0" y="174"/>
                  </a:cubicBezTo>
                  <a:lnTo>
                    <a:pt x="146" y="17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Freeform 85"/>
            <p:cNvSpPr>
              <a:spLocks/>
            </p:cNvSpPr>
            <p:nvPr/>
          </p:nvSpPr>
          <p:spPr bwMode="gray">
            <a:xfrm>
              <a:off x="10452400" y="5086670"/>
              <a:ext cx="203200" cy="238125"/>
            </a:xfrm>
            <a:custGeom>
              <a:avLst/>
              <a:gdLst>
                <a:gd name="T0" fmla="*/ 146 w 146"/>
                <a:gd name="T1" fmla="*/ 174 h 174"/>
                <a:gd name="T2" fmla="*/ 40 w 146"/>
                <a:gd name="T3" fmla="*/ 0 h 174"/>
                <a:gd name="T4" fmla="*/ 0 w 146"/>
                <a:gd name="T5" fmla="*/ 174 h 174"/>
                <a:gd name="T6" fmla="*/ 146 w 146"/>
                <a:gd name="T7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6" h="174">
                  <a:moveTo>
                    <a:pt x="146" y="174"/>
                  </a:moveTo>
                  <a:cubicBezTo>
                    <a:pt x="146" y="174"/>
                    <a:pt x="84" y="73"/>
                    <a:pt x="40" y="0"/>
                  </a:cubicBezTo>
                  <a:cubicBezTo>
                    <a:pt x="8" y="38"/>
                    <a:pt x="0" y="119"/>
                    <a:pt x="0" y="174"/>
                  </a:cubicBezTo>
                  <a:lnTo>
                    <a:pt x="146" y="174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Oval 86"/>
            <p:cNvSpPr>
              <a:spLocks noChangeArrowheads="1"/>
            </p:cNvSpPr>
            <p:nvPr/>
          </p:nvSpPr>
          <p:spPr bwMode="gray">
            <a:xfrm>
              <a:off x="10458750" y="5353370"/>
              <a:ext cx="188913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Oval 87"/>
            <p:cNvSpPr>
              <a:spLocks noChangeArrowheads="1"/>
            </p:cNvSpPr>
            <p:nvPr/>
          </p:nvSpPr>
          <p:spPr bwMode="gray">
            <a:xfrm>
              <a:off x="10503200" y="5396233"/>
              <a:ext cx="100013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Oval 88"/>
            <p:cNvSpPr>
              <a:spLocks noChangeArrowheads="1"/>
            </p:cNvSpPr>
            <p:nvPr/>
          </p:nvSpPr>
          <p:spPr bwMode="gray">
            <a:xfrm>
              <a:off x="11041362" y="5353370"/>
              <a:ext cx="192088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Oval 89"/>
            <p:cNvSpPr>
              <a:spLocks noChangeArrowheads="1"/>
            </p:cNvSpPr>
            <p:nvPr/>
          </p:nvSpPr>
          <p:spPr bwMode="gray">
            <a:xfrm>
              <a:off x="1083975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Freeform 90"/>
            <p:cNvSpPr>
              <a:spLocks/>
            </p:cNvSpPr>
            <p:nvPr/>
          </p:nvSpPr>
          <p:spPr bwMode="gray">
            <a:xfrm>
              <a:off x="10503200" y="5412108"/>
              <a:ext cx="85725" cy="87312"/>
            </a:xfrm>
            <a:custGeom>
              <a:avLst/>
              <a:gdLst>
                <a:gd name="T0" fmla="*/ 37 w 62"/>
                <a:gd name="T1" fmla="*/ 63 h 63"/>
                <a:gd name="T2" fmla="*/ 62 w 62"/>
                <a:gd name="T3" fmla="*/ 52 h 63"/>
                <a:gd name="T4" fmla="*/ 10 w 62"/>
                <a:gd name="T5" fmla="*/ 0 h 63"/>
                <a:gd name="T6" fmla="*/ 0 w 62"/>
                <a:gd name="T7" fmla="*/ 26 h 63"/>
                <a:gd name="T8" fmla="*/ 37 w 62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63">
                  <a:moveTo>
                    <a:pt x="37" y="63"/>
                  </a:moveTo>
                  <a:cubicBezTo>
                    <a:pt x="47" y="63"/>
                    <a:pt x="56" y="59"/>
                    <a:pt x="62" y="5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6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Freeform 91"/>
            <p:cNvSpPr>
              <a:spLocks/>
            </p:cNvSpPr>
            <p:nvPr/>
          </p:nvSpPr>
          <p:spPr bwMode="gray">
            <a:xfrm>
              <a:off x="10241262" y="5359720"/>
              <a:ext cx="120650" cy="15875"/>
            </a:xfrm>
            <a:custGeom>
              <a:avLst/>
              <a:gdLst>
                <a:gd name="T0" fmla="*/ 81 w 87"/>
                <a:gd name="T1" fmla="*/ 12 h 12"/>
                <a:gd name="T2" fmla="*/ 6 w 87"/>
                <a:gd name="T3" fmla="*/ 12 h 12"/>
                <a:gd name="T4" fmla="*/ 0 w 87"/>
                <a:gd name="T5" fmla="*/ 6 h 12"/>
                <a:gd name="T6" fmla="*/ 6 w 87"/>
                <a:gd name="T7" fmla="*/ 0 h 12"/>
                <a:gd name="T8" fmla="*/ 81 w 87"/>
                <a:gd name="T9" fmla="*/ 0 h 12"/>
                <a:gd name="T10" fmla="*/ 87 w 87"/>
                <a:gd name="T11" fmla="*/ 6 h 12"/>
                <a:gd name="T12" fmla="*/ 81 w 8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2">
                  <a:moveTo>
                    <a:pt x="8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4" y="0"/>
                    <a:pt x="87" y="3"/>
                    <a:pt x="87" y="6"/>
                  </a:cubicBezTo>
                  <a:cubicBezTo>
                    <a:pt x="87" y="9"/>
                    <a:pt x="84" y="12"/>
                    <a:pt x="81" y="12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Freeform 92"/>
            <p:cNvSpPr>
              <a:spLocks/>
            </p:cNvSpPr>
            <p:nvPr/>
          </p:nvSpPr>
          <p:spPr bwMode="gray">
            <a:xfrm>
              <a:off x="10241262" y="5396233"/>
              <a:ext cx="120650" cy="17462"/>
            </a:xfrm>
            <a:custGeom>
              <a:avLst/>
              <a:gdLst>
                <a:gd name="T0" fmla="*/ 81 w 87"/>
                <a:gd name="T1" fmla="*/ 12 h 12"/>
                <a:gd name="T2" fmla="*/ 6 w 87"/>
                <a:gd name="T3" fmla="*/ 12 h 12"/>
                <a:gd name="T4" fmla="*/ 0 w 87"/>
                <a:gd name="T5" fmla="*/ 6 h 12"/>
                <a:gd name="T6" fmla="*/ 6 w 87"/>
                <a:gd name="T7" fmla="*/ 0 h 12"/>
                <a:gd name="T8" fmla="*/ 81 w 87"/>
                <a:gd name="T9" fmla="*/ 0 h 12"/>
                <a:gd name="T10" fmla="*/ 87 w 87"/>
                <a:gd name="T11" fmla="*/ 6 h 12"/>
                <a:gd name="T12" fmla="*/ 81 w 8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2">
                  <a:moveTo>
                    <a:pt x="8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4" y="0"/>
                    <a:pt x="87" y="3"/>
                    <a:pt x="87" y="6"/>
                  </a:cubicBezTo>
                  <a:cubicBezTo>
                    <a:pt x="87" y="10"/>
                    <a:pt x="84" y="12"/>
                    <a:pt x="81" y="12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Freeform 93"/>
            <p:cNvSpPr>
              <a:spLocks/>
            </p:cNvSpPr>
            <p:nvPr/>
          </p:nvSpPr>
          <p:spPr bwMode="gray">
            <a:xfrm>
              <a:off x="10209512" y="5086670"/>
              <a:ext cx="227013" cy="239712"/>
            </a:xfrm>
            <a:custGeom>
              <a:avLst/>
              <a:gdLst>
                <a:gd name="T0" fmla="*/ 31 w 164"/>
                <a:gd name="T1" fmla="*/ 0 h 175"/>
                <a:gd name="T2" fmla="*/ 0 w 164"/>
                <a:gd name="T3" fmla="*/ 175 h 175"/>
                <a:gd name="T4" fmla="*/ 133 w 164"/>
                <a:gd name="T5" fmla="*/ 175 h 175"/>
                <a:gd name="T6" fmla="*/ 164 w 164"/>
                <a:gd name="T7" fmla="*/ 0 h 175"/>
                <a:gd name="T8" fmla="*/ 31 w 164"/>
                <a:gd name="T9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4" h="175">
                  <a:moveTo>
                    <a:pt x="31" y="0"/>
                  </a:moveTo>
                  <a:cubicBezTo>
                    <a:pt x="9" y="49"/>
                    <a:pt x="1" y="119"/>
                    <a:pt x="0" y="175"/>
                  </a:cubicBezTo>
                  <a:cubicBezTo>
                    <a:pt x="133" y="175"/>
                    <a:pt x="133" y="175"/>
                    <a:pt x="133" y="175"/>
                  </a:cubicBezTo>
                  <a:cubicBezTo>
                    <a:pt x="134" y="119"/>
                    <a:pt x="142" y="49"/>
                    <a:pt x="164" y="0"/>
                  </a:cubicBezTo>
                  <a:lnTo>
                    <a:pt x="31" y="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Freeform 94"/>
            <p:cNvSpPr>
              <a:spLocks/>
            </p:cNvSpPr>
            <p:nvPr/>
          </p:nvSpPr>
          <p:spPr bwMode="gray">
            <a:xfrm>
              <a:off x="10209512" y="5086670"/>
              <a:ext cx="185738" cy="239712"/>
            </a:xfrm>
            <a:custGeom>
              <a:avLst/>
              <a:gdLst>
                <a:gd name="T0" fmla="*/ 31 w 134"/>
                <a:gd name="T1" fmla="*/ 0 h 175"/>
                <a:gd name="T2" fmla="*/ 0 w 134"/>
                <a:gd name="T3" fmla="*/ 175 h 175"/>
                <a:gd name="T4" fmla="*/ 133 w 134"/>
                <a:gd name="T5" fmla="*/ 175 h 175"/>
                <a:gd name="T6" fmla="*/ 31 w 134"/>
                <a:gd name="T7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4" h="175">
                  <a:moveTo>
                    <a:pt x="31" y="0"/>
                  </a:moveTo>
                  <a:cubicBezTo>
                    <a:pt x="9" y="49"/>
                    <a:pt x="1" y="119"/>
                    <a:pt x="0" y="175"/>
                  </a:cubicBezTo>
                  <a:cubicBezTo>
                    <a:pt x="133" y="175"/>
                    <a:pt x="133" y="175"/>
                    <a:pt x="133" y="175"/>
                  </a:cubicBezTo>
                  <a:cubicBezTo>
                    <a:pt x="134" y="119"/>
                    <a:pt x="31" y="0"/>
                    <a:pt x="31" y="0"/>
                  </a:cubicBez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8" name="Freeform 95"/>
            <p:cNvSpPr>
              <a:spLocks noEditPoints="1"/>
            </p:cNvSpPr>
            <p:nvPr/>
          </p:nvSpPr>
          <p:spPr bwMode="gray">
            <a:xfrm>
              <a:off x="9257012" y="4496120"/>
              <a:ext cx="280988" cy="279400"/>
            </a:xfrm>
            <a:custGeom>
              <a:avLst/>
              <a:gdLst>
                <a:gd name="T0" fmla="*/ 203 w 203"/>
                <a:gd name="T1" fmla="*/ 93 h 203"/>
                <a:gd name="T2" fmla="*/ 187 w 203"/>
                <a:gd name="T3" fmla="*/ 77 h 203"/>
                <a:gd name="T4" fmla="*/ 192 w 203"/>
                <a:gd name="T5" fmla="*/ 54 h 203"/>
                <a:gd name="T6" fmla="*/ 170 w 203"/>
                <a:gd name="T7" fmla="*/ 46 h 203"/>
                <a:gd name="T8" fmla="*/ 167 w 203"/>
                <a:gd name="T9" fmla="*/ 23 h 203"/>
                <a:gd name="T10" fmla="*/ 144 w 203"/>
                <a:gd name="T11" fmla="*/ 25 h 203"/>
                <a:gd name="T12" fmla="*/ 132 w 203"/>
                <a:gd name="T13" fmla="*/ 4 h 203"/>
                <a:gd name="T14" fmla="*/ 111 w 203"/>
                <a:gd name="T15" fmla="*/ 15 h 203"/>
                <a:gd name="T16" fmla="*/ 92 w 203"/>
                <a:gd name="T17" fmla="*/ 0 h 203"/>
                <a:gd name="T18" fmla="*/ 77 w 203"/>
                <a:gd name="T19" fmla="*/ 18 h 203"/>
                <a:gd name="T20" fmla="*/ 54 w 203"/>
                <a:gd name="T21" fmla="*/ 11 h 203"/>
                <a:gd name="T22" fmla="*/ 47 w 203"/>
                <a:gd name="T23" fmla="*/ 33 h 203"/>
                <a:gd name="T24" fmla="*/ 23 w 203"/>
                <a:gd name="T25" fmla="*/ 36 h 203"/>
                <a:gd name="T26" fmla="*/ 24 w 203"/>
                <a:gd name="T27" fmla="*/ 59 h 203"/>
                <a:gd name="T28" fmla="*/ 4 w 203"/>
                <a:gd name="T29" fmla="*/ 71 h 203"/>
                <a:gd name="T30" fmla="*/ 14 w 203"/>
                <a:gd name="T31" fmla="*/ 93 h 203"/>
                <a:gd name="T32" fmla="*/ 0 w 203"/>
                <a:gd name="T33" fmla="*/ 112 h 203"/>
                <a:gd name="T34" fmla="*/ 16 w 203"/>
                <a:gd name="T35" fmla="*/ 127 h 203"/>
                <a:gd name="T36" fmla="*/ 11 w 203"/>
                <a:gd name="T37" fmla="*/ 149 h 203"/>
                <a:gd name="T38" fmla="*/ 32 w 203"/>
                <a:gd name="T39" fmla="*/ 158 h 203"/>
                <a:gd name="T40" fmla="*/ 36 w 203"/>
                <a:gd name="T41" fmla="*/ 180 h 203"/>
                <a:gd name="T42" fmla="*/ 59 w 203"/>
                <a:gd name="T43" fmla="*/ 180 h 203"/>
                <a:gd name="T44" fmla="*/ 71 w 203"/>
                <a:gd name="T45" fmla="*/ 199 h 203"/>
                <a:gd name="T46" fmla="*/ 92 w 203"/>
                <a:gd name="T47" fmla="*/ 191 h 203"/>
                <a:gd name="T48" fmla="*/ 111 w 203"/>
                <a:gd name="T49" fmla="*/ 203 h 203"/>
                <a:gd name="T50" fmla="*/ 127 w 203"/>
                <a:gd name="T51" fmla="*/ 188 h 203"/>
                <a:gd name="T52" fmla="*/ 149 w 203"/>
                <a:gd name="T53" fmla="*/ 192 h 203"/>
                <a:gd name="T54" fmla="*/ 158 w 203"/>
                <a:gd name="T55" fmla="*/ 171 h 203"/>
                <a:gd name="T56" fmla="*/ 180 w 203"/>
                <a:gd name="T57" fmla="*/ 167 h 203"/>
                <a:gd name="T58" fmla="*/ 180 w 203"/>
                <a:gd name="T59" fmla="*/ 144 h 203"/>
                <a:gd name="T60" fmla="*/ 199 w 203"/>
                <a:gd name="T61" fmla="*/ 132 h 203"/>
                <a:gd name="T62" fmla="*/ 190 w 203"/>
                <a:gd name="T63" fmla="*/ 112 h 203"/>
                <a:gd name="T64" fmla="*/ 57 w 203"/>
                <a:gd name="T65" fmla="*/ 58 h 203"/>
                <a:gd name="T66" fmla="*/ 93 w 203"/>
                <a:gd name="T67" fmla="*/ 73 h 203"/>
                <a:gd name="T68" fmla="*/ 39 w 203"/>
                <a:gd name="T69" fmla="*/ 95 h 203"/>
                <a:gd name="T70" fmla="*/ 93 w 203"/>
                <a:gd name="T71" fmla="*/ 166 h 203"/>
                <a:gd name="T72" fmla="*/ 39 w 203"/>
                <a:gd name="T73" fmla="*/ 111 h 203"/>
                <a:gd name="T74" fmla="*/ 93 w 203"/>
                <a:gd name="T75" fmla="*/ 133 h 203"/>
                <a:gd name="T76" fmla="*/ 89 w 203"/>
                <a:gd name="T77" fmla="*/ 102 h 203"/>
                <a:gd name="T78" fmla="*/ 114 w 203"/>
                <a:gd name="T79" fmla="*/ 102 h 203"/>
                <a:gd name="T80" fmla="*/ 89 w 203"/>
                <a:gd name="T81" fmla="*/ 102 h 203"/>
                <a:gd name="T82" fmla="*/ 110 w 203"/>
                <a:gd name="T83" fmla="*/ 166 h 203"/>
                <a:gd name="T84" fmla="*/ 124 w 203"/>
                <a:gd name="T85" fmla="*/ 125 h 203"/>
                <a:gd name="T86" fmla="*/ 165 w 203"/>
                <a:gd name="T87" fmla="*/ 111 h 203"/>
                <a:gd name="T88" fmla="*/ 132 w 203"/>
                <a:gd name="T89" fmla="*/ 95 h 203"/>
                <a:gd name="T90" fmla="*/ 110 w 203"/>
                <a:gd name="T91" fmla="*/ 40 h 203"/>
                <a:gd name="T92" fmla="*/ 165 w 203"/>
                <a:gd name="T93" fmla="*/ 9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3" h="203">
                  <a:moveTo>
                    <a:pt x="203" y="112"/>
                  </a:moveTo>
                  <a:cubicBezTo>
                    <a:pt x="203" y="93"/>
                    <a:pt x="203" y="93"/>
                    <a:pt x="203" y="93"/>
                  </a:cubicBezTo>
                  <a:cubicBezTo>
                    <a:pt x="190" y="93"/>
                    <a:pt x="190" y="93"/>
                    <a:pt x="190" y="93"/>
                  </a:cubicBezTo>
                  <a:cubicBezTo>
                    <a:pt x="189" y="88"/>
                    <a:pt x="188" y="82"/>
                    <a:pt x="187" y="77"/>
                  </a:cubicBezTo>
                  <a:cubicBezTo>
                    <a:pt x="199" y="72"/>
                    <a:pt x="199" y="72"/>
                    <a:pt x="199" y="72"/>
                  </a:cubicBezTo>
                  <a:cubicBezTo>
                    <a:pt x="192" y="54"/>
                    <a:pt x="192" y="54"/>
                    <a:pt x="192" y="54"/>
                  </a:cubicBezTo>
                  <a:cubicBezTo>
                    <a:pt x="179" y="60"/>
                    <a:pt x="179" y="60"/>
                    <a:pt x="179" y="60"/>
                  </a:cubicBezTo>
                  <a:cubicBezTo>
                    <a:pt x="177" y="55"/>
                    <a:pt x="174" y="51"/>
                    <a:pt x="170" y="46"/>
                  </a:cubicBezTo>
                  <a:cubicBezTo>
                    <a:pt x="180" y="36"/>
                    <a:pt x="180" y="36"/>
                    <a:pt x="180" y="36"/>
                  </a:cubicBezTo>
                  <a:cubicBezTo>
                    <a:pt x="167" y="23"/>
                    <a:pt x="167" y="23"/>
                    <a:pt x="167" y="23"/>
                  </a:cubicBezTo>
                  <a:cubicBezTo>
                    <a:pt x="157" y="33"/>
                    <a:pt x="157" y="33"/>
                    <a:pt x="157" y="33"/>
                  </a:cubicBezTo>
                  <a:cubicBezTo>
                    <a:pt x="153" y="30"/>
                    <a:pt x="148" y="27"/>
                    <a:pt x="144" y="25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32" y="4"/>
                    <a:pt x="132" y="4"/>
                    <a:pt x="132" y="4"/>
                  </a:cubicBezTo>
                  <a:cubicBezTo>
                    <a:pt x="127" y="18"/>
                    <a:pt x="127" y="18"/>
                    <a:pt x="127" y="18"/>
                  </a:cubicBezTo>
                  <a:cubicBezTo>
                    <a:pt x="122" y="16"/>
                    <a:pt x="116" y="15"/>
                    <a:pt x="111" y="15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5"/>
                    <a:pt x="92" y="15"/>
                    <a:pt x="92" y="15"/>
                  </a:cubicBezTo>
                  <a:cubicBezTo>
                    <a:pt x="87" y="15"/>
                    <a:pt x="82" y="16"/>
                    <a:pt x="77" y="18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55" y="27"/>
                    <a:pt x="51" y="30"/>
                    <a:pt x="47" y="33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0" y="51"/>
                    <a:pt x="27" y="55"/>
                    <a:pt x="24" y="59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4" y="71"/>
                    <a:pt x="4" y="71"/>
                    <a:pt x="4" y="71"/>
                  </a:cubicBezTo>
                  <a:cubicBezTo>
                    <a:pt x="17" y="77"/>
                    <a:pt x="17" y="77"/>
                    <a:pt x="17" y="77"/>
                  </a:cubicBezTo>
                  <a:cubicBezTo>
                    <a:pt x="15" y="82"/>
                    <a:pt x="14" y="88"/>
                    <a:pt x="14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14" y="112"/>
                    <a:pt x="14" y="112"/>
                    <a:pt x="14" y="112"/>
                  </a:cubicBezTo>
                  <a:cubicBezTo>
                    <a:pt x="14" y="117"/>
                    <a:pt x="15" y="122"/>
                    <a:pt x="16" y="127"/>
                  </a:cubicBezTo>
                  <a:cubicBezTo>
                    <a:pt x="4" y="132"/>
                    <a:pt x="4" y="132"/>
                    <a:pt x="4" y="132"/>
                  </a:cubicBezTo>
                  <a:cubicBezTo>
                    <a:pt x="11" y="149"/>
                    <a:pt x="11" y="149"/>
                    <a:pt x="11" y="149"/>
                  </a:cubicBezTo>
                  <a:cubicBezTo>
                    <a:pt x="23" y="144"/>
                    <a:pt x="23" y="144"/>
                    <a:pt x="23" y="144"/>
                  </a:cubicBezTo>
                  <a:cubicBezTo>
                    <a:pt x="26" y="149"/>
                    <a:pt x="29" y="154"/>
                    <a:pt x="32" y="158"/>
                  </a:cubicBezTo>
                  <a:cubicBezTo>
                    <a:pt x="23" y="167"/>
                    <a:pt x="23" y="167"/>
                    <a:pt x="23" y="167"/>
                  </a:cubicBezTo>
                  <a:cubicBezTo>
                    <a:pt x="36" y="180"/>
                    <a:pt x="36" y="180"/>
                    <a:pt x="36" y="180"/>
                  </a:cubicBezTo>
                  <a:cubicBezTo>
                    <a:pt x="45" y="171"/>
                    <a:pt x="45" y="171"/>
                    <a:pt x="45" y="171"/>
                  </a:cubicBezTo>
                  <a:cubicBezTo>
                    <a:pt x="50" y="175"/>
                    <a:pt x="54" y="178"/>
                    <a:pt x="59" y="180"/>
                  </a:cubicBezTo>
                  <a:cubicBezTo>
                    <a:pt x="54" y="192"/>
                    <a:pt x="54" y="192"/>
                    <a:pt x="54" y="192"/>
                  </a:cubicBezTo>
                  <a:cubicBezTo>
                    <a:pt x="71" y="199"/>
                    <a:pt x="71" y="199"/>
                    <a:pt x="71" y="199"/>
                  </a:cubicBezTo>
                  <a:cubicBezTo>
                    <a:pt x="76" y="188"/>
                    <a:pt x="76" y="188"/>
                    <a:pt x="76" y="188"/>
                  </a:cubicBezTo>
                  <a:cubicBezTo>
                    <a:pt x="81" y="189"/>
                    <a:pt x="87" y="190"/>
                    <a:pt x="92" y="191"/>
                  </a:cubicBezTo>
                  <a:cubicBezTo>
                    <a:pt x="92" y="203"/>
                    <a:pt x="92" y="203"/>
                    <a:pt x="92" y="203"/>
                  </a:cubicBezTo>
                  <a:cubicBezTo>
                    <a:pt x="111" y="203"/>
                    <a:pt x="111" y="203"/>
                    <a:pt x="111" y="203"/>
                  </a:cubicBezTo>
                  <a:cubicBezTo>
                    <a:pt x="111" y="191"/>
                    <a:pt x="111" y="191"/>
                    <a:pt x="111" y="191"/>
                  </a:cubicBezTo>
                  <a:cubicBezTo>
                    <a:pt x="117" y="190"/>
                    <a:pt x="122" y="189"/>
                    <a:pt x="127" y="188"/>
                  </a:cubicBezTo>
                  <a:cubicBezTo>
                    <a:pt x="132" y="199"/>
                    <a:pt x="132" y="199"/>
                    <a:pt x="132" y="199"/>
                  </a:cubicBezTo>
                  <a:cubicBezTo>
                    <a:pt x="149" y="192"/>
                    <a:pt x="149" y="192"/>
                    <a:pt x="149" y="192"/>
                  </a:cubicBezTo>
                  <a:cubicBezTo>
                    <a:pt x="144" y="181"/>
                    <a:pt x="144" y="181"/>
                    <a:pt x="144" y="181"/>
                  </a:cubicBezTo>
                  <a:cubicBezTo>
                    <a:pt x="149" y="178"/>
                    <a:pt x="154" y="175"/>
                    <a:pt x="158" y="171"/>
                  </a:cubicBezTo>
                  <a:cubicBezTo>
                    <a:pt x="167" y="180"/>
                    <a:pt x="167" y="180"/>
                    <a:pt x="167" y="180"/>
                  </a:cubicBezTo>
                  <a:cubicBezTo>
                    <a:pt x="180" y="167"/>
                    <a:pt x="180" y="167"/>
                    <a:pt x="180" y="167"/>
                  </a:cubicBezTo>
                  <a:cubicBezTo>
                    <a:pt x="171" y="158"/>
                    <a:pt x="171" y="158"/>
                    <a:pt x="171" y="158"/>
                  </a:cubicBezTo>
                  <a:cubicBezTo>
                    <a:pt x="175" y="154"/>
                    <a:pt x="178" y="149"/>
                    <a:pt x="180" y="144"/>
                  </a:cubicBezTo>
                  <a:cubicBezTo>
                    <a:pt x="192" y="149"/>
                    <a:pt x="192" y="149"/>
                    <a:pt x="192" y="149"/>
                  </a:cubicBezTo>
                  <a:cubicBezTo>
                    <a:pt x="199" y="132"/>
                    <a:pt x="199" y="132"/>
                    <a:pt x="199" y="132"/>
                  </a:cubicBezTo>
                  <a:cubicBezTo>
                    <a:pt x="187" y="127"/>
                    <a:pt x="187" y="127"/>
                    <a:pt x="187" y="127"/>
                  </a:cubicBezTo>
                  <a:cubicBezTo>
                    <a:pt x="188" y="122"/>
                    <a:pt x="189" y="117"/>
                    <a:pt x="190" y="112"/>
                  </a:cubicBezTo>
                  <a:lnTo>
                    <a:pt x="203" y="112"/>
                  </a:lnTo>
                  <a:close/>
                  <a:moveTo>
                    <a:pt x="57" y="58"/>
                  </a:moveTo>
                  <a:cubicBezTo>
                    <a:pt x="67" y="48"/>
                    <a:pt x="80" y="41"/>
                    <a:pt x="93" y="40"/>
                  </a:cubicBezTo>
                  <a:cubicBezTo>
                    <a:pt x="93" y="73"/>
                    <a:pt x="93" y="73"/>
                    <a:pt x="93" y="73"/>
                  </a:cubicBezTo>
                  <a:cubicBezTo>
                    <a:pt x="83" y="76"/>
                    <a:pt x="75" y="84"/>
                    <a:pt x="72" y="95"/>
                  </a:cubicBezTo>
                  <a:cubicBezTo>
                    <a:pt x="39" y="95"/>
                    <a:pt x="39" y="95"/>
                    <a:pt x="39" y="95"/>
                  </a:cubicBezTo>
                  <a:cubicBezTo>
                    <a:pt x="40" y="81"/>
                    <a:pt x="47" y="68"/>
                    <a:pt x="57" y="58"/>
                  </a:cubicBezTo>
                  <a:close/>
                  <a:moveTo>
                    <a:pt x="93" y="166"/>
                  </a:moveTo>
                  <a:cubicBezTo>
                    <a:pt x="80" y="164"/>
                    <a:pt x="67" y="158"/>
                    <a:pt x="57" y="148"/>
                  </a:cubicBezTo>
                  <a:cubicBezTo>
                    <a:pt x="47" y="138"/>
                    <a:pt x="40" y="125"/>
                    <a:pt x="39" y="111"/>
                  </a:cubicBezTo>
                  <a:cubicBezTo>
                    <a:pt x="72" y="111"/>
                    <a:pt x="72" y="111"/>
                    <a:pt x="72" y="111"/>
                  </a:cubicBezTo>
                  <a:cubicBezTo>
                    <a:pt x="75" y="122"/>
                    <a:pt x="83" y="130"/>
                    <a:pt x="93" y="133"/>
                  </a:cubicBezTo>
                  <a:lnTo>
                    <a:pt x="93" y="166"/>
                  </a:lnTo>
                  <a:close/>
                  <a:moveTo>
                    <a:pt x="89" y="102"/>
                  </a:moveTo>
                  <a:cubicBezTo>
                    <a:pt x="89" y="95"/>
                    <a:pt x="95" y="89"/>
                    <a:pt x="102" y="89"/>
                  </a:cubicBezTo>
                  <a:cubicBezTo>
                    <a:pt x="109" y="89"/>
                    <a:pt x="114" y="95"/>
                    <a:pt x="114" y="102"/>
                  </a:cubicBezTo>
                  <a:cubicBezTo>
                    <a:pt x="114" y="109"/>
                    <a:pt x="109" y="114"/>
                    <a:pt x="102" y="114"/>
                  </a:cubicBezTo>
                  <a:cubicBezTo>
                    <a:pt x="95" y="114"/>
                    <a:pt x="89" y="109"/>
                    <a:pt x="89" y="102"/>
                  </a:cubicBezTo>
                  <a:close/>
                  <a:moveTo>
                    <a:pt x="147" y="148"/>
                  </a:moveTo>
                  <a:cubicBezTo>
                    <a:pt x="137" y="158"/>
                    <a:pt x="124" y="164"/>
                    <a:pt x="110" y="166"/>
                  </a:cubicBezTo>
                  <a:cubicBezTo>
                    <a:pt x="110" y="133"/>
                    <a:pt x="110" y="133"/>
                    <a:pt x="110" y="133"/>
                  </a:cubicBezTo>
                  <a:cubicBezTo>
                    <a:pt x="115" y="131"/>
                    <a:pt x="120" y="129"/>
                    <a:pt x="124" y="125"/>
                  </a:cubicBezTo>
                  <a:cubicBezTo>
                    <a:pt x="128" y="121"/>
                    <a:pt x="130" y="116"/>
                    <a:pt x="132" y="111"/>
                  </a:cubicBezTo>
                  <a:cubicBezTo>
                    <a:pt x="165" y="111"/>
                    <a:pt x="165" y="111"/>
                    <a:pt x="165" y="111"/>
                  </a:cubicBezTo>
                  <a:cubicBezTo>
                    <a:pt x="163" y="125"/>
                    <a:pt x="157" y="138"/>
                    <a:pt x="147" y="148"/>
                  </a:cubicBezTo>
                  <a:close/>
                  <a:moveTo>
                    <a:pt x="132" y="95"/>
                  </a:moveTo>
                  <a:cubicBezTo>
                    <a:pt x="129" y="84"/>
                    <a:pt x="121" y="76"/>
                    <a:pt x="110" y="73"/>
                  </a:cubicBezTo>
                  <a:cubicBezTo>
                    <a:pt x="110" y="40"/>
                    <a:pt x="110" y="40"/>
                    <a:pt x="110" y="40"/>
                  </a:cubicBezTo>
                  <a:cubicBezTo>
                    <a:pt x="124" y="41"/>
                    <a:pt x="137" y="48"/>
                    <a:pt x="147" y="58"/>
                  </a:cubicBezTo>
                  <a:cubicBezTo>
                    <a:pt x="157" y="68"/>
                    <a:pt x="163" y="81"/>
                    <a:pt x="165" y="95"/>
                  </a:cubicBezTo>
                  <a:lnTo>
                    <a:pt x="132" y="95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Freeform 96"/>
            <p:cNvSpPr>
              <a:spLocks noEditPoints="1"/>
            </p:cNvSpPr>
            <p:nvPr/>
          </p:nvSpPr>
          <p:spPr bwMode="gray">
            <a:xfrm>
              <a:off x="9109375" y="4723133"/>
              <a:ext cx="254000" cy="254000"/>
            </a:xfrm>
            <a:custGeom>
              <a:avLst/>
              <a:gdLst>
                <a:gd name="T0" fmla="*/ 184 w 184"/>
                <a:gd name="T1" fmla="*/ 112 h 185"/>
                <a:gd name="T2" fmla="*/ 161 w 184"/>
                <a:gd name="T3" fmla="*/ 89 h 185"/>
                <a:gd name="T4" fmla="*/ 181 w 184"/>
                <a:gd name="T5" fmla="*/ 63 h 185"/>
                <a:gd name="T6" fmla="*/ 150 w 184"/>
                <a:gd name="T7" fmla="*/ 55 h 185"/>
                <a:gd name="T8" fmla="*/ 155 w 184"/>
                <a:gd name="T9" fmla="*/ 22 h 185"/>
                <a:gd name="T10" fmla="*/ 123 w 184"/>
                <a:gd name="T11" fmla="*/ 31 h 185"/>
                <a:gd name="T12" fmla="*/ 111 w 184"/>
                <a:gd name="T13" fmla="*/ 0 h 185"/>
                <a:gd name="T14" fmla="*/ 88 w 184"/>
                <a:gd name="T15" fmla="*/ 23 h 185"/>
                <a:gd name="T16" fmla="*/ 63 w 184"/>
                <a:gd name="T17" fmla="*/ 3 h 185"/>
                <a:gd name="T18" fmla="*/ 54 w 184"/>
                <a:gd name="T19" fmla="*/ 34 h 185"/>
                <a:gd name="T20" fmla="*/ 22 w 184"/>
                <a:gd name="T21" fmla="*/ 29 h 185"/>
                <a:gd name="T22" fmla="*/ 30 w 184"/>
                <a:gd name="T23" fmla="*/ 61 h 185"/>
                <a:gd name="T24" fmla="*/ 0 w 184"/>
                <a:gd name="T25" fmla="*/ 73 h 185"/>
                <a:gd name="T26" fmla="*/ 23 w 184"/>
                <a:gd name="T27" fmla="*/ 96 h 185"/>
                <a:gd name="T28" fmla="*/ 2 w 184"/>
                <a:gd name="T29" fmla="*/ 121 h 185"/>
                <a:gd name="T30" fmla="*/ 34 w 184"/>
                <a:gd name="T31" fmla="*/ 130 h 185"/>
                <a:gd name="T32" fmla="*/ 29 w 184"/>
                <a:gd name="T33" fmla="*/ 162 h 185"/>
                <a:gd name="T34" fmla="*/ 60 w 184"/>
                <a:gd name="T35" fmla="*/ 154 h 185"/>
                <a:gd name="T36" fmla="*/ 72 w 184"/>
                <a:gd name="T37" fmla="*/ 185 h 185"/>
                <a:gd name="T38" fmla="*/ 95 w 184"/>
                <a:gd name="T39" fmla="*/ 161 h 185"/>
                <a:gd name="T40" fmla="*/ 121 w 184"/>
                <a:gd name="T41" fmla="*/ 182 h 185"/>
                <a:gd name="T42" fmla="*/ 129 w 184"/>
                <a:gd name="T43" fmla="*/ 150 h 185"/>
                <a:gd name="T44" fmla="*/ 162 w 184"/>
                <a:gd name="T45" fmla="*/ 156 h 185"/>
                <a:gd name="T46" fmla="*/ 153 w 184"/>
                <a:gd name="T47" fmla="*/ 124 h 185"/>
                <a:gd name="T48" fmla="*/ 184 w 184"/>
                <a:gd name="T49" fmla="*/ 112 h 185"/>
                <a:gd name="T50" fmla="*/ 92 w 184"/>
                <a:gd name="T51" fmla="*/ 115 h 185"/>
                <a:gd name="T52" fmla="*/ 69 w 184"/>
                <a:gd name="T53" fmla="*/ 92 h 185"/>
                <a:gd name="T54" fmla="*/ 92 w 184"/>
                <a:gd name="T55" fmla="*/ 70 h 185"/>
                <a:gd name="T56" fmla="*/ 114 w 184"/>
                <a:gd name="T57" fmla="*/ 92 h 185"/>
                <a:gd name="T58" fmla="*/ 92 w 184"/>
                <a:gd name="T59" fmla="*/ 115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84" h="185">
                  <a:moveTo>
                    <a:pt x="184" y="112"/>
                  </a:moveTo>
                  <a:cubicBezTo>
                    <a:pt x="161" y="89"/>
                    <a:pt x="161" y="89"/>
                    <a:pt x="161" y="89"/>
                  </a:cubicBezTo>
                  <a:cubicBezTo>
                    <a:pt x="181" y="63"/>
                    <a:pt x="181" y="63"/>
                    <a:pt x="181" y="63"/>
                  </a:cubicBezTo>
                  <a:cubicBezTo>
                    <a:pt x="150" y="55"/>
                    <a:pt x="150" y="55"/>
                    <a:pt x="150" y="55"/>
                  </a:cubicBezTo>
                  <a:cubicBezTo>
                    <a:pt x="155" y="22"/>
                    <a:pt x="155" y="22"/>
                    <a:pt x="155" y="22"/>
                  </a:cubicBezTo>
                  <a:cubicBezTo>
                    <a:pt x="123" y="31"/>
                    <a:pt x="123" y="31"/>
                    <a:pt x="123" y="31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88" y="23"/>
                    <a:pt x="88" y="23"/>
                    <a:pt x="88" y="23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54" y="34"/>
                    <a:pt x="54" y="34"/>
                    <a:pt x="54" y="34"/>
                  </a:cubicBezTo>
                  <a:cubicBezTo>
                    <a:pt x="22" y="29"/>
                    <a:pt x="22" y="29"/>
                    <a:pt x="22" y="29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23" y="96"/>
                    <a:pt x="23" y="96"/>
                    <a:pt x="23" y="96"/>
                  </a:cubicBezTo>
                  <a:cubicBezTo>
                    <a:pt x="2" y="121"/>
                    <a:pt x="2" y="121"/>
                    <a:pt x="2" y="121"/>
                  </a:cubicBezTo>
                  <a:cubicBezTo>
                    <a:pt x="34" y="130"/>
                    <a:pt x="34" y="130"/>
                    <a:pt x="34" y="130"/>
                  </a:cubicBezTo>
                  <a:cubicBezTo>
                    <a:pt x="29" y="162"/>
                    <a:pt x="29" y="162"/>
                    <a:pt x="29" y="162"/>
                  </a:cubicBezTo>
                  <a:cubicBezTo>
                    <a:pt x="60" y="154"/>
                    <a:pt x="60" y="154"/>
                    <a:pt x="60" y="154"/>
                  </a:cubicBezTo>
                  <a:cubicBezTo>
                    <a:pt x="72" y="185"/>
                    <a:pt x="72" y="185"/>
                    <a:pt x="72" y="185"/>
                  </a:cubicBezTo>
                  <a:cubicBezTo>
                    <a:pt x="95" y="161"/>
                    <a:pt x="95" y="161"/>
                    <a:pt x="95" y="161"/>
                  </a:cubicBezTo>
                  <a:cubicBezTo>
                    <a:pt x="121" y="182"/>
                    <a:pt x="121" y="182"/>
                    <a:pt x="121" y="182"/>
                  </a:cubicBezTo>
                  <a:cubicBezTo>
                    <a:pt x="129" y="150"/>
                    <a:pt x="129" y="150"/>
                    <a:pt x="129" y="150"/>
                  </a:cubicBezTo>
                  <a:cubicBezTo>
                    <a:pt x="162" y="156"/>
                    <a:pt x="162" y="156"/>
                    <a:pt x="162" y="156"/>
                  </a:cubicBezTo>
                  <a:cubicBezTo>
                    <a:pt x="153" y="124"/>
                    <a:pt x="153" y="124"/>
                    <a:pt x="153" y="124"/>
                  </a:cubicBezTo>
                  <a:lnTo>
                    <a:pt x="184" y="112"/>
                  </a:lnTo>
                  <a:close/>
                  <a:moveTo>
                    <a:pt x="92" y="115"/>
                  </a:moveTo>
                  <a:cubicBezTo>
                    <a:pt x="79" y="115"/>
                    <a:pt x="69" y="105"/>
                    <a:pt x="69" y="92"/>
                  </a:cubicBezTo>
                  <a:cubicBezTo>
                    <a:pt x="69" y="80"/>
                    <a:pt x="79" y="70"/>
                    <a:pt x="92" y="70"/>
                  </a:cubicBezTo>
                  <a:cubicBezTo>
                    <a:pt x="104" y="70"/>
                    <a:pt x="114" y="80"/>
                    <a:pt x="114" y="92"/>
                  </a:cubicBezTo>
                  <a:cubicBezTo>
                    <a:pt x="114" y="105"/>
                    <a:pt x="104" y="115"/>
                    <a:pt x="92" y="115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Freeform 97"/>
            <p:cNvSpPr>
              <a:spLocks noEditPoints="1"/>
            </p:cNvSpPr>
            <p:nvPr/>
          </p:nvSpPr>
          <p:spPr bwMode="gray">
            <a:xfrm>
              <a:off x="9464975" y="4650108"/>
              <a:ext cx="358775" cy="355600"/>
            </a:xfrm>
            <a:custGeom>
              <a:avLst/>
              <a:gdLst>
                <a:gd name="T0" fmla="*/ 247 w 259"/>
                <a:gd name="T1" fmla="*/ 139 h 259"/>
                <a:gd name="T2" fmla="*/ 228 w 259"/>
                <a:gd name="T3" fmla="*/ 133 h 259"/>
                <a:gd name="T4" fmla="*/ 224 w 259"/>
                <a:gd name="T5" fmla="*/ 103 h 259"/>
                <a:gd name="T6" fmla="*/ 241 w 259"/>
                <a:gd name="T7" fmla="*/ 94 h 259"/>
                <a:gd name="T8" fmla="*/ 247 w 259"/>
                <a:gd name="T9" fmla="*/ 73 h 259"/>
                <a:gd name="T10" fmla="*/ 239 w 259"/>
                <a:gd name="T11" fmla="*/ 59 h 259"/>
                <a:gd name="T12" fmla="*/ 219 w 259"/>
                <a:gd name="T13" fmla="*/ 53 h 259"/>
                <a:gd name="T14" fmla="*/ 202 w 259"/>
                <a:gd name="T15" fmla="*/ 63 h 259"/>
                <a:gd name="T16" fmla="*/ 178 w 259"/>
                <a:gd name="T17" fmla="*/ 44 h 259"/>
                <a:gd name="T18" fmla="*/ 183 w 259"/>
                <a:gd name="T19" fmla="*/ 25 h 259"/>
                <a:gd name="T20" fmla="*/ 173 w 259"/>
                <a:gd name="T21" fmla="*/ 7 h 259"/>
                <a:gd name="T22" fmla="*/ 157 w 259"/>
                <a:gd name="T23" fmla="*/ 2 h 259"/>
                <a:gd name="T24" fmla="*/ 138 w 259"/>
                <a:gd name="T25" fmla="*/ 12 h 259"/>
                <a:gd name="T26" fmla="*/ 133 w 259"/>
                <a:gd name="T27" fmla="*/ 31 h 259"/>
                <a:gd name="T28" fmla="*/ 103 w 259"/>
                <a:gd name="T29" fmla="*/ 35 h 259"/>
                <a:gd name="T30" fmla="*/ 93 w 259"/>
                <a:gd name="T31" fmla="*/ 18 h 259"/>
                <a:gd name="T32" fmla="*/ 73 w 259"/>
                <a:gd name="T33" fmla="*/ 12 h 259"/>
                <a:gd name="T34" fmla="*/ 59 w 259"/>
                <a:gd name="T35" fmla="*/ 20 h 259"/>
                <a:gd name="T36" fmla="*/ 53 w 259"/>
                <a:gd name="T37" fmla="*/ 40 h 259"/>
                <a:gd name="T38" fmla="*/ 63 w 259"/>
                <a:gd name="T39" fmla="*/ 58 h 259"/>
                <a:gd name="T40" fmla="*/ 44 w 259"/>
                <a:gd name="T41" fmla="*/ 81 h 259"/>
                <a:gd name="T42" fmla="*/ 25 w 259"/>
                <a:gd name="T43" fmla="*/ 76 h 259"/>
                <a:gd name="T44" fmla="*/ 7 w 259"/>
                <a:gd name="T45" fmla="*/ 86 h 259"/>
                <a:gd name="T46" fmla="*/ 2 w 259"/>
                <a:gd name="T47" fmla="*/ 103 h 259"/>
                <a:gd name="T48" fmla="*/ 12 w 259"/>
                <a:gd name="T49" fmla="*/ 121 h 259"/>
                <a:gd name="T50" fmla="*/ 31 w 259"/>
                <a:gd name="T51" fmla="*/ 126 h 259"/>
                <a:gd name="T52" fmla="*/ 35 w 259"/>
                <a:gd name="T53" fmla="*/ 156 h 259"/>
                <a:gd name="T54" fmla="*/ 18 w 259"/>
                <a:gd name="T55" fmla="*/ 166 h 259"/>
                <a:gd name="T56" fmla="*/ 12 w 259"/>
                <a:gd name="T57" fmla="*/ 186 h 259"/>
                <a:gd name="T58" fmla="*/ 20 w 259"/>
                <a:gd name="T59" fmla="*/ 201 h 259"/>
                <a:gd name="T60" fmla="*/ 40 w 259"/>
                <a:gd name="T61" fmla="*/ 206 h 259"/>
                <a:gd name="T62" fmla="*/ 58 w 259"/>
                <a:gd name="T63" fmla="*/ 197 h 259"/>
                <a:gd name="T64" fmla="*/ 81 w 259"/>
                <a:gd name="T65" fmla="*/ 215 h 259"/>
                <a:gd name="T66" fmla="*/ 76 w 259"/>
                <a:gd name="T67" fmla="*/ 234 h 259"/>
                <a:gd name="T68" fmla="*/ 86 w 259"/>
                <a:gd name="T69" fmla="*/ 253 h 259"/>
                <a:gd name="T70" fmla="*/ 102 w 259"/>
                <a:gd name="T71" fmla="*/ 257 h 259"/>
                <a:gd name="T72" fmla="*/ 121 w 259"/>
                <a:gd name="T73" fmla="*/ 247 h 259"/>
                <a:gd name="T74" fmla="*/ 126 w 259"/>
                <a:gd name="T75" fmla="*/ 228 h 259"/>
                <a:gd name="T76" fmla="*/ 156 w 259"/>
                <a:gd name="T77" fmla="*/ 224 h 259"/>
                <a:gd name="T78" fmla="*/ 166 w 259"/>
                <a:gd name="T79" fmla="*/ 242 h 259"/>
                <a:gd name="T80" fmla="*/ 186 w 259"/>
                <a:gd name="T81" fmla="*/ 247 h 259"/>
                <a:gd name="T82" fmla="*/ 200 w 259"/>
                <a:gd name="T83" fmla="*/ 239 h 259"/>
                <a:gd name="T84" fmla="*/ 206 w 259"/>
                <a:gd name="T85" fmla="*/ 219 h 259"/>
                <a:gd name="T86" fmla="*/ 197 w 259"/>
                <a:gd name="T87" fmla="*/ 202 h 259"/>
                <a:gd name="T88" fmla="*/ 215 w 259"/>
                <a:gd name="T89" fmla="*/ 178 h 259"/>
                <a:gd name="T90" fmla="*/ 234 w 259"/>
                <a:gd name="T91" fmla="*/ 183 h 259"/>
                <a:gd name="T92" fmla="*/ 252 w 259"/>
                <a:gd name="T93" fmla="*/ 173 h 259"/>
                <a:gd name="T94" fmla="*/ 257 w 259"/>
                <a:gd name="T95" fmla="*/ 157 h 259"/>
                <a:gd name="T96" fmla="*/ 247 w 259"/>
                <a:gd name="T97" fmla="*/ 139 h 259"/>
                <a:gd name="T98" fmla="*/ 116 w 259"/>
                <a:gd name="T99" fmla="*/ 178 h 259"/>
                <a:gd name="T100" fmla="*/ 82 w 259"/>
                <a:gd name="T101" fmla="*/ 116 h 259"/>
                <a:gd name="T102" fmla="*/ 143 w 259"/>
                <a:gd name="T103" fmla="*/ 82 h 259"/>
                <a:gd name="T104" fmla="*/ 177 w 259"/>
                <a:gd name="T105" fmla="*/ 143 h 259"/>
                <a:gd name="T106" fmla="*/ 116 w 259"/>
                <a:gd name="T107" fmla="*/ 178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59" h="259">
                  <a:moveTo>
                    <a:pt x="247" y="139"/>
                  </a:moveTo>
                  <a:cubicBezTo>
                    <a:pt x="228" y="133"/>
                    <a:pt x="228" y="133"/>
                    <a:pt x="228" y="133"/>
                  </a:cubicBezTo>
                  <a:cubicBezTo>
                    <a:pt x="228" y="123"/>
                    <a:pt x="227" y="113"/>
                    <a:pt x="224" y="103"/>
                  </a:cubicBezTo>
                  <a:cubicBezTo>
                    <a:pt x="241" y="94"/>
                    <a:pt x="241" y="94"/>
                    <a:pt x="241" y="94"/>
                  </a:cubicBezTo>
                  <a:cubicBezTo>
                    <a:pt x="249" y="90"/>
                    <a:pt x="251" y="81"/>
                    <a:pt x="247" y="73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5" y="52"/>
                    <a:pt x="226" y="49"/>
                    <a:pt x="219" y="53"/>
                  </a:cubicBezTo>
                  <a:cubicBezTo>
                    <a:pt x="202" y="63"/>
                    <a:pt x="202" y="63"/>
                    <a:pt x="202" y="63"/>
                  </a:cubicBezTo>
                  <a:cubicBezTo>
                    <a:pt x="195" y="55"/>
                    <a:pt x="187" y="49"/>
                    <a:pt x="178" y="44"/>
                  </a:cubicBezTo>
                  <a:cubicBezTo>
                    <a:pt x="183" y="25"/>
                    <a:pt x="183" y="25"/>
                    <a:pt x="183" y="25"/>
                  </a:cubicBezTo>
                  <a:cubicBezTo>
                    <a:pt x="185" y="17"/>
                    <a:pt x="181" y="9"/>
                    <a:pt x="173" y="7"/>
                  </a:cubicBezTo>
                  <a:cubicBezTo>
                    <a:pt x="157" y="2"/>
                    <a:pt x="157" y="2"/>
                    <a:pt x="157" y="2"/>
                  </a:cubicBezTo>
                  <a:cubicBezTo>
                    <a:pt x="149" y="0"/>
                    <a:pt x="141" y="5"/>
                    <a:pt x="138" y="12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23" y="31"/>
                    <a:pt x="113" y="32"/>
                    <a:pt x="103" y="35"/>
                  </a:cubicBezTo>
                  <a:cubicBezTo>
                    <a:pt x="93" y="18"/>
                    <a:pt x="93" y="18"/>
                    <a:pt x="93" y="18"/>
                  </a:cubicBezTo>
                  <a:cubicBezTo>
                    <a:pt x="90" y="11"/>
                    <a:pt x="80" y="8"/>
                    <a:pt x="73" y="12"/>
                  </a:cubicBezTo>
                  <a:cubicBezTo>
                    <a:pt x="59" y="20"/>
                    <a:pt x="59" y="20"/>
                    <a:pt x="59" y="20"/>
                  </a:cubicBezTo>
                  <a:cubicBezTo>
                    <a:pt x="51" y="24"/>
                    <a:pt x="49" y="33"/>
                    <a:pt x="53" y="40"/>
                  </a:cubicBezTo>
                  <a:cubicBezTo>
                    <a:pt x="63" y="58"/>
                    <a:pt x="63" y="58"/>
                    <a:pt x="63" y="58"/>
                  </a:cubicBezTo>
                  <a:cubicBezTo>
                    <a:pt x="55" y="64"/>
                    <a:pt x="49" y="72"/>
                    <a:pt x="44" y="81"/>
                  </a:cubicBezTo>
                  <a:cubicBezTo>
                    <a:pt x="25" y="76"/>
                    <a:pt x="25" y="76"/>
                    <a:pt x="25" y="76"/>
                  </a:cubicBezTo>
                  <a:cubicBezTo>
                    <a:pt x="17" y="74"/>
                    <a:pt x="9" y="78"/>
                    <a:pt x="7" y="86"/>
                  </a:cubicBezTo>
                  <a:cubicBezTo>
                    <a:pt x="2" y="103"/>
                    <a:pt x="2" y="103"/>
                    <a:pt x="2" y="103"/>
                  </a:cubicBezTo>
                  <a:cubicBezTo>
                    <a:pt x="0" y="110"/>
                    <a:pt x="4" y="119"/>
                    <a:pt x="12" y="121"/>
                  </a:cubicBezTo>
                  <a:cubicBezTo>
                    <a:pt x="31" y="126"/>
                    <a:pt x="31" y="126"/>
                    <a:pt x="31" y="126"/>
                  </a:cubicBezTo>
                  <a:cubicBezTo>
                    <a:pt x="31" y="136"/>
                    <a:pt x="32" y="146"/>
                    <a:pt x="35" y="156"/>
                  </a:cubicBezTo>
                  <a:cubicBezTo>
                    <a:pt x="18" y="166"/>
                    <a:pt x="18" y="166"/>
                    <a:pt x="18" y="166"/>
                  </a:cubicBezTo>
                  <a:cubicBezTo>
                    <a:pt x="11" y="170"/>
                    <a:pt x="8" y="179"/>
                    <a:pt x="12" y="186"/>
                  </a:cubicBezTo>
                  <a:cubicBezTo>
                    <a:pt x="20" y="201"/>
                    <a:pt x="20" y="201"/>
                    <a:pt x="20" y="201"/>
                  </a:cubicBezTo>
                  <a:cubicBezTo>
                    <a:pt x="24" y="208"/>
                    <a:pt x="33" y="210"/>
                    <a:pt x="40" y="206"/>
                  </a:cubicBezTo>
                  <a:cubicBezTo>
                    <a:pt x="58" y="197"/>
                    <a:pt x="58" y="197"/>
                    <a:pt x="58" y="197"/>
                  </a:cubicBezTo>
                  <a:cubicBezTo>
                    <a:pt x="64" y="204"/>
                    <a:pt x="72" y="210"/>
                    <a:pt x="81" y="215"/>
                  </a:cubicBezTo>
                  <a:cubicBezTo>
                    <a:pt x="76" y="234"/>
                    <a:pt x="76" y="234"/>
                    <a:pt x="76" y="234"/>
                  </a:cubicBezTo>
                  <a:cubicBezTo>
                    <a:pt x="74" y="242"/>
                    <a:pt x="78" y="250"/>
                    <a:pt x="86" y="253"/>
                  </a:cubicBezTo>
                  <a:cubicBezTo>
                    <a:pt x="102" y="257"/>
                    <a:pt x="102" y="257"/>
                    <a:pt x="102" y="257"/>
                  </a:cubicBezTo>
                  <a:cubicBezTo>
                    <a:pt x="110" y="259"/>
                    <a:pt x="118" y="255"/>
                    <a:pt x="121" y="247"/>
                  </a:cubicBezTo>
                  <a:cubicBezTo>
                    <a:pt x="126" y="228"/>
                    <a:pt x="126" y="228"/>
                    <a:pt x="126" y="228"/>
                  </a:cubicBezTo>
                  <a:cubicBezTo>
                    <a:pt x="136" y="228"/>
                    <a:pt x="146" y="227"/>
                    <a:pt x="156" y="224"/>
                  </a:cubicBezTo>
                  <a:cubicBezTo>
                    <a:pt x="166" y="242"/>
                    <a:pt x="166" y="242"/>
                    <a:pt x="166" y="242"/>
                  </a:cubicBezTo>
                  <a:cubicBezTo>
                    <a:pt x="170" y="249"/>
                    <a:pt x="179" y="251"/>
                    <a:pt x="186" y="247"/>
                  </a:cubicBezTo>
                  <a:cubicBezTo>
                    <a:pt x="200" y="239"/>
                    <a:pt x="200" y="239"/>
                    <a:pt x="200" y="239"/>
                  </a:cubicBezTo>
                  <a:cubicBezTo>
                    <a:pt x="208" y="235"/>
                    <a:pt x="210" y="226"/>
                    <a:pt x="206" y="219"/>
                  </a:cubicBezTo>
                  <a:cubicBezTo>
                    <a:pt x="197" y="202"/>
                    <a:pt x="197" y="202"/>
                    <a:pt x="197" y="202"/>
                  </a:cubicBezTo>
                  <a:cubicBezTo>
                    <a:pt x="204" y="195"/>
                    <a:pt x="210" y="187"/>
                    <a:pt x="215" y="178"/>
                  </a:cubicBezTo>
                  <a:cubicBezTo>
                    <a:pt x="234" y="183"/>
                    <a:pt x="234" y="183"/>
                    <a:pt x="234" y="183"/>
                  </a:cubicBezTo>
                  <a:cubicBezTo>
                    <a:pt x="242" y="185"/>
                    <a:pt x="250" y="181"/>
                    <a:pt x="252" y="173"/>
                  </a:cubicBezTo>
                  <a:cubicBezTo>
                    <a:pt x="257" y="157"/>
                    <a:pt x="257" y="157"/>
                    <a:pt x="257" y="157"/>
                  </a:cubicBezTo>
                  <a:cubicBezTo>
                    <a:pt x="259" y="149"/>
                    <a:pt x="255" y="141"/>
                    <a:pt x="247" y="139"/>
                  </a:cubicBezTo>
                  <a:close/>
                  <a:moveTo>
                    <a:pt x="116" y="178"/>
                  </a:moveTo>
                  <a:cubicBezTo>
                    <a:pt x="90" y="170"/>
                    <a:pt x="74" y="143"/>
                    <a:pt x="82" y="116"/>
                  </a:cubicBezTo>
                  <a:cubicBezTo>
                    <a:pt x="89" y="90"/>
                    <a:pt x="117" y="74"/>
                    <a:pt x="143" y="82"/>
                  </a:cubicBezTo>
                  <a:cubicBezTo>
                    <a:pt x="169" y="89"/>
                    <a:pt x="185" y="117"/>
                    <a:pt x="177" y="143"/>
                  </a:cubicBezTo>
                  <a:cubicBezTo>
                    <a:pt x="170" y="170"/>
                    <a:pt x="142" y="185"/>
                    <a:pt x="116" y="178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Freeform 98"/>
            <p:cNvSpPr>
              <a:spLocks noEditPoints="1"/>
            </p:cNvSpPr>
            <p:nvPr/>
          </p:nvSpPr>
          <p:spPr bwMode="gray">
            <a:xfrm>
              <a:off x="9818987" y="4658045"/>
              <a:ext cx="227013" cy="228600"/>
            </a:xfrm>
            <a:custGeom>
              <a:avLst/>
              <a:gdLst>
                <a:gd name="T0" fmla="*/ 165 w 165"/>
                <a:gd name="T1" fmla="*/ 75 h 166"/>
                <a:gd name="T2" fmla="*/ 165 w 165"/>
                <a:gd name="T3" fmla="*/ 75 h 166"/>
                <a:gd name="T4" fmla="*/ 151 w 165"/>
                <a:gd name="T5" fmla="*/ 63 h 166"/>
                <a:gd name="T6" fmla="*/ 156 w 165"/>
                <a:gd name="T7" fmla="*/ 44 h 166"/>
                <a:gd name="T8" fmla="*/ 138 w 165"/>
                <a:gd name="T9" fmla="*/ 38 h 166"/>
                <a:gd name="T10" fmla="*/ 136 w 165"/>
                <a:gd name="T11" fmla="*/ 19 h 166"/>
                <a:gd name="T12" fmla="*/ 117 w 165"/>
                <a:gd name="T13" fmla="*/ 20 h 166"/>
                <a:gd name="T14" fmla="*/ 107 w 165"/>
                <a:gd name="T15" fmla="*/ 3 h 166"/>
                <a:gd name="T16" fmla="*/ 90 w 165"/>
                <a:gd name="T17" fmla="*/ 12 h 166"/>
                <a:gd name="T18" fmla="*/ 90 w 165"/>
                <a:gd name="T19" fmla="*/ 0 h 166"/>
                <a:gd name="T20" fmla="*/ 75 w 165"/>
                <a:gd name="T21" fmla="*/ 0 h 166"/>
                <a:gd name="T22" fmla="*/ 62 w 165"/>
                <a:gd name="T23" fmla="*/ 14 h 166"/>
                <a:gd name="T24" fmla="*/ 44 w 165"/>
                <a:gd name="T25" fmla="*/ 9 h 166"/>
                <a:gd name="T26" fmla="*/ 36 w 165"/>
                <a:gd name="T27" fmla="*/ 27 h 166"/>
                <a:gd name="T28" fmla="*/ 18 w 165"/>
                <a:gd name="T29" fmla="*/ 30 h 166"/>
                <a:gd name="T30" fmla="*/ 19 w 165"/>
                <a:gd name="T31" fmla="*/ 48 h 166"/>
                <a:gd name="T32" fmla="*/ 3 w 165"/>
                <a:gd name="T33" fmla="*/ 58 h 166"/>
                <a:gd name="T34" fmla="*/ 10 w 165"/>
                <a:gd name="T35" fmla="*/ 75 h 166"/>
                <a:gd name="T36" fmla="*/ 0 w 165"/>
                <a:gd name="T37" fmla="*/ 75 h 166"/>
                <a:gd name="T38" fmla="*/ 0 w 165"/>
                <a:gd name="T39" fmla="*/ 80 h 166"/>
                <a:gd name="T40" fmla="*/ 0 w 165"/>
                <a:gd name="T41" fmla="*/ 90 h 166"/>
                <a:gd name="T42" fmla="*/ 10 w 165"/>
                <a:gd name="T43" fmla="*/ 90 h 166"/>
                <a:gd name="T44" fmla="*/ 3 w 165"/>
                <a:gd name="T45" fmla="*/ 107 h 166"/>
                <a:gd name="T46" fmla="*/ 18 w 165"/>
                <a:gd name="T47" fmla="*/ 118 h 166"/>
                <a:gd name="T48" fmla="*/ 18 w 165"/>
                <a:gd name="T49" fmla="*/ 136 h 166"/>
                <a:gd name="T50" fmla="*/ 36 w 165"/>
                <a:gd name="T51" fmla="*/ 140 h 166"/>
                <a:gd name="T52" fmla="*/ 44 w 165"/>
                <a:gd name="T53" fmla="*/ 156 h 166"/>
                <a:gd name="T54" fmla="*/ 62 w 165"/>
                <a:gd name="T55" fmla="*/ 153 h 166"/>
                <a:gd name="T56" fmla="*/ 75 w 165"/>
                <a:gd name="T57" fmla="*/ 166 h 166"/>
                <a:gd name="T58" fmla="*/ 90 w 165"/>
                <a:gd name="T59" fmla="*/ 166 h 166"/>
                <a:gd name="T60" fmla="*/ 90 w 165"/>
                <a:gd name="T61" fmla="*/ 155 h 166"/>
                <a:gd name="T62" fmla="*/ 107 w 165"/>
                <a:gd name="T63" fmla="*/ 162 h 166"/>
                <a:gd name="T64" fmla="*/ 117 w 165"/>
                <a:gd name="T65" fmla="*/ 146 h 166"/>
                <a:gd name="T66" fmla="*/ 135 w 165"/>
                <a:gd name="T67" fmla="*/ 147 h 166"/>
                <a:gd name="T68" fmla="*/ 138 w 165"/>
                <a:gd name="T69" fmla="*/ 129 h 166"/>
                <a:gd name="T70" fmla="*/ 156 w 165"/>
                <a:gd name="T71" fmla="*/ 122 h 166"/>
                <a:gd name="T72" fmla="*/ 151 w 165"/>
                <a:gd name="T73" fmla="*/ 103 h 166"/>
                <a:gd name="T74" fmla="*/ 165 w 165"/>
                <a:gd name="T75" fmla="*/ 90 h 166"/>
                <a:gd name="T76" fmla="*/ 133 w 165"/>
                <a:gd name="T77" fmla="*/ 75 h 166"/>
                <a:gd name="T78" fmla="*/ 104 w 165"/>
                <a:gd name="T79" fmla="*/ 71 h 166"/>
                <a:gd name="T80" fmla="*/ 113 w 165"/>
                <a:gd name="T81" fmla="*/ 42 h 166"/>
                <a:gd name="T82" fmla="*/ 90 w 165"/>
                <a:gd name="T83" fmla="*/ 59 h 166"/>
                <a:gd name="T84" fmla="*/ 113 w 165"/>
                <a:gd name="T85" fmla="*/ 42 h 166"/>
                <a:gd name="T86" fmla="*/ 75 w 165"/>
                <a:gd name="T87" fmla="*/ 90 h 166"/>
                <a:gd name="T88" fmla="*/ 90 w 165"/>
                <a:gd name="T89" fmla="*/ 76 h 166"/>
                <a:gd name="T90" fmla="*/ 75 w 165"/>
                <a:gd name="T91" fmla="*/ 32 h 166"/>
                <a:gd name="T92" fmla="*/ 69 w 165"/>
                <a:gd name="T93" fmla="*/ 61 h 166"/>
                <a:gd name="T94" fmla="*/ 75 w 165"/>
                <a:gd name="T95" fmla="*/ 32 h 166"/>
                <a:gd name="T96" fmla="*/ 60 w 165"/>
                <a:gd name="T97" fmla="*/ 71 h 166"/>
                <a:gd name="T98" fmla="*/ 31 w 165"/>
                <a:gd name="T99" fmla="*/ 75 h 166"/>
                <a:gd name="T100" fmla="*/ 41 w 165"/>
                <a:gd name="T101" fmla="*/ 115 h 166"/>
                <a:gd name="T102" fmla="*/ 57 w 165"/>
                <a:gd name="T103" fmla="*/ 90 h 166"/>
                <a:gd name="T104" fmla="*/ 41 w 165"/>
                <a:gd name="T105" fmla="*/ 115 h 166"/>
                <a:gd name="T106" fmla="*/ 69 w 165"/>
                <a:gd name="T107" fmla="*/ 106 h 166"/>
                <a:gd name="T108" fmla="*/ 75 w 165"/>
                <a:gd name="T109" fmla="*/ 135 h 166"/>
                <a:gd name="T110" fmla="*/ 90 w 165"/>
                <a:gd name="T111" fmla="*/ 135 h 166"/>
                <a:gd name="T112" fmla="*/ 94 w 165"/>
                <a:gd name="T113" fmla="*/ 106 h 166"/>
                <a:gd name="T114" fmla="*/ 90 w 165"/>
                <a:gd name="T115" fmla="*/ 135 h 166"/>
                <a:gd name="T116" fmla="*/ 104 w 165"/>
                <a:gd name="T117" fmla="*/ 96 h 166"/>
                <a:gd name="T118" fmla="*/ 133 w 165"/>
                <a:gd name="T119" fmla="*/ 9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5" h="166">
                  <a:moveTo>
                    <a:pt x="165" y="90"/>
                  </a:moveTo>
                  <a:cubicBezTo>
                    <a:pt x="165" y="75"/>
                    <a:pt x="165" y="75"/>
                    <a:pt x="165" y="75"/>
                  </a:cubicBezTo>
                  <a:cubicBezTo>
                    <a:pt x="165" y="75"/>
                    <a:pt x="165" y="75"/>
                    <a:pt x="165" y="75"/>
                  </a:cubicBezTo>
                  <a:cubicBezTo>
                    <a:pt x="165" y="75"/>
                    <a:pt x="165" y="75"/>
                    <a:pt x="165" y="75"/>
                  </a:cubicBezTo>
                  <a:cubicBezTo>
                    <a:pt x="154" y="75"/>
                    <a:pt x="154" y="75"/>
                    <a:pt x="154" y="75"/>
                  </a:cubicBezTo>
                  <a:cubicBezTo>
                    <a:pt x="153" y="71"/>
                    <a:pt x="152" y="67"/>
                    <a:pt x="151" y="63"/>
                  </a:cubicBezTo>
                  <a:cubicBezTo>
                    <a:pt x="162" y="58"/>
                    <a:pt x="162" y="58"/>
                    <a:pt x="162" y="58"/>
                  </a:cubicBezTo>
                  <a:cubicBezTo>
                    <a:pt x="156" y="44"/>
                    <a:pt x="156" y="44"/>
                    <a:pt x="156" y="44"/>
                  </a:cubicBezTo>
                  <a:cubicBezTo>
                    <a:pt x="145" y="49"/>
                    <a:pt x="145" y="49"/>
                    <a:pt x="145" y="49"/>
                  </a:cubicBezTo>
                  <a:cubicBezTo>
                    <a:pt x="143" y="45"/>
                    <a:pt x="141" y="41"/>
                    <a:pt x="138" y="38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36" y="19"/>
                    <a:pt x="136" y="19"/>
                    <a:pt x="136" y="19"/>
                  </a:cubicBezTo>
                  <a:cubicBezTo>
                    <a:pt x="127" y="27"/>
                    <a:pt x="127" y="27"/>
                    <a:pt x="127" y="27"/>
                  </a:cubicBezTo>
                  <a:cubicBezTo>
                    <a:pt x="124" y="25"/>
                    <a:pt x="120" y="22"/>
                    <a:pt x="117" y="20"/>
                  </a:cubicBezTo>
                  <a:cubicBezTo>
                    <a:pt x="121" y="9"/>
                    <a:pt x="121" y="9"/>
                    <a:pt x="121" y="9"/>
                  </a:cubicBezTo>
                  <a:cubicBezTo>
                    <a:pt x="107" y="3"/>
                    <a:pt x="107" y="3"/>
                    <a:pt x="107" y="3"/>
                  </a:cubicBezTo>
                  <a:cubicBezTo>
                    <a:pt x="103" y="14"/>
                    <a:pt x="103" y="14"/>
                    <a:pt x="103" y="14"/>
                  </a:cubicBezTo>
                  <a:cubicBezTo>
                    <a:pt x="99" y="13"/>
                    <a:pt x="94" y="12"/>
                    <a:pt x="90" y="12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5" y="12"/>
                    <a:pt x="75" y="12"/>
                    <a:pt x="75" y="12"/>
                  </a:cubicBezTo>
                  <a:cubicBezTo>
                    <a:pt x="71" y="12"/>
                    <a:pt x="66" y="13"/>
                    <a:pt x="62" y="14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44" y="22"/>
                    <a:pt x="40" y="24"/>
                    <a:pt x="36" y="27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3" y="41"/>
                    <a:pt x="21" y="45"/>
                    <a:pt x="19" y="48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11" y="66"/>
                    <a:pt x="11" y="71"/>
                    <a:pt x="1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0" y="95"/>
                    <a:pt x="11" y="99"/>
                    <a:pt x="12" y="103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9" y="121"/>
                    <a:pt x="9" y="121"/>
                    <a:pt x="9" y="121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20" y="122"/>
                    <a:pt x="23" y="125"/>
                    <a:pt x="26" y="129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29" y="147"/>
                    <a:pt x="29" y="147"/>
                    <a:pt x="29" y="147"/>
                  </a:cubicBezTo>
                  <a:cubicBezTo>
                    <a:pt x="36" y="140"/>
                    <a:pt x="36" y="140"/>
                    <a:pt x="36" y="140"/>
                  </a:cubicBezTo>
                  <a:cubicBezTo>
                    <a:pt x="40" y="142"/>
                    <a:pt x="44" y="145"/>
                    <a:pt x="48" y="147"/>
                  </a:cubicBezTo>
                  <a:cubicBezTo>
                    <a:pt x="44" y="156"/>
                    <a:pt x="44" y="156"/>
                    <a:pt x="44" y="156"/>
                  </a:cubicBezTo>
                  <a:cubicBezTo>
                    <a:pt x="58" y="162"/>
                    <a:pt x="58" y="162"/>
                    <a:pt x="58" y="162"/>
                  </a:cubicBezTo>
                  <a:cubicBezTo>
                    <a:pt x="62" y="153"/>
                    <a:pt x="62" y="153"/>
                    <a:pt x="62" y="153"/>
                  </a:cubicBezTo>
                  <a:cubicBezTo>
                    <a:pt x="66" y="154"/>
                    <a:pt x="70" y="155"/>
                    <a:pt x="75" y="155"/>
                  </a:cubicBezTo>
                  <a:cubicBezTo>
                    <a:pt x="75" y="166"/>
                    <a:pt x="75" y="166"/>
                    <a:pt x="75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55"/>
                    <a:pt x="90" y="155"/>
                    <a:pt x="90" y="155"/>
                  </a:cubicBezTo>
                  <a:cubicBezTo>
                    <a:pt x="94" y="155"/>
                    <a:pt x="99" y="154"/>
                    <a:pt x="103" y="152"/>
                  </a:cubicBezTo>
                  <a:cubicBezTo>
                    <a:pt x="107" y="162"/>
                    <a:pt x="107" y="162"/>
                    <a:pt x="107" y="162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17" y="146"/>
                    <a:pt x="117" y="146"/>
                    <a:pt x="117" y="146"/>
                  </a:cubicBezTo>
                  <a:cubicBezTo>
                    <a:pt x="121" y="144"/>
                    <a:pt x="124" y="142"/>
                    <a:pt x="127" y="140"/>
                  </a:cubicBezTo>
                  <a:cubicBezTo>
                    <a:pt x="135" y="147"/>
                    <a:pt x="135" y="147"/>
                    <a:pt x="135" y="147"/>
                  </a:cubicBezTo>
                  <a:cubicBezTo>
                    <a:pt x="146" y="137"/>
                    <a:pt x="146" y="137"/>
                    <a:pt x="146" y="137"/>
                  </a:cubicBezTo>
                  <a:cubicBezTo>
                    <a:pt x="138" y="129"/>
                    <a:pt x="138" y="129"/>
                    <a:pt x="138" y="129"/>
                  </a:cubicBezTo>
                  <a:cubicBezTo>
                    <a:pt x="141" y="125"/>
                    <a:pt x="143" y="121"/>
                    <a:pt x="146" y="117"/>
                  </a:cubicBezTo>
                  <a:cubicBezTo>
                    <a:pt x="156" y="122"/>
                    <a:pt x="156" y="122"/>
                    <a:pt x="156" y="122"/>
                  </a:cubicBezTo>
                  <a:cubicBezTo>
                    <a:pt x="162" y="108"/>
                    <a:pt x="162" y="108"/>
                    <a:pt x="162" y="108"/>
                  </a:cubicBezTo>
                  <a:cubicBezTo>
                    <a:pt x="151" y="103"/>
                    <a:pt x="151" y="103"/>
                    <a:pt x="151" y="103"/>
                  </a:cubicBezTo>
                  <a:cubicBezTo>
                    <a:pt x="152" y="99"/>
                    <a:pt x="153" y="95"/>
                    <a:pt x="154" y="90"/>
                  </a:cubicBezTo>
                  <a:lnTo>
                    <a:pt x="165" y="90"/>
                  </a:lnTo>
                  <a:close/>
                  <a:moveTo>
                    <a:pt x="123" y="52"/>
                  </a:moveTo>
                  <a:cubicBezTo>
                    <a:pt x="128" y="59"/>
                    <a:pt x="132" y="67"/>
                    <a:pt x="133" y="75"/>
                  </a:cubicBezTo>
                  <a:cubicBezTo>
                    <a:pt x="106" y="75"/>
                    <a:pt x="106" y="75"/>
                    <a:pt x="106" y="75"/>
                  </a:cubicBezTo>
                  <a:cubicBezTo>
                    <a:pt x="105" y="74"/>
                    <a:pt x="105" y="72"/>
                    <a:pt x="104" y="71"/>
                  </a:cubicBezTo>
                  <a:lnTo>
                    <a:pt x="123" y="52"/>
                  </a:lnTo>
                  <a:close/>
                  <a:moveTo>
                    <a:pt x="113" y="42"/>
                  </a:moveTo>
                  <a:cubicBezTo>
                    <a:pt x="94" y="61"/>
                    <a:pt x="94" y="61"/>
                    <a:pt x="94" y="61"/>
                  </a:cubicBezTo>
                  <a:cubicBezTo>
                    <a:pt x="93" y="61"/>
                    <a:pt x="92" y="60"/>
                    <a:pt x="90" y="59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9" y="34"/>
                    <a:pt x="107" y="37"/>
                    <a:pt x="113" y="42"/>
                  </a:cubicBezTo>
                  <a:close/>
                  <a:moveTo>
                    <a:pt x="90" y="90"/>
                  </a:moveTo>
                  <a:cubicBezTo>
                    <a:pt x="86" y="94"/>
                    <a:pt x="79" y="94"/>
                    <a:pt x="75" y="90"/>
                  </a:cubicBezTo>
                  <a:cubicBezTo>
                    <a:pt x="71" y="86"/>
                    <a:pt x="71" y="80"/>
                    <a:pt x="75" y="76"/>
                  </a:cubicBezTo>
                  <a:cubicBezTo>
                    <a:pt x="79" y="72"/>
                    <a:pt x="86" y="72"/>
                    <a:pt x="90" y="76"/>
                  </a:cubicBezTo>
                  <a:cubicBezTo>
                    <a:pt x="94" y="80"/>
                    <a:pt x="94" y="86"/>
                    <a:pt x="90" y="90"/>
                  </a:cubicBezTo>
                  <a:close/>
                  <a:moveTo>
                    <a:pt x="75" y="32"/>
                  </a:moveTo>
                  <a:cubicBezTo>
                    <a:pt x="75" y="59"/>
                    <a:pt x="75" y="59"/>
                    <a:pt x="75" y="59"/>
                  </a:cubicBezTo>
                  <a:cubicBezTo>
                    <a:pt x="73" y="60"/>
                    <a:pt x="71" y="60"/>
                    <a:pt x="69" y="61"/>
                  </a:cubicBezTo>
                  <a:cubicBezTo>
                    <a:pt x="50" y="42"/>
                    <a:pt x="50" y="42"/>
                    <a:pt x="50" y="42"/>
                  </a:cubicBezTo>
                  <a:cubicBezTo>
                    <a:pt x="57" y="37"/>
                    <a:pt x="66" y="33"/>
                    <a:pt x="75" y="32"/>
                  </a:cubicBezTo>
                  <a:close/>
                  <a:moveTo>
                    <a:pt x="41" y="52"/>
                  </a:moveTo>
                  <a:cubicBezTo>
                    <a:pt x="60" y="71"/>
                    <a:pt x="60" y="71"/>
                    <a:pt x="60" y="71"/>
                  </a:cubicBezTo>
                  <a:cubicBezTo>
                    <a:pt x="59" y="72"/>
                    <a:pt x="58" y="74"/>
                    <a:pt x="58" y="75"/>
                  </a:cubicBezTo>
                  <a:cubicBezTo>
                    <a:pt x="31" y="75"/>
                    <a:pt x="31" y="75"/>
                    <a:pt x="31" y="75"/>
                  </a:cubicBezTo>
                  <a:cubicBezTo>
                    <a:pt x="32" y="67"/>
                    <a:pt x="35" y="59"/>
                    <a:pt x="41" y="52"/>
                  </a:cubicBezTo>
                  <a:close/>
                  <a:moveTo>
                    <a:pt x="41" y="115"/>
                  </a:moveTo>
                  <a:cubicBezTo>
                    <a:pt x="35" y="108"/>
                    <a:pt x="32" y="99"/>
                    <a:pt x="30" y="9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8" y="92"/>
                    <a:pt x="59" y="94"/>
                    <a:pt x="60" y="96"/>
                  </a:cubicBezTo>
                  <a:lnTo>
                    <a:pt x="41" y="115"/>
                  </a:lnTo>
                  <a:close/>
                  <a:moveTo>
                    <a:pt x="50" y="125"/>
                  </a:moveTo>
                  <a:cubicBezTo>
                    <a:pt x="69" y="106"/>
                    <a:pt x="69" y="106"/>
                    <a:pt x="69" y="106"/>
                  </a:cubicBezTo>
                  <a:cubicBezTo>
                    <a:pt x="71" y="107"/>
                    <a:pt x="73" y="107"/>
                    <a:pt x="75" y="108"/>
                  </a:cubicBezTo>
                  <a:cubicBezTo>
                    <a:pt x="75" y="135"/>
                    <a:pt x="75" y="135"/>
                    <a:pt x="75" y="135"/>
                  </a:cubicBezTo>
                  <a:cubicBezTo>
                    <a:pt x="66" y="134"/>
                    <a:pt x="57" y="130"/>
                    <a:pt x="50" y="125"/>
                  </a:cubicBezTo>
                  <a:close/>
                  <a:moveTo>
                    <a:pt x="90" y="135"/>
                  </a:moveTo>
                  <a:cubicBezTo>
                    <a:pt x="90" y="107"/>
                    <a:pt x="90" y="107"/>
                    <a:pt x="90" y="107"/>
                  </a:cubicBezTo>
                  <a:cubicBezTo>
                    <a:pt x="92" y="107"/>
                    <a:pt x="93" y="106"/>
                    <a:pt x="94" y="106"/>
                  </a:cubicBezTo>
                  <a:cubicBezTo>
                    <a:pt x="113" y="125"/>
                    <a:pt x="113" y="125"/>
                    <a:pt x="113" y="125"/>
                  </a:cubicBezTo>
                  <a:cubicBezTo>
                    <a:pt x="107" y="130"/>
                    <a:pt x="99" y="133"/>
                    <a:pt x="90" y="135"/>
                  </a:cubicBezTo>
                  <a:close/>
                  <a:moveTo>
                    <a:pt x="123" y="115"/>
                  </a:moveTo>
                  <a:cubicBezTo>
                    <a:pt x="104" y="96"/>
                    <a:pt x="104" y="96"/>
                    <a:pt x="104" y="96"/>
                  </a:cubicBezTo>
                  <a:cubicBezTo>
                    <a:pt x="105" y="94"/>
                    <a:pt x="106" y="92"/>
                    <a:pt x="106" y="90"/>
                  </a:cubicBezTo>
                  <a:cubicBezTo>
                    <a:pt x="133" y="90"/>
                    <a:pt x="133" y="90"/>
                    <a:pt x="133" y="90"/>
                  </a:cubicBezTo>
                  <a:cubicBezTo>
                    <a:pt x="132" y="99"/>
                    <a:pt x="129" y="108"/>
                    <a:pt x="123" y="115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2" name="Freeform 99"/>
            <p:cNvSpPr>
              <a:spLocks/>
            </p:cNvSpPr>
            <p:nvPr/>
          </p:nvSpPr>
          <p:spPr bwMode="gray">
            <a:xfrm>
              <a:off x="9061750" y="4907283"/>
              <a:ext cx="1035050" cy="211137"/>
            </a:xfrm>
            <a:custGeom>
              <a:avLst/>
              <a:gdLst>
                <a:gd name="T0" fmla="*/ 3 w 748"/>
                <a:gd name="T1" fmla="*/ 0 h 153"/>
                <a:gd name="T2" fmla="*/ 0 w 748"/>
                <a:gd name="T3" fmla="*/ 26 h 153"/>
                <a:gd name="T4" fmla="*/ 127 w 748"/>
                <a:gd name="T5" fmla="*/ 153 h 153"/>
                <a:gd name="T6" fmla="*/ 621 w 748"/>
                <a:gd name="T7" fmla="*/ 153 h 153"/>
                <a:gd name="T8" fmla="*/ 748 w 748"/>
                <a:gd name="T9" fmla="*/ 26 h 153"/>
                <a:gd name="T10" fmla="*/ 745 w 748"/>
                <a:gd name="T11" fmla="*/ 0 h 153"/>
                <a:gd name="T12" fmla="*/ 3 w 748"/>
                <a:gd name="T13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8" h="153">
                  <a:moveTo>
                    <a:pt x="3" y="0"/>
                  </a:moveTo>
                  <a:cubicBezTo>
                    <a:pt x="1" y="9"/>
                    <a:pt x="0" y="17"/>
                    <a:pt x="0" y="26"/>
                  </a:cubicBezTo>
                  <a:cubicBezTo>
                    <a:pt x="0" y="96"/>
                    <a:pt x="57" y="153"/>
                    <a:pt x="127" y="153"/>
                  </a:cubicBezTo>
                  <a:cubicBezTo>
                    <a:pt x="621" y="153"/>
                    <a:pt x="621" y="153"/>
                    <a:pt x="621" y="153"/>
                  </a:cubicBezTo>
                  <a:cubicBezTo>
                    <a:pt x="691" y="153"/>
                    <a:pt x="748" y="96"/>
                    <a:pt x="748" y="26"/>
                  </a:cubicBezTo>
                  <a:cubicBezTo>
                    <a:pt x="748" y="17"/>
                    <a:pt x="747" y="9"/>
                    <a:pt x="745" y="0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3" name="Freeform 100"/>
            <p:cNvSpPr>
              <a:spLocks/>
            </p:cNvSpPr>
            <p:nvPr/>
          </p:nvSpPr>
          <p:spPr bwMode="gray">
            <a:xfrm>
              <a:off x="9101437" y="4907283"/>
              <a:ext cx="995363" cy="211137"/>
            </a:xfrm>
            <a:custGeom>
              <a:avLst/>
              <a:gdLst>
                <a:gd name="T0" fmla="*/ 716 w 719"/>
                <a:gd name="T1" fmla="*/ 0 h 153"/>
                <a:gd name="T2" fmla="*/ 700 w 719"/>
                <a:gd name="T3" fmla="*/ 0 h 153"/>
                <a:gd name="T4" fmla="*/ 701 w 719"/>
                <a:gd name="T5" fmla="*/ 8 h 153"/>
                <a:gd name="T6" fmla="*/ 573 w 719"/>
                <a:gd name="T7" fmla="*/ 135 h 153"/>
                <a:gd name="T8" fmla="*/ 80 w 719"/>
                <a:gd name="T9" fmla="*/ 135 h 153"/>
                <a:gd name="T10" fmla="*/ 0 w 719"/>
                <a:gd name="T11" fmla="*/ 106 h 153"/>
                <a:gd name="T12" fmla="*/ 98 w 719"/>
                <a:gd name="T13" fmla="*/ 153 h 153"/>
                <a:gd name="T14" fmla="*/ 592 w 719"/>
                <a:gd name="T15" fmla="*/ 153 h 153"/>
                <a:gd name="T16" fmla="*/ 719 w 719"/>
                <a:gd name="T17" fmla="*/ 26 h 153"/>
                <a:gd name="T18" fmla="*/ 716 w 719"/>
                <a:gd name="T19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19" h="153">
                  <a:moveTo>
                    <a:pt x="716" y="0"/>
                  </a:moveTo>
                  <a:cubicBezTo>
                    <a:pt x="700" y="0"/>
                    <a:pt x="700" y="0"/>
                    <a:pt x="700" y="0"/>
                  </a:cubicBezTo>
                  <a:cubicBezTo>
                    <a:pt x="701" y="3"/>
                    <a:pt x="701" y="5"/>
                    <a:pt x="701" y="8"/>
                  </a:cubicBezTo>
                  <a:cubicBezTo>
                    <a:pt x="701" y="78"/>
                    <a:pt x="644" y="135"/>
                    <a:pt x="573" y="135"/>
                  </a:cubicBezTo>
                  <a:cubicBezTo>
                    <a:pt x="80" y="135"/>
                    <a:pt x="80" y="135"/>
                    <a:pt x="80" y="135"/>
                  </a:cubicBezTo>
                  <a:cubicBezTo>
                    <a:pt x="50" y="135"/>
                    <a:pt x="22" y="124"/>
                    <a:pt x="0" y="106"/>
                  </a:cubicBezTo>
                  <a:cubicBezTo>
                    <a:pt x="23" y="135"/>
                    <a:pt x="59" y="153"/>
                    <a:pt x="98" y="153"/>
                  </a:cubicBezTo>
                  <a:cubicBezTo>
                    <a:pt x="592" y="153"/>
                    <a:pt x="592" y="153"/>
                    <a:pt x="592" y="153"/>
                  </a:cubicBezTo>
                  <a:cubicBezTo>
                    <a:pt x="662" y="153"/>
                    <a:pt x="719" y="96"/>
                    <a:pt x="719" y="26"/>
                  </a:cubicBezTo>
                  <a:cubicBezTo>
                    <a:pt x="719" y="17"/>
                    <a:pt x="718" y="9"/>
                    <a:pt x="716" y="0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4" name="Freeform 101"/>
            <p:cNvSpPr>
              <a:spLocks/>
            </p:cNvSpPr>
            <p:nvPr/>
          </p:nvSpPr>
          <p:spPr bwMode="gray">
            <a:xfrm>
              <a:off x="9064925" y="4192908"/>
              <a:ext cx="1028700" cy="377825"/>
            </a:xfrm>
            <a:custGeom>
              <a:avLst/>
              <a:gdLst>
                <a:gd name="T0" fmla="*/ 744 w 744"/>
                <a:gd name="T1" fmla="*/ 274 h 274"/>
                <a:gd name="T2" fmla="*/ 621 w 744"/>
                <a:gd name="T3" fmla="*/ 173 h 274"/>
                <a:gd name="T4" fmla="*/ 581 w 744"/>
                <a:gd name="T5" fmla="*/ 179 h 274"/>
                <a:gd name="T6" fmla="*/ 457 w 744"/>
                <a:gd name="T7" fmla="*/ 68 h 274"/>
                <a:gd name="T8" fmla="*/ 372 w 744"/>
                <a:gd name="T9" fmla="*/ 101 h 274"/>
                <a:gd name="T10" fmla="*/ 249 w 744"/>
                <a:gd name="T11" fmla="*/ 0 h 274"/>
                <a:gd name="T12" fmla="*/ 123 w 744"/>
                <a:gd name="T13" fmla="*/ 125 h 274"/>
                <a:gd name="T14" fmla="*/ 133 w 744"/>
                <a:gd name="T15" fmla="*/ 173 h 274"/>
                <a:gd name="T16" fmla="*/ 123 w 744"/>
                <a:gd name="T17" fmla="*/ 173 h 274"/>
                <a:gd name="T18" fmla="*/ 0 w 744"/>
                <a:gd name="T19" fmla="*/ 274 h 274"/>
                <a:gd name="T20" fmla="*/ 744 w 744"/>
                <a:gd name="T21" fmla="*/ 27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44" h="274">
                  <a:moveTo>
                    <a:pt x="744" y="274"/>
                  </a:moveTo>
                  <a:cubicBezTo>
                    <a:pt x="733" y="217"/>
                    <a:pt x="682" y="173"/>
                    <a:pt x="621" y="173"/>
                  </a:cubicBezTo>
                  <a:cubicBezTo>
                    <a:pt x="607" y="173"/>
                    <a:pt x="594" y="175"/>
                    <a:pt x="581" y="179"/>
                  </a:cubicBezTo>
                  <a:cubicBezTo>
                    <a:pt x="574" y="117"/>
                    <a:pt x="521" y="68"/>
                    <a:pt x="457" y="68"/>
                  </a:cubicBezTo>
                  <a:cubicBezTo>
                    <a:pt x="424" y="68"/>
                    <a:pt x="394" y="81"/>
                    <a:pt x="372" y="101"/>
                  </a:cubicBezTo>
                  <a:cubicBezTo>
                    <a:pt x="361" y="44"/>
                    <a:pt x="310" y="0"/>
                    <a:pt x="249" y="0"/>
                  </a:cubicBezTo>
                  <a:cubicBezTo>
                    <a:pt x="179" y="0"/>
                    <a:pt x="123" y="56"/>
                    <a:pt x="123" y="125"/>
                  </a:cubicBezTo>
                  <a:cubicBezTo>
                    <a:pt x="123" y="142"/>
                    <a:pt x="127" y="159"/>
                    <a:pt x="133" y="173"/>
                  </a:cubicBezTo>
                  <a:cubicBezTo>
                    <a:pt x="130" y="173"/>
                    <a:pt x="127" y="173"/>
                    <a:pt x="123" y="173"/>
                  </a:cubicBezTo>
                  <a:cubicBezTo>
                    <a:pt x="62" y="173"/>
                    <a:pt x="12" y="217"/>
                    <a:pt x="0" y="274"/>
                  </a:cubicBezTo>
                  <a:lnTo>
                    <a:pt x="744" y="2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5" name="Freeform 102"/>
            <p:cNvSpPr>
              <a:spLocks/>
            </p:cNvSpPr>
            <p:nvPr/>
          </p:nvSpPr>
          <p:spPr bwMode="gray">
            <a:xfrm>
              <a:off x="9268125" y="4192908"/>
              <a:ext cx="825500" cy="377825"/>
            </a:xfrm>
            <a:custGeom>
              <a:avLst/>
              <a:gdLst>
                <a:gd name="T0" fmla="*/ 80 w 597"/>
                <a:gd name="T1" fmla="*/ 23 h 274"/>
                <a:gd name="T2" fmla="*/ 203 w 597"/>
                <a:gd name="T3" fmla="*/ 125 h 274"/>
                <a:gd name="T4" fmla="*/ 288 w 597"/>
                <a:gd name="T5" fmla="*/ 91 h 274"/>
                <a:gd name="T6" fmla="*/ 413 w 597"/>
                <a:gd name="T7" fmla="*/ 203 h 274"/>
                <a:gd name="T8" fmla="*/ 452 w 597"/>
                <a:gd name="T9" fmla="*/ 196 h 274"/>
                <a:gd name="T10" fmla="*/ 568 w 597"/>
                <a:gd name="T11" fmla="*/ 274 h 274"/>
                <a:gd name="T12" fmla="*/ 597 w 597"/>
                <a:gd name="T13" fmla="*/ 274 h 274"/>
                <a:gd name="T14" fmla="*/ 474 w 597"/>
                <a:gd name="T15" fmla="*/ 173 h 274"/>
                <a:gd name="T16" fmla="*/ 434 w 597"/>
                <a:gd name="T17" fmla="*/ 179 h 274"/>
                <a:gd name="T18" fmla="*/ 310 w 597"/>
                <a:gd name="T19" fmla="*/ 68 h 274"/>
                <a:gd name="T20" fmla="*/ 225 w 597"/>
                <a:gd name="T21" fmla="*/ 101 h 274"/>
                <a:gd name="T22" fmla="*/ 102 w 597"/>
                <a:gd name="T23" fmla="*/ 0 h 274"/>
                <a:gd name="T24" fmla="*/ 0 w 597"/>
                <a:gd name="T25" fmla="*/ 52 h 274"/>
                <a:gd name="T26" fmla="*/ 80 w 597"/>
                <a:gd name="T27" fmla="*/ 23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97" h="274">
                  <a:moveTo>
                    <a:pt x="80" y="23"/>
                  </a:moveTo>
                  <a:cubicBezTo>
                    <a:pt x="141" y="23"/>
                    <a:pt x="192" y="67"/>
                    <a:pt x="203" y="125"/>
                  </a:cubicBezTo>
                  <a:cubicBezTo>
                    <a:pt x="225" y="104"/>
                    <a:pt x="255" y="91"/>
                    <a:pt x="288" y="91"/>
                  </a:cubicBezTo>
                  <a:cubicBezTo>
                    <a:pt x="353" y="91"/>
                    <a:pt x="406" y="140"/>
                    <a:pt x="413" y="203"/>
                  </a:cubicBezTo>
                  <a:cubicBezTo>
                    <a:pt x="425" y="199"/>
                    <a:pt x="438" y="196"/>
                    <a:pt x="452" y="196"/>
                  </a:cubicBezTo>
                  <a:cubicBezTo>
                    <a:pt x="505" y="196"/>
                    <a:pt x="549" y="229"/>
                    <a:pt x="568" y="274"/>
                  </a:cubicBezTo>
                  <a:cubicBezTo>
                    <a:pt x="597" y="274"/>
                    <a:pt x="597" y="274"/>
                    <a:pt x="597" y="274"/>
                  </a:cubicBezTo>
                  <a:cubicBezTo>
                    <a:pt x="586" y="217"/>
                    <a:pt x="535" y="173"/>
                    <a:pt x="474" y="173"/>
                  </a:cubicBezTo>
                  <a:cubicBezTo>
                    <a:pt x="460" y="173"/>
                    <a:pt x="447" y="175"/>
                    <a:pt x="434" y="179"/>
                  </a:cubicBezTo>
                  <a:cubicBezTo>
                    <a:pt x="427" y="117"/>
                    <a:pt x="374" y="68"/>
                    <a:pt x="310" y="68"/>
                  </a:cubicBezTo>
                  <a:cubicBezTo>
                    <a:pt x="277" y="68"/>
                    <a:pt x="247" y="81"/>
                    <a:pt x="225" y="101"/>
                  </a:cubicBezTo>
                  <a:cubicBezTo>
                    <a:pt x="214" y="44"/>
                    <a:pt x="163" y="0"/>
                    <a:pt x="102" y="0"/>
                  </a:cubicBezTo>
                  <a:cubicBezTo>
                    <a:pt x="60" y="0"/>
                    <a:pt x="23" y="20"/>
                    <a:pt x="0" y="52"/>
                  </a:cubicBezTo>
                  <a:cubicBezTo>
                    <a:pt x="22" y="34"/>
                    <a:pt x="49" y="23"/>
                    <a:pt x="80" y="23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6" name="Oval 103"/>
            <p:cNvSpPr>
              <a:spLocks noChangeArrowheads="1"/>
            </p:cNvSpPr>
            <p:nvPr/>
          </p:nvSpPr>
          <p:spPr bwMode="gray">
            <a:xfrm>
              <a:off x="11085812" y="5396233"/>
              <a:ext cx="103188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Oval 104"/>
            <p:cNvSpPr>
              <a:spLocks noChangeArrowheads="1"/>
            </p:cNvSpPr>
            <p:nvPr/>
          </p:nvSpPr>
          <p:spPr bwMode="gray">
            <a:xfrm>
              <a:off x="10884200" y="5396233"/>
              <a:ext cx="101600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8" name="Freeform 105"/>
            <p:cNvSpPr>
              <a:spLocks/>
            </p:cNvSpPr>
            <p:nvPr/>
          </p:nvSpPr>
          <p:spPr bwMode="gray">
            <a:xfrm>
              <a:off x="10884200" y="5412108"/>
              <a:ext cx="85725" cy="87312"/>
            </a:xfrm>
            <a:custGeom>
              <a:avLst/>
              <a:gdLst>
                <a:gd name="T0" fmla="*/ 37 w 62"/>
                <a:gd name="T1" fmla="*/ 63 h 63"/>
                <a:gd name="T2" fmla="*/ 62 w 62"/>
                <a:gd name="T3" fmla="*/ 52 h 63"/>
                <a:gd name="T4" fmla="*/ 11 w 62"/>
                <a:gd name="T5" fmla="*/ 0 h 63"/>
                <a:gd name="T6" fmla="*/ 0 w 62"/>
                <a:gd name="T7" fmla="*/ 26 h 63"/>
                <a:gd name="T8" fmla="*/ 37 w 62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63">
                  <a:moveTo>
                    <a:pt x="37" y="63"/>
                  </a:moveTo>
                  <a:cubicBezTo>
                    <a:pt x="47" y="63"/>
                    <a:pt x="56" y="59"/>
                    <a:pt x="62" y="5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6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9" name="Freeform 106"/>
            <p:cNvSpPr>
              <a:spLocks/>
            </p:cNvSpPr>
            <p:nvPr/>
          </p:nvSpPr>
          <p:spPr bwMode="gray">
            <a:xfrm>
              <a:off x="11085812" y="5412108"/>
              <a:ext cx="87313" cy="87312"/>
            </a:xfrm>
            <a:custGeom>
              <a:avLst/>
              <a:gdLst>
                <a:gd name="T0" fmla="*/ 37 w 63"/>
                <a:gd name="T1" fmla="*/ 63 h 63"/>
                <a:gd name="T2" fmla="*/ 63 w 63"/>
                <a:gd name="T3" fmla="*/ 52 h 63"/>
                <a:gd name="T4" fmla="*/ 11 w 63"/>
                <a:gd name="T5" fmla="*/ 0 h 63"/>
                <a:gd name="T6" fmla="*/ 0 w 63"/>
                <a:gd name="T7" fmla="*/ 26 h 63"/>
                <a:gd name="T8" fmla="*/ 37 w 63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63">
                  <a:moveTo>
                    <a:pt x="37" y="63"/>
                  </a:moveTo>
                  <a:cubicBezTo>
                    <a:pt x="47" y="63"/>
                    <a:pt x="56" y="59"/>
                    <a:pt x="63" y="5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7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0986479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gray">
          <a:xfrm>
            <a:off x="5441950" y="0"/>
            <a:ext cx="6994525" cy="699452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5" name="Freeform: Shape 104"/>
          <p:cNvSpPr>
            <a:spLocks/>
          </p:cNvSpPr>
          <p:nvPr userDrawn="1"/>
        </p:nvSpPr>
        <p:spPr bwMode="gray">
          <a:xfrm>
            <a:off x="5441950" y="4251325"/>
            <a:ext cx="6994525" cy="2743200"/>
          </a:xfrm>
          <a:custGeom>
            <a:avLst/>
            <a:gdLst>
              <a:gd name="connsiteX0" fmla="*/ 237491 w 7007806"/>
              <a:gd name="connsiteY0" fmla="*/ 0 h 2048448"/>
              <a:gd name="connsiteX1" fmla="*/ 966532 w 7007806"/>
              <a:gd name="connsiteY1" fmla="*/ 0 h 2048448"/>
              <a:gd name="connsiteX2" fmla="*/ 966532 w 7007806"/>
              <a:gd name="connsiteY2" fmla="*/ 578198 h 2048448"/>
              <a:gd name="connsiteX3" fmla="*/ 1425492 w 7007806"/>
              <a:gd name="connsiteY3" fmla="*/ 606386 h 2048448"/>
              <a:gd name="connsiteX4" fmla="*/ 1677037 w 7007806"/>
              <a:gd name="connsiteY4" fmla="*/ 606386 h 2048448"/>
              <a:gd name="connsiteX5" fmla="*/ 1677037 w 7007806"/>
              <a:gd name="connsiteY5" fmla="*/ 483901 h 2048448"/>
              <a:gd name="connsiteX6" fmla="*/ 1686642 w 7007806"/>
              <a:gd name="connsiteY6" fmla="*/ 483901 h 2048448"/>
              <a:gd name="connsiteX7" fmla="*/ 1686642 w 7007806"/>
              <a:gd name="connsiteY7" fmla="*/ 225552 h 2048448"/>
              <a:gd name="connsiteX8" fmla="*/ 2059578 w 7007806"/>
              <a:gd name="connsiteY8" fmla="*/ 225552 h 2048448"/>
              <a:gd name="connsiteX9" fmla="*/ 2059578 w 7007806"/>
              <a:gd name="connsiteY9" fmla="*/ 339268 h 2048448"/>
              <a:gd name="connsiteX10" fmla="*/ 2098045 w 7007806"/>
              <a:gd name="connsiteY10" fmla="*/ 339268 h 2048448"/>
              <a:gd name="connsiteX11" fmla="*/ 2098045 w 7007806"/>
              <a:gd name="connsiteY11" fmla="*/ 483901 h 2048448"/>
              <a:gd name="connsiteX12" fmla="*/ 2204842 w 7007806"/>
              <a:gd name="connsiteY12" fmla="*/ 483901 h 2048448"/>
              <a:gd name="connsiteX13" fmla="*/ 2204842 w 7007806"/>
              <a:gd name="connsiteY13" fmla="*/ 643969 h 2048448"/>
              <a:gd name="connsiteX14" fmla="*/ 2602307 w 7007806"/>
              <a:gd name="connsiteY14" fmla="*/ 643969 h 2048448"/>
              <a:gd name="connsiteX15" fmla="*/ 2602307 w 7007806"/>
              <a:gd name="connsiteY15" fmla="*/ 744644 h 2048448"/>
              <a:gd name="connsiteX16" fmla="*/ 3055683 w 7007806"/>
              <a:gd name="connsiteY16" fmla="*/ 744644 h 2048448"/>
              <a:gd name="connsiteX17" fmla="*/ 3055683 w 7007806"/>
              <a:gd name="connsiteY17" fmla="*/ 777377 h 2048448"/>
              <a:gd name="connsiteX18" fmla="*/ 3075299 w 7007806"/>
              <a:gd name="connsiteY18" fmla="*/ 777377 h 2048448"/>
              <a:gd name="connsiteX19" fmla="*/ 3075299 w 7007806"/>
              <a:gd name="connsiteY19" fmla="*/ 965361 h 2048448"/>
              <a:gd name="connsiteX20" fmla="*/ 3423979 w 7007806"/>
              <a:gd name="connsiteY20" fmla="*/ 965361 h 2048448"/>
              <a:gd name="connsiteX21" fmla="*/ 3423979 w 7007806"/>
              <a:gd name="connsiteY21" fmla="*/ 525721 h 2048448"/>
              <a:gd name="connsiteX22" fmla="*/ 3527067 w 7007806"/>
              <a:gd name="connsiteY22" fmla="*/ 525721 h 2048448"/>
              <a:gd name="connsiteX23" fmla="*/ 3527067 w 7007806"/>
              <a:gd name="connsiteY23" fmla="*/ 386248 h 2048448"/>
              <a:gd name="connsiteX24" fmla="*/ 3830268 w 7007806"/>
              <a:gd name="connsiteY24" fmla="*/ 386248 h 2048448"/>
              <a:gd name="connsiteX25" fmla="*/ 3830268 w 7007806"/>
              <a:gd name="connsiteY25" fmla="*/ 525721 h 2048448"/>
              <a:gd name="connsiteX26" fmla="*/ 3927292 w 7007806"/>
              <a:gd name="connsiteY26" fmla="*/ 525721 h 2048448"/>
              <a:gd name="connsiteX27" fmla="*/ 3927292 w 7007806"/>
              <a:gd name="connsiteY27" fmla="*/ 58792 h 2048448"/>
              <a:gd name="connsiteX28" fmla="*/ 4630716 w 7007806"/>
              <a:gd name="connsiteY28" fmla="*/ 58792 h 2048448"/>
              <a:gd name="connsiteX29" fmla="*/ 4630716 w 7007806"/>
              <a:gd name="connsiteY29" fmla="*/ 616681 h 2048448"/>
              <a:gd name="connsiteX30" fmla="*/ 5073388 w 7007806"/>
              <a:gd name="connsiteY30" fmla="*/ 255872 h 2048448"/>
              <a:gd name="connsiteX31" fmla="*/ 5073388 w 7007806"/>
              <a:gd name="connsiteY31" fmla="*/ 643969 h 2048448"/>
              <a:gd name="connsiteX32" fmla="*/ 5315948 w 7007806"/>
              <a:gd name="connsiteY32" fmla="*/ 643969 h 2048448"/>
              <a:gd name="connsiteX33" fmla="*/ 5315948 w 7007806"/>
              <a:gd name="connsiteY33" fmla="*/ 525721 h 2048448"/>
              <a:gd name="connsiteX34" fmla="*/ 5419036 w 7007806"/>
              <a:gd name="connsiteY34" fmla="*/ 525721 h 2048448"/>
              <a:gd name="connsiteX35" fmla="*/ 5419036 w 7007806"/>
              <a:gd name="connsiteY35" fmla="*/ 386248 h 2048448"/>
              <a:gd name="connsiteX36" fmla="*/ 5722237 w 7007806"/>
              <a:gd name="connsiteY36" fmla="*/ 386248 h 2048448"/>
              <a:gd name="connsiteX37" fmla="*/ 5722237 w 7007806"/>
              <a:gd name="connsiteY37" fmla="*/ 525721 h 2048448"/>
              <a:gd name="connsiteX38" fmla="*/ 5825325 w 7007806"/>
              <a:gd name="connsiteY38" fmla="*/ 525721 h 2048448"/>
              <a:gd name="connsiteX39" fmla="*/ 5825325 w 7007806"/>
              <a:gd name="connsiteY39" fmla="*/ 965361 h 2048448"/>
              <a:gd name="connsiteX40" fmla="*/ 6170974 w 7007806"/>
              <a:gd name="connsiteY40" fmla="*/ 965361 h 2048448"/>
              <a:gd name="connsiteX41" fmla="*/ 6170974 w 7007806"/>
              <a:gd name="connsiteY41" fmla="*/ 777377 h 2048448"/>
              <a:gd name="connsiteX42" fmla="*/ 6646998 w 7007806"/>
              <a:gd name="connsiteY42" fmla="*/ 777377 h 2048448"/>
              <a:gd name="connsiteX43" fmla="*/ 6646998 w 7007806"/>
              <a:gd name="connsiteY43" fmla="*/ 1374681 h 2048448"/>
              <a:gd name="connsiteX44" fmla="*/ 7007806 w 7007806"/>
              <a:gd name="connsiteY44" fmla="*/ 1374681 h 2048448"/>
              <a:gd name="connsiteX45" fmla="*/ 7007806 w 7007806"/>
              <a:gd name="connsiteY45" fmla="*/ 1677881 h 2048448"/>
              <a:gd name="connsiteX46" fmla="*/ 6995117 w 7007806"/>
              <a:gd name="connsiteY46" fmla="*/ 1677881 h 2048448"/>
              <a:gd name="connsiteX47" fmla="*/ 6995117 w 7007806"/>
              <a:gd name="connsiteY47" fmla="*/ 2048448 h 2048448"/>
              <a:gd name="connsiteX48" fmla="*/ 0 w 7007806"/>
              <a:gd name="connsiteY48" fmla="*/ 2048448 h 2048448"/>
              <a:gd name="connsiteX49" fmla="*/ 0 w 7007806"/>
              <a:gd name="connsiteY49" fmla="*/ 339268 h 2048448"/>
              <a:gd name="connsiteX50" fmla="*/ 136873 w 7007806"/>
              <a:gd name="connsiteY50" fmla="*/ 339268 h 2048448"/>
              <a:gd name="connsiteX51" fmla="*/ 136873 w 7007806"/>
              <a:gd name="connsiteY51" fmla="*/ 483901 h 2048448"/>
              <a:gd name="connsiteX52" fmla="*/ 237491 w 7007806"/>
              <a:gd name="connsiteY52" fmla="*/ 483901 h 2048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7007806" h="2048448">
                <a:moveTo>
                  <a:pt x="237491" y="0"/>
                </a:moveTo>
                <a:lnTo>
                  <a:pt x="966532" y="0"/>
                </a:lnTo>
                <a:lnTo>
                  <a:pt x="966532" y="578198"/>
                </a:lnTo>
                <a:lnTo>
                  <a:pt x="1425492" y="606386"/>
                </a:lnTo>
                <a:lnTo>
                  <a:pt x="1677037" y="606386"/>
                </a:lnTo>
                <a:lnTo>
                  <a:pt x="1677037" y="483901"/>
                </a:lnTo>
                <a:lnTo>
                  <a:pt x="1686642" y="483901"/>
                </a:lnTo>
                <a:lnTo>
                  <a:pt x="1686642" y="225552"/>
                </a:lnTo>
                <a:lnTo>
                  <a:pt x="2059578" y="225552"/>
                </a:lnTo>
                <a:lnTo>
                  <a:pt x="2059578" y="339268"/>
                </a:lnTo>
                <a:lnTo>
                  <a:pt x="2098045" y="339268"/>
                </a:lnTo>
                <a:lnTo>
                  <a:pt x="2098045" y="483901"/>
                </a:lnTo>
                <a:lnTo>
                  <a:pt x="2204842" y="483901"/>
                </a:lnTo>
                <a:lnTo>
                  <a:pt x="2204842" y="643969"/>
                </a:lnTo>
                <a:lnTo>
                  <a:pt x="2602307" y="643969"/>
                </a:lnTo>
                <a:lnTo>
                  <a:pt x="2602307" y="744644"/>
                </a:lnTo>
                <a:lnTo>
                  <a:pt x="3055683" y="744644"/>
                </a:lnTo>
                <a:lnTo>
                  <a:pt x="3055683" y="777377"/>
                </a:lnTo>
                <a:lnTo>
                  <a:pt x="3075299" y="777377"/>
                </a:lnTo>
                <a:lnTo>
                  <a:pt x="3075299" y="965361"/>
                </a:lnTo>
                <a:lnTo>
                  <a:pt x="3423979" y="965361"/>
                </a:lnTo>
                <a:lnTo>
                  <a:pt x="3423979" y="525721"/>
                </a:lnTo>
                <a:lnTo>
                  <a:pt x="3527067" y="525721"/>
                </a:lnTo>
                <a:lnTo>
                  <a:pt x="3527067" y="386248"/>
                </a:lnTo>
                <a:lnTo>
                  <a:pt x="3830268" y="386248"/>
                </a:lnTo>
                <a:lnTo>
                  <a:pt x="3830268" y="525721"/>
                </a:lnTo>
                <a:lnTo>
                  <a:pt x="3927292" y="525721"/>
                </a:lnTo>
                <a:lnTo>
                  <a:pt x="3927292" y="58792"/>
                </a:lnTo>
                <a:lnTo>
                  <a:pt x="4630716" y="58792"/>
                </a:lnTo>
                <a:lnTo>
                  <a:pt x="4630716" y="616681"/>
                </a:lnTo>
                <a:lnTo>
                  <a:pt x="5073388" y="255872"/>
                </a:lnTo>
                <a:lnTo>
                  <a:pt x="5073388" y="643969"/>
                </a:lnTo>
                <a:lnTo>
                  <a:pt x="5315948" y="643969"/>
                </a:lnTo>
                <a:lnTo>
                  <a:pt x="5315948" y="525721"/>
                </a:lnTo>
                <a:lnTo>
                  <a:pt x="5419036" y="525721"/>
                </a:lnTo>
                <a:lnTo>
                  <a:pt x="5419036" y="386248"/>
                </a:lnTo>
                <a:lnTo>
                  <a:pt x="5722237" y="386248"/>
                </a:lnTo>
                <a:lnTo>
                  <a:pt x="5722237" y="525721"/>
                </a:lnTo>
                <a:lnTo>
                  <a:pt x="5825325" y="525721"/>
                </a:lnTo>
                <a:lnTo>
                  <a:pt x="5825325" y="965361"/>
                </a:lnTo>
                <a:lnTo>
                  <a:pt x="6170974" y="965361"/>
                </a:lnTo>
                <a:lnTo>
                  <a:pt x="6170974" y="777377"/>
                </a:lnTo>
                <a:lnTo>
                  <a:pt x="6646998" y="777377"/>
                </a:lnTo>
                <a:lnTo>
                  <a:pt x="6646998" y="1374681"/>
                </a:lnTo>
                <a:lnTo>
                  <a:pt x="7007806" y="1374681"/>
                </a:lnTo>
                <a:lnTo>
                  <a:pt x="7007806" y="1677881"/>
                </a:lnTo>
                <a:lnTo>
                  <a:pt x="6995117" y="1677881"/>
                </a:lnTo>
                <a:lnTo>
                  <a:pt x="6995117" y="2048448"/>
                </a:lnTo>
                <a:lnTo>
                  <a:pt x="0" y="2048448"/>
                </a:lnTo>
                <a:lnTo>
                  <a:pt x="0" y="339268"/>
                </a:lnTo>
                <a:lnTo>
                  <a:pt x="136873" y="339268"/>
                </a:lnTo>
                <a:lnTo>
                  <a:pt x="136873" y="483901"/>
                </a:lnTo>
                <a:lnTo>
                  <a:pt x="237491" y="483901"/>
                </a:lnTo>
                <a:close/>
              </a:path>
            </a:pathLst>
          </a:custGeom>
          <a:solidFill>
            <a:srgbClr val="409AE1">
              <a:alpha val="4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4702" y="2119178"/>
            <a:ext cx="4937760" cy="1835285"/>
          </a:xfrm>
          <a:noFill/>
        </p:spPr>
        <p:txBody>
          <a:bodyPr lIns="146304" tIns="91440" rIns="146304" bIns="91440" anchor="t" anchorCtr="0"/>
          <a:lstStyle>
            <a:lvl1pPr>
              <a:defRPr sz="4800" spc="-100" baseline="0">
                <a:gradFill>
                  <a:gsLst>
                    <a:gs pos="74359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3050" y="3954463"/>
            <a:ext cx="4937760" cy="731528"/>
          </a:xfrm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lang="en-US" sz="3200" kern="1200" spc="0" baseline="0" dirty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Speaker name</a:t>
            </a:r>
          </a:p>
        </p:txBody>
      </p:sp>
      <p:pic>
        <p:nvPicPr>
          <p:cNvPr id="142" name="MS logo gray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63116" y="479425"/>
            <a:ext cx="1451843" cy="310896"/>
          </a:xfrm>
          <a:prstGeom prst="rect">
            <a:avLst/>
          </a:prstGeom>
        </p:spPr>
      </p:pic>
      <p:grpSp>
        <p:nvGrpSpPr>
          <p:cNvPr id="143" name="Group 142"/>
          <p:cNvGrpSpPr>
            <a:grpSpLocks noChangeAspect="1"/>
          </p:cNvGrpSpPr>
          <p:nvPr userDrawn="1"/>
        </p:nvGrpSpPr>
        <p:grpSpPr bwMode="gray">
          <a:xfrm>
            <a:off x="7462446" y="3200401"/>
            <a:ext cx="4577461" cy="3539940"/>
            <a:chOff x="8496600" y="3495586"/>
            <a:chExt cx="3009906" cy="2327684"/>
          </a:xfrm>
        </p:grpSpPr>
        <p:sp>
          <p:nvSpPr>
            <p:cNvPr id="144" name="Freeform 9"/>
            <p:cNvSpPr>
              <a:spLocks/>
            </p:cNvSpPr>
            <p:nvPr/>
          </p:nvSpPr>
          <p:spPr bwMode="gray">
            <a:xfrm>
              <a:off x="8496600" y="5501008"/>
              <a:ext cx="646113" cy="82550"/>
            </a:xfrm>
            <a:custGeom>
              <a:avLst/>
              <a:gdLst>
                <a:gd name="T0" fmla="*/ 437 w 467"/>
                <a:gd name="T1" fmla="*/ 60 h 60"/>
                <a:gd name="T2" fmla="*/ 30 w 467"/>
                <a:gd name="T3" fmla="*/ 60 h 60"/>
                <a:gd name="T4" fmla="*/ 0 w 467"/>
                <a:gd name="T5" fmla="*/ 30 h 60"/>
                <a:gd name="T6" fmla="*/ 30 w 467"/>
                <a:gd name="T7" fmla="*/ 0 h 60"/>
                <a:gd name="T8" fmla="*/ 437 w 467"/>
                <a:gd name="T9" fmla="*/ 0 h 60"/>
                <a:gd name="T10" fmla="*/ 467 w 467"/>
                <a:gd name="T11" fmla="*/ 30 h 60"/>
                <a:gd name="T12" fmla="*/ 437 w 467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7" h="60">
                  <a:moveTo>
                    <a:pt x="437" y="60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13" y="60"/>
                    <a:pt x="0" y="46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37" y="0"/>
                    <a:pt x="437" y="0"/>
                    <a:pt x="437" y="0"/>
                  </a:cubicBezTo>
                  <a:cubicBezTo>
                    <a:pt x="453" y="0"/>
                    <a:pt x="467" y="13"/>
                    <a:pt x="467" y="30"/>
                  </a:cubicBezTo>
                  <a:cubicBezTo>
                    <a:pt x="467" y="46"/>
                    <a:pt x="453" y="60"/>
                    <a:pt x="437" y="6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10"/>
            <p:cNvSpPr>
              <a:spLocks/>
            </p:cNvSpPr>
            <p:nvPr/>
          </p:nvSpPr>
          <p:spPr bwMode="gray">
            <a:xfrm>
              <a:off x="10804831" y="3495586"/>
              <a:ext cx="701675" cy="371475"/>
            </a:xfrm>
            <a:custGeom>
              <a:avLst/>
              <a:gdLst>
                <a:gd name="T0" fmla="*/ 440 w 507"/>
                <a:gd name="T1" fmla="*/ 127 h 271"/>
                <a:gd name="T2" fmla="*/ 306 w 507"/>
                <a:gd name="T3" fmla="*/ 0 h 271"/>
                <a:gd name="T4" fmla="*/ 174 w 507"/>
                <a:gd name="T5" fmla="*/ 106 h 271"/>
                <a:gd name="T6" fmla="*/ 99 w 507"/>
                <a:gd name="T7" fmla="*/ 72 h 271"/>
                <a:gd name="T8" fmla="*/ 0 w 507"/>
                <a:gd name="T9" fmla="*/ 171 h 271"/>
                <a:gd name="T10" fmla="*/ 99 w 507"/>
                <a:gd name="T11" fmla="*/ 271 h 271"/>
                <a:gd name="T12" fmla="*/ 435 w 507"/>
                <a:gd name="T13" fmla="*/ 271 h 271"/>
                <a:gd name="T14" fmla="*/ 507 w 507"/>
                <a:gd name="T15" fmla="*/ 199 h 271"/>
                <a:gd name="T16" fmla="*/ 440 w 507"/>
                <a:gd name="T17" fmla="*/ 127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7" h="271">
                  <a:moveTo>
                    <a:pt x="440" y="127"/>
                  </a:moveTo>
                  <a:cubicBezTo>
                    <a:pt x="436" y="56"/>
                    <a:pt x="378" y="0"/>
                    <a:pt x="306" y="0"/>
                  </a:cubicBezTo>
                  <a:cubicBezTo>
                    <a:pt x="241" y="0"/>
                    <a:pt x="187" y="46"/>
                    <a:pt x="174" y="106"/>
                  </a:cubicBezTo>
                  <a:cubicBezTo>
                    <a:pt x="156" y="85"/>
                    <a:pt x="129" y="72"/>
                    <a:pt x="99" y="72"/>
                  </a:cubicBezTo>
                  <a:cubicBezTo>
                    <a:pt x="44" y="72"/>
                    <a:pt x="0" y="116"/>
                    <a:pt x="0" y="171"/>
                  </a:cubicBezTo>
                  <a:cubicBezTo>
                    <a:pt x="0" y="226"/>
                    <a:pt x="44" y="271"/>
                    <a:pt x="99" y="271"/>
                  </a:cubicBezTo>
                  <a:cubicBezTo>
                    <a:pt x="99" y="271"/>
                    <a:pt x="434" y="271"/>
                    <a:pt x="435" y="271"/>
                  </a:cubicBezTo>
                  <a:cubicBezTo>
                    <a:pt x="475" y="271"/>
                    <a:pt x="507" y="238"/>
                    <a:pt x="507" y="199"/>
                  </a:cubicBezTo>
                  <a:cubicBezTo>
                    <a:pt x="507" y="161"/>
                    <a:pt x="478" y="130"/>
                    <a:pt x="440" y="1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11"/>
            <p:cNvSpPr>
              <a:spLocks/>
            </p:cNvSpPr>
            <p:nvPr/>
          </p:nvSpPr>
          <p:spPr bwMode="gray">
            <a:xfrm>
              <a:off x="10001550" y="5497833"/>
              <a:ext cx="1504950" cy="82550"/>
            </a:xfrm>
            <a:custGeom>
              <a:avLst/>
              <a:gdLst>
                <a:gd name="T0" fmla="*/ 1059 w 1089"/>
                <a:gd name="T1" fmla="*/ 60 h 60"/>
                <a:gd name="T2" fmla="*/ 30 w 1089"/>
                <a:gd name="T3" fmla="*/ 60 h 60"/>
                <a:gd name="T4" fmla="*/ 0 w 1089"/>
                <a:gd name="T5" fmla="*/ 30 h 60"/>
                <a:gd name="T6" fmla="*/ 30 w 1089"/>
                <a:gd name="T7" fmla="*/ 0 h 60"/>
                <a:gd name="T8" fmla="*/ 1059 w 1089"/>
                <a:gd name="T9" fmla="*/ 0 h 60"/>
                <a:gd name="T10" fmla="*/ 1089 w 1089"/>
                <a:gd name="T11" fmla="*/ 30 h 60"/>
                <a:gd name="T12" fmla="*/ 1059 w 1089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9" h="60">
                  <a:moveTo>
                    <a:pt x="1059" y="60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14" y="60"/>
                    <a:pt x="0" y="46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1059" y="0"/>
                    <a:pt x="1059" y="0"/>
                    <a:pt x="1059" y="0"/>
                  </a:cubicBezTo>
                  <a:cubicBezTo>
                    <a:pt x="1076" y="0"/>
                    <a:pt x="1089" y="13"/>
                    <a:pt x="1089" y="30"/>
                  </a:cubicBezTo>
                  <a:cubicBezTo>
                    <a:pt x="1089" y="46"/>
                    <a:pt x="1076" y="60"/>
                    <a:pt x="1059" y="6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12"/>
            <p:cNvSpPr>
              <a:spLocks/>
            </p:cNvSpPr>
            <p:nvPr/>
          </p:nvSpPr>
          <p:spPr bwMode="gray">
            <a:xfrm>
              <a:off x="9110962" y="5713733"/>
              <a:ext cx="1012825" cy="109537"/>
            </a:xfrm>
            <a:custGeom>
              <a:avLst/>
              <a:gdLst>
                <a:gd name="T0" fmla="*/ 692 w 732"/>
                <a:gd name="T1" fmla="*/ 80 h 80"/>
                <a:gd name="T2" fmla="*/ 40 w 732"/>
                <a:gd name="T3" fmla="*/ 80 h 80"/>
                <a:gd name="T4" fmla="*/ 0 w 732"/>
                <a:gd name="T5" fmla="*/ 40 h 80"/>
                <a:gd name="T6" fmla="*/ 40 w 732"/>
                <a:gd name="T7" fmla="*/ 0 h 80"/>
                <a:gd name="T8" fmla="*/ 692 w 732"/>
                <a:gd name="T9" fmla="*/ 0 h 80"/>
                <a:gd name="T10" fmla="*/ 732 w 732"/>
                <a:gd name="T11" fmla="*/ 40 h 80"/>
                <a:gd name="T12" fmla="*/ 692 w 732"/>
                <a:gd name="T13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2" h="80">
                  <a:moveTo>
                    <a:pt x="692" y="80"/>
                  </a:moveTo>
                  <a:cubicBezTo>
                    <a:pt x="40" y="80"/>
                    <a:pt x="40" y="80"/>
                    <a:pt x="40" y="80"/>
                  </a:cubicBezTo>
                  <a:cubicBezTo>
                    <a:pt x="18" y="80"/>
                    <a:pt x="0" y="62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692" y="0"/>
                    <a:pt x="692" y="0"/>
                    <a:pt x="692" y="0"/>
                  </a:cubicBezTo>
                  <a:cubicBezTo>
                    <a:pt x="714" y="0"/>
                    <a:pt x="732" y="18"/>
                    <a:pt x="732" y="40"/>
                  </a:cubicBezTo>
                  <a:cubicBezTo>
                    <a:pt x="732" y="62"/>
                    <a:pt x="714" y="80"/>
                    <a:pt x="692" y="80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13"/>
            <p:cNvSpPr>
              <a:spLocks/>
            </p:cNvSpPr>
            <p:nvPr/>
          </p:nvSpPr>
          <p:spPr bwMode="gray">
            <a:xfrm>
              <a:off x="8910937" y="4935858"/>
              <a:ext cx="33338" cy="77787"/>
            </a:xfrm>
            <a:custGeom>
              <a:avLst/>
              <a:gdLst>
                <a:gd name="T0" fmla="*/ 0 w 21"/>
                <a:gd name="T1" fmla="*/ 0 h 49"/>
                <a:gd name="T2" fmla="*/ 1 w 21"/>
                <a:gd name="T3" fmla="*/ 10 h 49"/>
                <a:gd name="T4" fmla="*/ 0 w 21"/>
                <a:gd name="T5" fmla="*/ 49 h 49"/>
                <a:gd name="T6" fmla="*/ 12 w 21"/>
                <a:gd name="T7" fmla="*/ 49 h 49"/>
                <a:gd name="T8" fmla="*/ 21 w 21"/>
                <a:gd name="T9" fmla="*/ 11 h 49"/>
                <a:gd name="T10" fmla="*/ 21 w 21"/>
                <a:gd name="T11" fmla="*/ 0 h 49"/>
                <a:gd name="T12" fmla="*/ 0 w 21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49">
                  <a:moveTo>
                    <a:pt x="0" y="0"/>
                  </a:moveTo>
                  <a:lnTo>
                    <a:pt x="1" y="10"/>
                  </a:lnTo>
                  <a:lnTo>
                    <a:pt x="0" y="49"/>
                  </a:lnTo>
                  <a:lnTo>
                    <a:pt x="12" y="49"/>
                  </a:lnTo>
                  <a:lnTo>
                    <a:pt x="21" y="11"/>
                  </a:lnTo>
                  <a:lnTo>
                    <a:pt x="2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14"/>
            <p:cNvSpPr>
              <a:spLocks/>
            </p:cNvSpPr>
            <p:nvPr/>
          </p:nvSpPr>
          <p:spPr bwMode="gray">
            <a:xfrm>
              <a:off x="8929987" y="4935858"/>
              <a:ext cx="14288" cy="77787"/>
            </a:xfrm>
            <a:custGeom>
              <a:avLst/>
              <a:gdLst>
                <a:gd name="T0" fmla="*/ 5 w 9"/>
                <a:gd name="T1" fmla="*/ 0 h 49"/>
                <a:gd name="T2" fmla="*/ 5 w 9"/>
                <a:gd name="T3" fmla="*/ 11 h 49"/>
                <a:gd name="T4" fmla="*/ 0 w 9"/>
                <a:gd name="T5" fmla="*/ 49 h 49"/>
                <a:gd name="T6" fmla="*/ 9 w 9"/>
                <a:gd name="T7" fmla="*/ 11 h 49"/>
                <a:gd name="T8" fmla="*/ 9 w 9"/>
                <a:gd name="T9" fmla="*/ 0 h 49"/>
                <a:gd name="T10" fmla="*/ 5 w 9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49">
                  <a:moveTo>
                    <a:pt x="5" y="0"/>
                  </a:moveTo>
                  <a:lnTo>
                    <a:pt x="5" y="11"/>
                  </a:lnTo>
                  <a:lnTo>
                    <a:pt x="0" y="49"/>
                  </a:lnTo>
                  <a:lnTo>
                    <a:pt x="9" y="11"/>
                  </a:lnTo>
                  <a:lnTo>
                    <a:pt x="9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99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15"/>
            <p:cNvSpPr>
              <a:spLocks/>
            </p:cNvSpPr>
            <p:nvPr/>
          </p:nvSpPr>
          <p:spPr bwMode="gray">
            <a:xfrm>
              <a:off x="8910937" y="4935858"/>
              <a:ext cx="6350" cy="77787"/>
            </a:xfrm>
            <a:custGeom>
              <a:avLst/>
              <a:gdLst>
                <a:gd name="T0" fmla="*/ 0 w 4"/>
                <a:gd name="T1" fmla="*/ 0 h 49"/>
                <a:gd name="T2" fmla="*/ 1 w 4"/>
                <a:gd name="T3" fmla="*/ 10 h 49"/>
                <a:gd name="T4" fmla="*/ 0 w 4"/>
                <a:gd name="T5" fmla="*/ 49 h 49"/>
                <a:gd name="T6" fmla="*/ 4 w 4"/>
                <a:gd name="T7" fmla="*/ 10 h 49"/>
                <a:gd name="T8" fmla="*/ 4 w 4"/>
                <a:gd name="T9" fmla="*/ 0 h 49"/>
                <a:gd name="T10" fmla="*/ 0 w 4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9">
                  <a:moveTo>
                    <a:pt x="0" y="0"/>
                  </a:moveTo>
                  <a:lnTo>
                    <a:pt x="1" y="10"/>
                  </a:lnTo>
                  <a:lnTo>
                    <a:pt x="0" y="49"/>
                  </a:lnTo>
                  <a:lnTo>
                    <a:pt x="4" y="1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16"/>
            <p:cNvSpPr>
              <a:spLocks/>
            </p:cNvSpPr>
            <p:nvPr/>
          </p:nvSpPr>
          <p:spPr bwMode="gray">
            <a:xfrm>
              <a:off x="8912525" y="4997770"/>
              <a:ext cx="33338" cy="47625"/>
            </a:xfrm>
            <a:custGeom>
              <a:avLst/>
              <a:gdLst>
                <a:gd name="T0" fmla="*/ 0 w 24"/>
                <a:gd name="T1" fmla="*/ 0 h 34"/>
                <a:gd name="T2" fmla="*/ 0 w 24"/>
                <a:gd name="T3" fmla="*/ 34 h 34"/>
                <a:gd name="T4" fmla="*/ 22 w 24"/>
                <a:gd name="T5" fmla="*/ 34 h 34"/>
                <a:gd name="T6" fmla="*/ 24 w 24"/>
                <a:gd name="T7" fmla="*/ 32 h 34"/>
                <a:gd name="T8" fmla="*/ 24 w 24"/>
                <a:gd name="T9" fmla="*/ 27 h 34"/>
                <a:gd name="T10" fmla="*/ 22 w 24"/>
                <a:gd name="T11" fmla="*/ 24 h 34"/>
                <a:gd name="T12" fmla="*/ 15 w 24"/>
                <a:gd name="T13" fmla="*/ 16 h 34"/>
                <a:gd name="T14" fmla="*/ 15 w 24"/>
                <a:gd name="T15" fmla="*/ 0 h 34"/>
                <a:gd name="T16" fmla="*/ 0 w 24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34">
                  <a:moveTo>
                    <a:pt x="0" y="0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4" y="34"/>
                    <a:pt x="24" y="32"/>
                  </a:cubicBezTo>
                  <a:cubicBezTo>
                    <a:pt x="24" y="30"/>
                    <a:pt x="24" y="27"/>
                    <a:pt x="24" y="27"/>
                  </a:cubicBezTo>
                  <a:cubicBezTo>
                    <a:pt x="24" y="27"/>
                    <a:pt x="24" y="26"/>
                    <a:pt x="22" y="24"/>
                  </a:cubicBezTo>
                  <a:cubicBezTo>
                    <a:pt x="20" y="23"/>
                    <a:pt x="16" y="18"/>
                    <a:pt x="15" y="16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17"/>
            <p:cNvSpPr>
              <a:spLocks/>
            </p:cNvSpPr>
            <p:nvPr/>
          </p:nvSpPr>
          <p:spPr bwMode="gray">
            <a:xfrm>
              <a:off x="8912525" y="5042220"/>
              <a:ext cx="33338" cy="4762"/>
            </a:xfrm>
            <a:custGeom>
              <a:avLst/>
              <a:gdLst>
                <a:gd name="T0" fmla="*/ 24 w 24"/>
                <a:gd name="T1" fmla="*/ 0 h 4"/>
                <a:gd name="T2" fmla="*/ 24 w 24"/>
                <a:gd name="T3" fmla="*/ 2 h 4"/>
                <a:gd name="T4" fmla="*/ 22 w 24"/>
                <a:gd name="T5" fmla="*/ 4 h 4"/>
                <a:gd name="T6" fmla="*/ 0 w 24"/>
                <a:gd name="T7" fmla="*/ 4 h 4"/>
                <a:gd name="T8" fmla="*/ 0 w 24"/>
                <a:gd name="T9" fmla="*/ 2 h 4"/>
                <a:gd name="T10" fmla="*/ 22 w 24"/>
                <a:gd name="T11" fmla="*/ 2 h 4"/>
                <a:gd name="T12" fmla="*/ 24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4" y="0"/>
                  </a:moveTo>
                  <a:cubicBezTo>
                    <a:pt x="24" y="0"/>
                    <a:pt x="24" y="1"/>
                    <a:pt x="24" y="2"/>
                  </a:cubicBezTo>
                  <a:cubicBezTo>
                    <a:pt x="24" y="4"/>
                    <a:pt x="22" y="4"/>
                    <a:pt x="22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2"/>
                    <a:pt x="24" y="2"/>
                    <a:pt x="24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18"/>
            <p:cNvSpPr>
              <a:spLocks/>
            </p:cNvSpPr>
            <p:nvPr/>
          </p:nvSpPr>
          <p:spPr bwMode="gray">
            <a:xfrm>
              <a:off x="8933162" y="5019995"/>
              <a:ext cx="12700" cy="25400"/>
            </a:xfrm>
            <a:custGeom>
              <a:avLst/>
              <a:gdLst>
                <a:gd name="T0" fmla="*/ 7 w 9"/>
                <a:gd name="T1" fmla="*/ 18 h 18"/>
                <a:gd name="T2" fmla="*/ 9 w 9"/>
                <a:gd name="T3" fmla="*/ 16 h 18"/>
                <a:gd name="T4" fmla="*/ 9 w 9"/>
                <a:gd name="T5" fmla="*/ 11 h 18"/>
                <a:gd name="T6" fmla="*/ 7 w 9"/>
                <a:gd name="T7" fmla="*/ 8 h 18"/>
                <a:gd name="T8" fmla="*/ 0 w 9"/>
                <a:gd name="T9" fmla="*/ 0 h 18"/>
                <a:gd name="T10" fmla="*/ 0 w 9"/>
                <a:gd name="T11" fmla="*/ 18 h 18"/>
                <a:gd name="T12" fmla="*/ 7 w 9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8">
                  <a:moveTo>
                    <a:pt x="7" y="18"/>
                  </a:moveTo>
                  <a:cubicBezTo>
                    <a:pt x="7" y="18"/>
                    <a:pt x="9" y="18"/>
                    <a:pt x="9" y="16"/>
                  </a:cubicBezTo>
                  <a:cubicBezTo>
                    <a:pt x="9" y="14"/>
                    <a:pt x="9" y="11"/>
                    <a:pt x="9" y="11"/>
                  </a:cubicBezTo>
                  <a:cubicBezTo>
                    <a:pt x="9" y="11"/>
                    <a:pt x="9" y="10"/>
                    <a:pt x="7" y="8"/>
                  </a:cubicBezTo>
                  <a:cubicBezTo>
                    <a:pt x="5" y="7"/>
                    <a:pt x="1" y="2"/>
                    <a:pt x="0" y="0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7" y="18"/>
                  </a:lnTo>
                  <a:close/>
                </a:path>
              </a:pathLst>
            </a:custGeom>
            <a:solidFill>
              <a:srgbClr val="3131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9"/>
            <p:cNvSpPr>
              <a:spLocks/>
            </p:cNvSpPr>
            <p:nvPr/>
          </p:nvSpPr>
          <p:spPr bwMode="gray">
            <a:xfrm>
              <a:off x="8874425" y="4935858"/>
              <a:ext cx="33338" cy="77787"/>
            </a:xfrm>
            <a:custGeom>
              <a:avLst/>
              <a:gdLst>
                <a:gd name="T0" fmla="*/ 0 w 21"/>
                <a:gd name="T1" fmla="*/ 0 h 49"/>
                <a:gd name="T2" fmla="*/ 0 w 21"/>
                <a:gd name="T3" fmla="*/ 10 h 49"/>
                <a:gd name="T4" fmla="*/ 0 w 21"/>
                <a:gd name="T5" fmla="*/ 49 h 49"/>
                <a:gd name="T6" fmla="*/ 13 w 21"/>
                <a:gd name="T7" fmla="*/ 49 h 49"/>
                <a:gd name="T8" fmla="*/ 21 w 21"/>
                <a:gd name="T9" fmla="*/ 11 h 49"/>
                <a:gd name="T10" fmla="*/ 21 w 21"/>
                <a:gd name="T11" fmla="*/ 0 h 49"/>
                <a:gd name="T12" fmla="*/ 0 w 21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49">
                  <a:moveTo>
                    <a:pt x="0" y="0"/>
                  </a:moveTo>
                  <a:lnTo>
                    <a:pt x="0" y="10"/>
                  </a:lnTo>
                  <a:lnTo>
                    <a:pt x="0" y="49"/>
                  </a:lnTo>
                  <a:lnTo>
                    <a:pt x="13" y="49"/>
                  </a:lnTo>
                  <a:lnTo>
                    <a:pt x="21" y="11"/>
                  </a:lnTo>
                  <a:lnTo>
                    <a:pt x="2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20"/>
            <p:cNvSpPr>
              <a:spLocks/>
            </p:cNvSpPr>
            <p:nvPr/>
          </p:nvSpPr>
          <p:spPr bwMode="gray">
            <a:xfrm>
              <a:off x="8895062" y="4935858"/>
              <a:ext cx="12700" cy="77787"/>
            </a:xfrm>
            <a:custGeom>
              <a:avLst/>
              <a:gdLst>
                <a:gd name="T0" fmla="*/ 4 w 8"/>
                <a:gd name="T1" fmla="*/ 0 h 49"/>
                <a:gd name="T2" fmla="*/ 4 w 8"/>
                <a:gd name="T3" fmla="*/ 11 h 49"/>
                <a:gd name="T4" fmla="*/ 0 w 8"/>
                <a:gd name="T5" fmla="*/ 49 h 49"/>
                <a:gd name="T6" fmla="*/ 8 w 8"/>
                <a:gd name="T7" fmla="*/ 11 h 49"/>
                <a:gd name="T8" fmla="*/ 8 w 8"/>
                <a:gd name="T9" fmla="*/ 0 h 49"/>
                <a:gd name="T10" fmla="*/ 4 w 8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49">
                  <a:moveTo>
                    <a:pt x="4" y="0"/>
                  </a:moveTo>
                  <a:lnTo>
                    <a:pt x="4" y="11"/>
                  </a:lnTo>
                  <a:lnTo>
                    <a:pt x="0" y="49"/>
                  </a:lnTo>
                  <a:lnTo>
                    <a:pt x="8" y="11"/>
                  </a:lnTo>
                  <a:lnTo>
                    <a:pt x="8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99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21"/>
            <p:cNvSpPr>
              <a:spLocks/>
            </p:cNvSpPr>
            <p:nvPr/>
          </p:nvSpPr>
          <p:spPr bwMode="gray">
            <a:xfrm>
              <a:off x="8874425" y="4935858"/>
              <a:ext cx="6350" cy="77787"/>
            </a:xfrm>
            <a:custGeom>
              <a:avLst/>
              <a:gdLst>
                <a:gd name="T0" fmla="*/ 0 w 4"/>
                <a:gd name="T1" fmla="*/ 0 h 49"/>
                <a:gd name="T2" fmla="*/ 0 w 4"/>
                <a:gd name="T3" fmla="*/ 10 h 49"/>
                <a:gd name="T4" fmla="*/ 0 w 4"/>
                <a:gd name="T5" fmla="*/ 49 h 49"/>
                <a:gd name="T6" fmla="*/ 4 w 4"/>
                <a:gd name="T7" fmla="*/ 10 h 49"/>
                <a:gd name="T8" fmla="*/ 4 w 4"/>
                <a:gd name="T9" fmla="*/ 0 h 49"/>
                <a:gd name="T10" fmla="*/ 0 w 4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9">
                  <a:moveTo>
                    <a:pt x="0" y="0"/>
                  </a:moveTo>
                  <a:lnTo>
                    <a:pt x="0" y="10"/>
                  </a:lnTo>
                  <a:lnTo>
                    <a:pt x="0" y="49"/>
                  </a:lnTo>
                  <a:lnTo>
                    <a:pt x="4" y="1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22"/>
            <p:cNvSpPr>
              <a:spLocks/>
            </p:cNvSpPr>
            <p:nvPr/>
          </p:nvSpPr>
          <p:spPr bwMode="gray">
            <a:xfrm>
              <a:off x="8874425" y="4997770"/>
              <a:ext cx="34925" cy="47625"/>
            </a:xfrm>
            <a:custGeom>
              <a:avLst/>
              <a:gdLst>
                <a:gd name="T0" fmla="*/ 0 w 25"/>
                <a:gd name="T1" fmla="*/ 0 h 34"/>
                <a:gd name="T2" fmla="*/ 0 w 25"/>
                <a:gd name="T3" fmla="*/ 34 h 34"/>
                <a:gd name="T4" fmla="*/ 23 w 25"/>
                <a:gd name="T5" fmla="*/ 34 h 34"/>
                <a:gd name="T6" fmla="*/ 24 w 25"/>
                <a:gd name="T7" fmla="*/ 32 h 34"/>
                <a:gd name="T8" fmla="*/ 24 w 25"/>
                <a:gd name="T9" fmla="*/ 27 h 34"/>
                <a:gd name="T10" fmla="*/ 22 w 25"/>
                <a:gd name="T11" fmla="*/ 24 h 34"/>
                <a:gd name="T12" fmla="*/ 16 w 25"/>
                <a:gd name="T13" fmla="*/ 16 h 34"/>
                <a:gd name="T14" fmla="*/ 16 w 25"/>
                <a:gd name="T15" fmla="*/ 0 h 34"/>
                <a:gd name="T16" fmla="*/ 0 w 25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34">
                  <a:moveTo>
                    <a:pt x="0" y="0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23" y="34"/>
                    <a:pt x="24" y="34"/>
                    <a:pt x="24" y="32"/>
                  </a:cubicBezTo>
                  <a:cubicBezTo>
                    <a:pt x="24" y="30"/>
                    <a:pt x="24" y="27"/>
                    <a:pt x="24" y="27"/>
                  </a:cubicBezTo>
                  <a:cubicBezTo>
                    <a:pt x="24" y="27"/>
                    <a:pt x="25" y="26"/>
                    <a:pt x="22" y="24"/>
                  </a:cubicBezTo>
                  <a:cubicBezTo>
                    <a:pt x="20" y="23"/>
                    <a:pt x="16" y="18"/>
                    <a:pt x="16" y="16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23"/>
            <p:cNvSpPr>
              <a:spLocks/>
            </p:cNvSpPr>
            <p:nvPr/>
          </p:nvSpPr>
          <p:spPr bwMode="gray">
            <a:xfrm>
              <a:off x="8874425" y="5042220"/>
              <a:ext cx="33338" cy="4762"/>
            </a:xfrm>
            <a:custGeom>
              <a:avLst/>
              <a:gdLst>
                <a:gd name="T0" fmla="*/ 24 w 24"/>
                <a:gd name="T1" fmla="*/ 0 h 4"/>
                <a:gd name="T2" fmla="*/ 24 w 24"/>
                <a:gd name="T3" fmla="*/ 2 h 4"/>
                <a:gd name="T4" fmla="*/ 23 w 24"/>
                <a:gd name="T5" fmla="*/ 4 h 4"/>
                <a:gd name="T6" fmla="*/ 0 w 24"/>
                <a:gd name="T7" fmla="*/ 4 h 4"/>
                <a:gd name="T8" fmla="*/ 0 w 24"/>
                <a:gd name="T9" fmla="*/ 2 h 4"/>
                <a:gd name="T10" fmla="*/ 23 w 24"/>
                <a:gd name="T11" fmla="*/ 2 h 4"/>
                <a:gd name="T12" fmla="*/ 24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4" y="0"/>
                  </a:moveTo>
                  <a:cubicBezTo>
                    <a:pt x="24" y="0"/>
                    <a:pt x="24" y="1"/>
                    <a:pt x="24" y="2"/>
                  </a:cubicBezTo>
                  <a:cubicBezTo>
                    <a:pt x="24" y="4"/>
                    <a:pt x="23" y="4"/>
                    <a:pt x="23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3" y="2"/>
                    <a:pt x="24" y="2"/>
                    <a:pt x="24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24"/>
            <p:cNvSpPr>
              <a:spLocks/>
            </p:cNvSpPr>
            <p:nvPr/>
          </p:nvSpPr>
          <p:spPr bwMode="gray">
            <a:xfrm>
              <a:off x="8896650" y="5019995"/>
              <a:ext cx="11113" cy="25400"/>
            </a:xfrm>
            <a:custGeom>
              <a:avLst/>
              <a:gdLst>
                <a:gd name="T0" fmla="*/ 0 w 8"/>
                <a:gd name="T1" fmla="*/ 0 h 18"/>
                <a:gd name="T2" fmla="*/ 0 w 8"/>
                <a:gd name="T3" fmla="*/ 18 h 18"/>
                <a:gd name="T4" fmla="*/ 7 w 8"/>
                <a:gd name="T5" fmla="*/ 18 h 18"/>
                <a:gd name="T6" fmla="*/ 8 w 8"/>
                <a:gd name="T7" fmla="*/ 16 h 18"/>
                <a:gd name="T8" fmla="*/ 8 w 8"/>
                <a:gd name="T9" fmla="*/ 11 h 18"/>
                <a:gd name="T10" fmla="*/ 8 w 8"/>
                <a:gd name="T11" fmla="*/ 11 h 18"/>
                <a:gd name="T12" fmla="*/ 8 w 8"/>
                <a:gd name="T13" fmla="*/ 11 h 18"/>
                <a:gd name="T14" fmla="*/ 8 w 8"/>
                <a:gd name="T15" fmla="*/ 11 h 18"/>
                <a:gd name="T16" fmla="*/ 6 w 8"/>
                <a:gd name="T17" fmla="*/ 8 h 18"/>
                <a:gd name="T18" fmla="*/ 0 w 8"/>
                <a:gd name="T1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18">
                  <a:moveTo>
                    <a:pt x="0" y="0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7" y="18"/>
                    <a:pt x="8" y="18"/>
                    <a:pt x="8" y="16"/>
                  </a:cubicBezTo>
                  <a:cubicBezTo>
                    <a:pt x="8" y="14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0"/>
                    <a:pt x="8" y="9"/>
                    <a:pt x="6" y="8"/>
                  </a:cubicBezTo>
                  <a:cubicBezTo>
                    <a:pt x="4" y="7"/>
                    <a:pt x="0" y="2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25"/>
            <p:cNvSpPr>
              <a:spLocks/>
            </p:cNvSpPr>
            <p:nvPr/>
          </p:nvSpPr>
          <p:spPr bwMode="gray">
            <a:xfrm>
              <a:off x="8929987" y="4756470"/>
              <a:ext cx="9525" cy="1587"/>
            </a:xfrm>
            <a:custGeom>
              <a:avLst/>
              <a:gdLst>
                <a:gd name="T0" fmla="*/ 0 w 6"/>
                <a:gd name="T1" fmla="*/ 0 h 1"/>
                <a:gd name="T2" fmla="*/ 6 w 6"/>
                <a:gd name="T3" fmla="*/ 1 h 1"/>
                <a:gd name="T4" fmla="*/ 6 w 6"/>
                <a:gd name="T5" fmla="*/ 1 h 1"/>
                <a:gd name="T6" fmla="*/ 0 w 6"/>
                <a:gd name="T7" fmla="*/ 0 h 1"/>
                <a:gd name="T8" fmla="*/ 0 w 6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">
                  <a:moveTo>
                    <a:pt x="0" y="0"/>
                  </a:moveTo>
                  <a:lnTo>
                    <a:pt x="6" y="1"/>
                  </a:lnTo>
                  <a:lnTo>
                    <a:pt x="6" y="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BD9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26"/>
            <p:cNvSpPr>
              <a:spLocks/>
            </p:cNvSpPr>
            <p:nvPr/>
          </p:nvSpPr>
          <p:spPr bwMode="gray">
            <a:xfrm>
              <a:off x="8917287" y="4731070"/>
              <a:ext cx="0" cy="1587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F6CA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27"/>
            <p:cNvSpPr>
              <a:spLocks/>
            </p:cNvSpPr>
            <p:nvPr/>
          </p:nvSpPr>
          <p:spPr bwMode="gray">
            <a:xfrm>
              <a:off x="8899825" y="4724720"/>
              <a:ext cx="50800" cy="57150"/>
            </a:xfrm>
            <a:custGeom>
              <a:avLst/>
              <a:gdLst>
                <a:gd name="T0" fmla="*/ 33 w 36"/>
                <a:gd name="T1" fmla="*/ 16 h 42"/>
                <a:gd name="T2" fmla="*/ 28 w 36"/>
                <a:gd name="T3" fmla="*/ 7 h 42"/>
                <a:gd name="T4" fmla="*/ 27 w 36"/>
                <a:gd name="T5" fmla="*/ 5 h 42"/>
                <a:gd name="T6" fmla="*/ 27 w 36"/>
                <a:gd name="T7" fmla="*/ 5 h 42"/>
                <a:gd name="T8" fmla="*/ 17 w 36"/>
                <a:gd name="T9" fmla="*/ 4 h 42"/>
                <a:gd name="T10" fmla="*/ 13 w 36"/>
                <a:gd name="T11" fmla="*/ 0 h 42"/>
                <a:gd name="T12" fmla="*/ 13 w 36"/>
                <a:gd name="T13" fmla="*/ 0 h 42"/>
                <a:gd name="T14" fmla="*/ 13 w 36"/>
                <a:gd name="T15" fmla="*/ 5 h 42"/>
                <a:gd name="T16" fmla="*/ 13 w 36"/>
                <a:gd name="T17" fmla="*/ 6 h 42"/>
                <a:gd name="T18" fmla="*/ 13 w 36"/>
                <a:gd name="T19" fmla="*/ 11 h 42"/>
                <a:gd name="T20" fmla="*/ 14 w 36"/>
                <a:gd name="T21" fmla="*/ 14 h 42"/>
                <a:gd name="T22" fmla="*/ 11 w 36"/>
                <a:gd name="T23" fmla="*/ 14 h 42"/>
                <a:gd name="T24" fmla="*/ 6 w 36"/>
                <a:gd name="T25" fmla="*/ 11 h 42"/>
                <a:gd name="T26" fmla="*/ 3 w 36"/>
                <a:gd name="T27" fmla="*/ 12 h 42"/>
                <a:gd name="T28" fmla="*/ 4 w 36"/>
                <a:gd name="T29" fmla="*/ 17 h 42"/>
                <a:gd name="T30" fmla="*/ 5 w 36"/>
                <a:gd name="T31" fmla="*/ 20 h 42"/>
                <a:gd name="T32" fmla="*/ 6 w 36"/>
                <a:gd name="T33" fmla="*/ 22 h 42"/>
                <a:gd name="T34" fmla="*/ 6 w 36"/>
                <a:gd name="T35" fmla="*/ 22 h 42"/>
                <a:gd name="T36" fmla="*/ 6 w 36"/>
                <a:gd name="T37" fmla="*/ 22 h 42"/>
                <a:gd name="T38" fmla="*/ 2 w 36"/>
                <a:gd name="T39" fmla="*/ 31 h 42"/>
                <a:gd name="T40" fmla="*/ 0 w 36"/>
                <a:gd name="T41" fmla="*/ 30 h 42"/>
                <a:gd name="T42" fmla="*/ 2 w 36"/>
                <a:gd name="T43" fmla="*/ 41 h 42"/>
                <a:gd name="T44" fmla="*/ 19 w 36"/>
                <a:gd name="T45" fmla="*/ 42 h 42"/>
                <a:gd name="T46" fmla="*/ 18 w 36"/>
                <a:gd name="T47" fmla="*/ 36 h 42"/>
                <a:gd name="T48" fmla="*/ 23 w 36"/>
                <a:gd name="T49" fmla="*/ 37 h 42"/>
                <a:gd name="T50" fmla="*/ 28 w 36"/>
                <a:gd name="T51" fmla="*/ 34 h 42"/>
                <a:gd name="T52" fmla="*/ 29 w 36"/>
                <a:gd name="T53" fmla="*/ 29 h 42"/>
                <a:gd name="T54" fmla="*/ 29 w 36"/>
                <a:gd name="T55" fmla="*/ 24 h 42"/>
                <a:gd name="T56" fmla="*/ 30 w 36"/>
                <a:gd name="T57" fmla="*/ 20 h 42"/>
                <a:gd name="T58" fmla="*/ 33 w 36"/>
                <a:gd name="T59" fmla="*/ 1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6" h="42">
                  <a:moveTo>
                    <a:pt x="33" y="16"/>
                  </a:moveTo>
                  <a:cubicBezTo>
                    <a:pt x="33" y="16"/>
                    <a:pt x="28" y="8"/>
                    <a:pt x="28" y="7"/>
                  </a:cubicBezTo>
                  <a:cubicBezTo>
                    <a:pt x="27" y="6"/>
                    <a:pt x="27" y="5"/>
                    <a:pt x="27" y="5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3" y="6"/>
                    <a:pt x="20" y="5"/>
                    <a:pt x="17" y="4"/>
                  </a:cubicBezTo>
                  <a:cubicBezTo>
                    <a:pt x="15" y="2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13" y="9"/>
                    <a:pt x="13" y="11"/>
                  </a:cubicBezTo>
                  <a:cubicBezTo>
                    <a:pt x="14" y="12"/>
                    <a:pt x="14" y="14"/>
                    <a:pt x="14" y="14"/>
                  </a:cubicBezTo>
                  <a:cubicBezTo>
                    <a:pt x="14" y="16"/>
                    <a:pt x="11" y="14"/>
                    <a:pt x="11" y="14"/>
                  </a:cubicBezTo>
                  <a:cubicBezTo>
                    <a:pt x="11" y="14"/>
                    <a:pt x="9" y="12"/>
                    <a:pt x="6" y="11"/>
                  </a:cubicBezTo>
                  <a:cubicBezTo>
                    <a:pt x="5" y="11"/>
                    <a:pt x="4" y="11"/>
                    <a:pt x="3" y="12"/>
                  </a:cubicBezTo>
                  <a:cubicBezTo>
                    <a:pt x="3" y="13"/>
                    <a:pt x="3" y="15"/>
                    <a:pt x="4" y="17"/>
                  </a:cubicBezTo>
                  <a:cubicBezTo>
                    <a:pt x="4" y="18"/>
                    <a:pt x="4" y="20"/>
                    <a:pt x="5" y="20"/>
                  </a:cubicBezTo>
                  <a:cubicBezTo>
                    <a:pt x="5" y="21"/>
                    <a:pt x="6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6" y="28"/>
                    <a:pt x="2" y="31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20" y="37"/>
                    <a:pt x="21" y="37"/>
                    <a:pt x="23" y="37"/>
                  </a:cubicBezTo>
                  <a:cubicBezTo>
                    <a:pt x="28" y="37"/>
                    <a:pt x="28" y="34"/>
                    <a:pt x="28" y="34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6" y="19"/>
                    <a:pt x="34" y="17"/>
                    <a:pt x="33" y="16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8"/>
            <p:cNvSpPr>
              <a:spLocks/>
            </p:cNvSpPr>
            <p:nvPr/>
          </p:nvSpPr>
          <p:spPr bwMode="gray">
            <a:xfrm>
              <a:off x="8907762" y="4772345"/>
              <a:ext cx="17463" cy="4762"/>
            </a:xfrm>
            <a:custGeom>
              <a:avLst/>
              <a:gdLst>
                <a:gd name="T0" fmla="*/ 0 w 12"/>
                <a:gd name="T1" fmla="*/ 0 h 3"/>
                <a:gd name="T2" fmla="*/ 12 w 12"/>
                <a:gd name="T3" fmla="*/ 3 h 3"/>
                <a:gd name="T4" fmla="*/ 12 w 12"/>
                <a:gd name="T5" fmla="*/ 1 h 3"/>
                <a:gd name="T6" fmla="*/ 0 w 1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3">
                  <a:moveTo>
                    <a:pt x="0" y="0"/>
                  </a:moveTo>
                  <a:cubicBezTo>
                    <a:pt x="1" y="1"/>
                    <a:pt x="4" y="3"/>
                    <a:pt x="12" y="3"/>
                  </a:cubicBezTo>
                  <a:cubicBezTo>
                    <a:pt x="12" y="2"/>
                    <a:pt x="12" y="2"/>
                    <a:pt x="12" y="1"/>
                  </a:cubicBezTo>
                  <a:cubicBezTo>
                    <a:pt x="8" y="1"/>
                    <a:pt x="4" y="1"/>
                    <a:pt x="0" y="0"/>
                  </a:cubicBezTo>
                  <a:close/>
                </a:path>
              </a:pathLst>
            </a:custGeom>
            <a:solidFill>
              <a:srgbClr val="8054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9"/>
            <p:cNvSpPr>
              <a:spLocks/>
            </p:cNvSpPr>
            <p:nvPr/>
          </p:nvSpPr>
          <p:spPr bwMode="gray">
            <a:xfrm>
              <a:off x="8934750" y="4758058"/>
              <a:ext cx="4763" cy="4762"/>
            </a:xfrm>
            <a:custGeom>
              <a:avLst/>
              <a:gdLst>
                <a:gd name="T0" fmla="*/ 4 w 4"/>
                <a:gd name="T1" fmla="*/ 3 h 4"/>
                <a:gd name="T2" fmla="*/ 2 w 4"/>
                <a:gd name="T3" fmla="*/ 0 h 4"/>
                <a:gd name="T4" fmla="*/ 0 w 4"/>
                <a:gd name="T5" fmla="*/ 0 h 4"/>
                <a:gd name="T6" fmla="*/ 4 w 4"/>
                <a:gd name="T7" fmla="*/ 4 h 4"/>
                <a:gd name="T8" fmla="*/ 4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4" y="3"/>
                  </a:moveTo>
                  <a:cubicBezTo>
                    <a:pt x="3" y="2"/>
                    <a:pt x="2" y="1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2" y="2"/>
                    <a:pt x="4" y="4"/>
                  </a:cubicBezTo>
                  <a:lnTo>
                    <a:pt x="4" y="3"/>
                  </a:lnTo>
                  <a:close/>
                </a:path>
              </a:pathLst>
            </a:custGeom>
            <a:solidFill>
              <a:srgbClr val="8054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30"/>
            <p:cNvSpPr>
              <a:spLocks/>
            </p:cNvSpPr>
            <p:nvPr/>
          </p:nvSpPr>
          <p:spPr bwMode="gray">
            <a:xfrm>
              <a:off x="8937925" y="4758058"/>
              <a:ext cx="1588" cy="3175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0 h 3"/>
                <a:gd name="T4" fmla="*/ 2 w 2"/>
                <a:gd name="T5" fmla="*/ 3 h 3"/>
                <a:gd name="T6" fmla="*/ 2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2"/>
                    <a:pt x="2" y="3"/>
                  </a:cubicBezTo>
                  <a:lnTo>
                    <a:pt x="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31"/>
            <p:cNvSpPr>
              <a:spLocks/>
            </p:cNvSpPr>
            <p:nvPr/>
          </p:nvSpPr>
          <p:spPr bwMode="gray">
            <a:xfrm>
              <a:off x="8934750" y="4739008"/>
              <a:ext cx="4763" cy="3175"/>
            </a:xfrm>
            <a:custGeom>
              <a:avLst/>
              <a:gdLst>
                <a:gd name="T0" fmla="*/ 3 w 3"/>
                <a:gd name="T1" fmla="*/ 1 h 3"/>
                <a:gd name="T2" fmla="*/ 1 w 3"/>
                <a:gd name="T3" fmla="*/ 3 h 3"/>
                <a:gd name="T4" fmla="*/ 0 w 3"/>
                <a:gd name="T5" fmla="*/ 2 h 3"/>
                <a:gd name="T6" fmla="*/ 1 w 3"/>
                <a:gd name="T7" fmla="*/ 0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3" y="2"/>
                    <a:pt x="2" y="3"/>
                    <a:pt x="1" y="3"/>
                  </a:cubicBezTo>
                  <a:cubicBezTo>
                    <a:pt x="1" y="3"/>
                    <a:pt x="0" y="3"/>
                    <a:pt x="0" y="2"/>
                  </a:cubicBezTo>
                  <a:cubicBezTo>
                    <a:pt x="0" y="1"/>
                    <a:pt x="0" y="1"/>
                    <a:pt x="1" y="0"/>
                  </a:cubicBezTo>
                  <a:cubicBezTo>
                    <a:pt x="2" y="0"/>
                    <a:pt x="2" y="1"/>
                    <a:pt x="3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32"/>
            <p:cNvSpPr>
              <a:spLocks/>
            </p:cNvSpPr>
            <p:nvPr/>
          </p:nvSpPr>
          <p:spPr bwMode="gray">
            <a:xfrm>
              <a:off x="8893475" y="4772345"/>
              <a:ext cx="34925" cy="22225"/>
            </a:xfrm>
            <a:custGeom>
              <a:avLst/>
              <a:gdLst>
                <a:gd name="T0" fmla="*/ 0 w 22"/>
                <a:gd name="T1" fmla="*/ 8 h 14"/>
                <a:gd name="T2" fmla="*/ 2 w 22"/>
                <a:gd name="T3" fmla="*/ 0 h 14"/>
                <a:gd name="T4" fmla="*/ 22 w 22"/>
                <a:gd name="T5" fmla="*/ 4 h 14"/>
                <a:gd name="T6" fmla="*/ 22 w 22"/>
                <a:gd name="T7" fmla="*/ 14 h 14"/>
                <a:gd name="T8" fmla="*/ 0 w 22"/>
                <a:gd name="T9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4">
                  <a:moveTo>
                    <a:pt x="0" y="8"/>
                  </a:moveTo>
                  <a:lnTo>
                    <a:pt x="2" y="0"/>
                  </a:lnTo>
                  <a:lnTo>
                    <a:pt x="22" y="4"/>
                  </a:lnTo>
                  <a:lnTo>
                    <a:pt x="22" y="14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33"/>
            <p:cNvSpPr>
              <a:spLocks/>
            </p:cNvSpPr>
            <p:nvPr/>
          </p:nvSpPr>
          <p:spPr bwMode="gray">
            <a:xfrm>
              <a:off x="8855375" y="4777108"/>
              <a:ext cx="103188" cy="166687"/>
            </a:xfrm>
            <a:custGeom>
              <a:avLst/>
              <a:gdLst>
                <a:gd name="T0" fmla="*/ 31 w 74"/>
                <a:gd name="T1" fmla="*/ 4 h 121"/>
                <a:gd name="T2" fmla="*/ 14 w 74"/>
                <a:gd name="T3" fmla="*/ 24 h 121"/>
                <a:gd name="T4" fmla="*/ 0 w 74"/>
                <a:gd name="T5" fmla="*/ 119 h 121"/>
                <a:gd name="T6" fmla="*/ 68 w 74"/>
                <a:gd name="T7" fmla="*/ 115 h 121"/>
                <a:gd name="T8" fmla="*/ 62 w 74"/>
                <a:gd name="T9" fmla="*/ 16 h 121"/>
                <a:gd name="T10" fmla="*/ 31 w 74"/>
                <a:gd name="T11" fmla="*/ 4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121">
                  <a:moveTo>
                    <a:pt x="31" y="4"/>
                  </a:moveTo>
                  <a:cubicBezTo>
                    <a:pt x="17" y="5"/>
                    <a:pt x="14" y="22"/>
                    <a:pt x="14" y="24"/>
                  </a:cubicBezTo>
                  <a:cubicBezTo>
                    <a:pt x="13" y="49"/>
                    <a:pt x="11" y="118"/>
                    <a:pt x="0" y="119"/>
                  </a:cubicBezTo>
                  <a:cubicBezTo>
                    <a:pt x="60" y="119"/>
                    <a:pt x="62" y="121"/>
                    <a:pt x="68" y="115"/>
                  </a:cubicBezTo>
                  <a:cubicBezTo>
                    <a:pt x="74" y="109"/>
                    <a:pt x="62" y="16"/>
                    <a:pt x="62" y="16"/>
                  </a:cubicBezTo>
                  <a:cubicBezTo>
                    <a:pt x="61" y="0"/>
                    <a:pt x="48" y="3"/>
                    <a:pt x="31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34"/>
            <p:cNvSpPr>
              <a:spLocks/>
            </p:cNvSpPr>
            <p:nvPr/>
          </p:nvSpPr>
          <p:spPr bwMode="gray">
            <a:xfrm>
              <a:off x="8855375" y="4780283"/>
              <a:ext cx="69850" cy="160337"/>
            </a:xfrm>
            <a:custGeom>
              <a:avLst/>
              <a:gdLst>
                <a:gd name="T0" fmla="*/ 31 w 50"/>
                <a:gd name="T1" fmla="*/ 1 h 116"/>
                <a:gd name="T2" fmla="*/ 14 w 50"/>
                <a:gd name="T3" fmla="*/ 21 h 116"/>
                <a:gd name="T4" fmla="*/ 0 w 50"/>
                <a:gd name="T5" fmla="*/ 116 h 116"/>
                <a:gd name="T6" fmla="*/ 9 w 50"/>
                <a:gd name="T7" fmla="*/ 116 h 116"/>
                <a:gd name="T8" fmla="*/ 8 w 50"/>
                <a:gd name="T9" fmla="*/ 116 h 116"/>
                <a:gd name="T10" fmla="*/ 22 w 50"/>
                <a:gd name="T11" fmla="*/ 31 h 116"/>
                <a:gd name="T12" fmla="*/ 40 w 50"/>
                <a:gd name="T13" fmla="*/ 2 h 116"/>
                <a:gd name="T14" fmla="*/ 49 w 50"/>
                <a:gd name="T15" fmla="*/ 0 h 116"/>
                <a:gd name="T16" fmla="*/ 31 w 50"/>
                <a:gd name="T17" fmla="*/ 1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" h="116">
                  <a:moveTo>
                    <a:pt x="31" y="1"/>
                  </a:moveTo>
                  <a:cubicBezTo>
                    <a:pt x="17" y="2"/>
                    <a:pt x="14" y="19"/>
                    <a:pt x="14" y="21"/>
                  </a:cubicBezTo>
                  <a:cubicBezTo>
                    <a:pt x="13" y="46"/>
                    <a:pt x="11" y="115"/>
                    <a:pt x="0" y="116"/>
                  </a:cubicBezTo>
                  <a:cubicBezTo>
                    <a:pt x="3" y="116"/>
                    <a:pt x="6" y="116"/>
                    <a:pt x="9" y="116"/>
                  </a:cubicBezTo>
                  <a:cubicBezTo>
                    <a:pt x="8" y="116"/>
                    <a:pt x="8" y="116"/>
                    <a:pt x="8" y="116"/>
                  </a:cubicBezTo>
                  <a:cubicBezTo>
                    <a:pt x="20" y="115"/>
                    <a:pt x="21" y="55"/>
                    <a:pt x="22" y="31"/>
                  </a:cubicBezTo>
                  <a:cubicBezTo>
                    <a:pt x="22" y="29"/>
                    <a:pt x="26" y="3"/>
                    <a:pt x="40" y="2"/>
                  </a:cubicBezTo>
                  <a:cubicBezTo>
                    <a:pt x="43" y="2"/>
                    <a:pt x="50" y="1"/>
                    <a:pt x="49" y="0"/>
                  </a:cubicBezTo>
                  <a:cubicBezTo>
                    <a:pt x="44" y="0"/>
                    <a:pt x="38" y="0"/>
                    <a:pt x="31" y="1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35"/>
            <p:cNvSpPr>
              <a:spLocks/>
            </p:cNvSpPr>
            <p:nvPr/>
          </p:nvSpPr>
          <p:spPr bwMode="gray">
            <a:xfrm>
              <a:off x="8890300" y="4850133"/>
              <a:ext cx="87313" cy="55562"/>
            </a:xfrm>
            <a:custGeom>
              <a:avLst/>
              <a:gdLst>
                <a:gd name="T0" fmla="*/ 63 w 63"/>
                <a:gd name="T1" fmla="*/ 36 h 41"/>
                <a:gd name="T2" fmla="*/ 57 w 63"/>
                <a:gd name="T3" fmla="*/ 41 h 41"/>
                <a:gd name="T4" fmla="*/ 6 w 63"/>
                <a:gd name="T5" fmla="*/ 41 h 41"/>
                <a:gd name="T6" fmla="*/ 0 w 63"/>
                <a:gd name="T7" fmla="*/ 36 h 41"/>
                <a:gd name="T8" fmla="*/ 0 w 63"/>
                <a:gd name="T9" fmla="*/ 6 h 41"/>
                <a:gd name="T10" fmla="*/ 6 w 63"/>
                <a:gd name="T11" fmla="*/ 0 h 41"/>
                <a:gd name="T12" fmla="*/ 57 w 63"/>
                <a:gd name="T13" fmla="*/ 0 h 41"/>
                <a:gd name="T14" fmla="*/ 63 w 63"/>
                <a:gd name="T15" fmla="*/ 6 h 41"/>
                <a:gd name="T16" fmla="*/ 63 w 63"/>
                <a:gd name="T17" fmla="*/ 3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3" h="41">
                  <a:moveTo>
                    <a:pt x="63" y="36"/>
                  </a:moveTo>
                  <a:cubicBezTo>
                    <a:pt x="63" y="39"/>
                    <a:pt x="60" y="41"/>
                    <a:pt x="57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3" y="41"/>
                    <a:pt x="0" y="39"/>
                    <a:pt x="0" y="3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60" y="0"/>
                    <a:pt x="63" y="3"/>
                    <a:pt x="63" y="6"/>
                  </a:cubicBezTo>
                  <a:lnTo>
                    <a:pt x="63" y="36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36"/>
            <p:cNvSpPr>
              <a:spLocks/>
            </p:cNvSpPr>
            <p:nvPr/>
          </p:nvSpPr>
          <p:spPr bwMode="gray">
            <a:xfrm>
              <a:off x="8960150" y="4897758"/>
              <a:ext cx="19050" cy="20637"/>
            </a:xfrm>
            <a:custGeom>
              <a:avLst/>
              <a:gdLst>
                <a:gd name="T0" fmla="*/ 0 w 14"/>
                <a:gd name="T1" fmla="*/ 10 h 15"/>
                <a:gd name="T2" fmla="*/ 0 w 14"/>
                <a:gd name="T3" fmla="*/ 10 h 15"/>
                <a:gd name="T4" fmla="*/ 1 w 14"/>
                <a:gd name="T5" fmla="*/ 12 h 15"/>
                <a:gd name="T6" fmla="*/ 6 w 14"/>
                <a:gd name="T7" fmla="*/ 15 h 15"/>
                <a:gd name="T8" fmla="*/ 8 w 14"/>
                <a:gd name="T9" fmla="*/ 14 h 15"/>
                <a:gd name="T10" fmla="*/ 9 w 14"/>
                <a:gd name="T11" fmla="*/ 13 h 15"/>
                <a:gd name="T12" fmla="*/ 11 w 14"/>
                <a:gd name="T13" fmla="*/ 12 h 15"/>
                <a:gd name="T14" fmla="*/ 11 w 14"/>
                <a:gd name="T15" fmla="*/ 10 h 15"/>
                <a:gd name="T16" fmla="*/ 13 w 14"/>
                <a:gd name="T17" fmla="*/ 9 h 15"/>
                <a:gd name="T18" fmla="*/ 12 w 14"/>
                <a:gd name="T19" fmla="*/ 6 h 15"/>
                <a:gd name="T20" fmla="*/ 11 w 14"/>
                <a:gd name="T21" fmla="*/ 6 h 15"/>
                <a:gd name="T22" fmla="*/ 13 w 14"/>
                <a:gd name="T23" fmla="*/ 5 h 15"/>
                <a:gd name="T24" fmla="*/ 13 w 14"/>
                <a:gd name="T25" fmla="*/ 3 h 15"/>
                <a:gd name="T26" fmla="*/ 8 w 14"/>
                <a:gd name="T27" fmla="*/ 0 h 15"/>
                <a:gd name="T28" fmla="*/ 6 w 14"/>
                <a:gd name="T29" fmla="*/ 0 h 15"/>
                <a:gd name="T30" fmla="*/ 0 w 14"/>
                <a:gd name="T31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" h="15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1" y="12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5"/>
                    <a:pt x="8" y="15"/>
                    <a:pt x="8" y="14"/>
                  </a:cubicBezTo>
                  <a:cubicBezTo>
                    <a:pt x="9" y="14"/>
                    <a:pt x="9" y="13"/>
                    <a:pt x="9" y="13"/>
                  </a:cubicBezTo>
                  <a:cubicBezTo>
                    <a:pt x="9" y="13"/>
                    <a:pt x="10" y="13"/>
                    <a:pt x="11" y="12"/>
                  </a:cubicBezTo>
                  <a:cubicBezTo>
                    <a:pt x="11" y="11"/>
                    <a:pt x="11" y="10"/>
                    <a:pt x="11" y="10"/>
                  </a:cubicBezTo>
                  <a:cubicBezTo>
                    <a:pt x="11" y="10"/>
                    <a:pt x="12" y="10"/>
                    <a:pt x="13" y="9"/>
                  </a:cubicBezTo>
                  <a:cubicBezTo>
                    <a:pt x="13" y="8"/>
                    <a:pt x="13" y="7"/>
                    <a:pt x="1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3" y="6"/>
                    <a:pt x="13" y="5"/>
                  </a:cubicBezTo>
                  <a:cubicBezTo>
                    <a:pt x="14" y="4"/>
                    <a:pt x="14" y="3"/>
                    <a:pt x="13" y="3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2" y="2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37"/>
            <p:cNvSpPr>
              <a:spLocks/>
            </p:cNvSpPr>
            <p:nvPr/>
          </p:nvSpPr>
          <p:spPr bwMode="gray">
            <a:xfrm>
              <a:off x="8960150" y="4892995"/>
              <a:ext cx="15875" cy="6350"/>
            </a:xfrm>
            <a:custGeom>
              <a:avLst/>
              <a:gdLst>
                <a:gd name="T0" fmla="*/ 0 w 11"/>
                <a:gd name="T1" fmla="*/ 2 h 4"/>
                <a:gd name="T2" fmla="*/ 2 w 11"/>
                <a:gd name="T3" fmla="*/ 0 h 4"/>
                <a:gd name="T4" fmla="*/ 10 w 11"/>
                <a:gd name="T5" fmla="*/ 0 h 4"/>
                <a:gd name="T6" fmla="*/ 11 w 11"/>
                <a:gd name="T7" fmla="*/ 2 h 4"/>
                <a:gd name="T8" fmla="*/ 11 w 11"/>
                <a:gd name="T9" fmla="*/ 2 h 4"/>
                <a:gd name="T10" fmla="*/ 10 w 11"/>
                <a:gd name="T11" fmla="*/ 4 h 4"/>
                <a:gd name="T12" fmla="*/ 2 w 11"/>
                <a:gd name="T13" fmla="*/ 4 h 4"/>
                <a:gd name="T14" fmla="*/ 0 w 11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4"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1" y="1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0" y="4"/>
                    <a:pt x="10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8"/>
            <p:cNvSpPr>
              <a:spLocks/>
            </p:cNvSpPr>
            <p:nvPr/>
          </p:nvSpPr>
          <p:spPr bwMode="gray">
            <a:xfrm>
              <a:off x="8893475" y="4797745"/>
              <a:ext cx="77788" cy="115887"/>
            </a:xfrm>
            <a:custGeom>
              <a:avLst/>
              <a:gdLst>
                <a:gd name="T0" fmla="*/ 48 w 57"/>
                <a:gd name="T1" fmla="*/ 84 h 84"/>
                <a:gd name="T2" fmla="*/ 42 w 57"/>
                <a:gd name="T3" fmla="*/ 82 h 84"/>
                <a:gd name="T4" fmla="*/ 18 w 57"/>
                <a:gd name="T5" fmla="*/ 59 h 84"/>
                <a:gd name="T6" fmla="*/ 1 w 57"/>
                <a:gd name="T7" fmla="*/ 11 h 84"/>
                <a:gd name="T8" fmla="*/ 6 w 57"/>
                <a:gd name="T9" fmla="*/ 1 h 84"/>
                <a:gd name="T10" fmla="*/ 16 w 57"/>
                <a:gd name="T11" fmla="*/ 6 h 84"/>
                <a:gd name="T12" fmla="*/ 32 w 57"/>
                <a:gd name="T13" fmla="*/ 50 h 84"/>
                <a:gd name="T14" fmla="*/ 53 w 57"/>
                <a:gd name="T15" fmla="*/ 70 h 84"/>
                <a:gd name="T16" fmla="*/ 54 w 57"/>
                <a:gd name="T17" fmla="*/ 81 h 84"/>
                <a:gd name="T18" fmla="*/ 48 w 57"/>
                <a:gd name="T1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84">
                  <a:moveTo>
                    <a:pt x="48" y="84"/>
                  </a:moveTo>
                  <a:cubicBezTo>
                    <a:pt x="46" y="84"/>
                    <a:pt x="44" y="83"/>
                    <a:pt x="42" y="82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7"/>
                    <a:pt x="2" y="2"/>
                    <a:pt x="6" y="1"/>
                  </a:cubicBezTo>
                  <a:cubicBezTo>
                    <a:pt x="10" y="0"/>
                    <a:pt x="15" y="2"/>
                    <a:pt x="16" y="6"/>
                  </a:cubicBezTo>
                  <a:cubicBezTo>
                    <a:pt x="32" y="50"/>
                    <a:pt x="32" y="50"/>
                    <a:pt x="32" y="50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57" y="73"/>
                    <a:pt x="57" y="78"/>
                    <a:pt x="54" y="81"/>
                  </a:cubicBezTo>
                  <a:cubicBezTo>
                    <a:pt x="52" y="83"/>
                    <a:pt x="50" y="84"/>
                    <a:pt x="48" y="8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9"/>
            <p:cNvSpPr>
              <a:spLocks/>
            </p:cNvSpPr>
            <p:nvPr/>
          </p:nvSpPr>
          <p:spPr bwMode="gray">
            <a:xfrm>
              <a:off x="8893475" y="4799333"/>
              <a:ext cx="69850" cy="114300"/>
            </a:xfrm>
            <a:custGeom>
              <a:avLst/>
              <a:gdLst>
                <a:gd name="T0" fmla="*/ 48 w 51"/>
                <a:gd name="T1" fmla="*/ 76 h 82"/>
                <a:gd name="T2" fmla="*/ 23 w 51"/>
                <a:gd name="T3" fmla="*/ 53 h 82"/>
                <a:gd name="T4" fmla="*/ 5 w 51"/>
                <a:gd name="T5" fmla="*/ 2 h 82"/>
                <a:gd name="T6" fmla="*/ 4 w 51"/>
                <a:gd name="T7" fmla="*/ 0 h 82"/>
                <a:gd name="T8" fmla="*/ 1 w 51"/>
                <a:gd name="T9" fmla="*/ 9 h 82"/>
                <a:gd name="T10" fmla="*/ 18 w 51"/>
                <a:gd name="T11" fmla="*/ 57 h 82"/>
                <a:gd name="T12" fmla="*/ 42 w 51"/>
                <a:gd name="T13" fmla="*/ 80 h 82"/>
                <a:gd name="T14" fmla="*/ 48 w 51"/>
                <a:gd name="T15" fmla="*/ 82 h 82"/>
                <a:gd name="T16" fmla="*/ 51 w 51"/>
                <a:gd name="T17" fmla="*/ 81 h 82"/>
                <a:gd name="T18" fmla="*/ 48 w 51"/>
                <a:gd name="T19" fmla="*/ 76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82">
                  <a:moveTo>
                    <a:pt x="48" y="76"/>
                  </a:moveTo>
                  <a:cubicBezTo>
                    <a:pt x="23" y="53"/>
                    <a:pt x="23" y="53"/>
                    <a:pt x="23" y="53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1"/>
                    <a:pt x="5" y="1"/>
                    <a:pt x="4" y="0"/>
                  </a:cubicBezTo>
                  <a:cubicBezTo>
                    <a:pt x="1" y="2"/>
                    <a:pt x="0" y="6"/>
                    <a:pt x="1" y="9"/>
                  </a:cubicBezTo>
                  <a:cubicBezTo>
                    <a:pt x="18" y="57"/>
                    <a:pt x="18" y="57"/>
                    <a:pt x="18" y="57"/>
                  </a:cubicBezTo>
                  <a:cubicBezTo>
                    <a:pt x="42" y="80"/>
                    <a:pt x="42" y="80"/>
                    <a:pt x="42" y="80"/>
                  </a:cubicBezTo>
                  <a:cubicBezTo>
                    <a:pt x="44" y="81"/>
                    <a:pt x="46" y="82"/>
                    <a:pt x="48" y="82"/>
                  </a:cubicBezTo>
                  <a:cubicBezTo>
                    <a:pt x="49" y="82"/>
                    <a:pt x="50" y="82"/>
                    <a:pt x="51" y="81"/>
                  </a:cubicBezTo>
                  <a:cubicBezTo>
                    <a:pt x="51" y="79"/>
                    <a:pt x="50" y="78"/>
                    <a:pt x="48" y="76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40"/>
            <p:cNvSpPr>
              <a:spLocks/>
            </p:cNvSpPr>
            <p:nvPr/>
          </p:nvSpPr>
          <p:spPr bwMode="gray">
            <a:xfrm>
              <a:off x="8869662" y="4696145"/>
              <a:ext cx="73025" cy="73025"/>
            </a:xfrm>
            <a:custGeom>
              <a:avLst/>
              <a:gdLst>
                <a:gd name="T0" fmla="*/ 49 w 53"/>
                <a:gd name="T1" fmla="*/ 11 h 53"/>
                <a:gd name="T2" fmla="*/ 42 w 53"/>
                <a:gd name="T3" fmla="*/ 6 h 53"/>
                <a:gd name="T4" fmla="*/ 40 w 53"/>
                <a:gd name="T5" fmla="*/ 6 h 53"/>
                <a:gd name="T6" fmla="*/ 33 w 53"/>
                <a:gd name="T7" fmla="*/ 1 h 53"/>
                <a:gd name="T8" fmla="*/ 29 w 53"/>
                <a:gd name="T9" fmla="*/ 3 h 53"/>
                <a:gd name="T10" fmla="*/ 23 w 53"/>
                <a:gd name="T11" fmla="*/ 0 h 53"/>
                <a:gd name="T12" fmla="*/ 15 w 53"/>
                <a:gd name="T13" fmla="*/ 4 h 53"/>
                <a:gd name="T14" fmla="*/ 14 w 53"/>
                <a:gd name="T15" fmla="*/ 4 h 53"/>
                <a:gd name="T16" fmla="*/ 6 w 53"/>
                <a:gd name="T17" fmla="*/ 12 h 53"/>
                <a:gd name="T18" fmla="*/ 6 w 53"/>
                <a:gd name="T19" fmla="*/ 13 h 53"/>
                <a:gd name="T20" fmla="*/ 0 w 53"/>
                <a:gd name="T21" fmla="*/ 21 h 53"/>
                <a:gd name="T22" fmla="*/ 1 w 53"/>
                <a:gd name="T23" fmla="*/ 25 h 53"/>
                <a:gd name="T24" fmla="*/ 0 w 53"/>
                <a:gd name="T25" fmla="*/ 30 h 53"/>
                <a:gd name="T26" fmla="*/ 4 w 53"/>
                <a:gd name="T27" fmla="*/ 37 h 53"/>
                <a:gd name="T28" fmla="*/ 4 w 53"/>
                <a:gd name="T29" fmla="*/ 38 h 53"/>
                <a:gd name="T30" fmla="*/ 3 w 53"/>
                <a:gd name="T31" fmla="*/ 39 h 53"/>
                <a:gd name="T32" fmla="*/ 11 w 53"/>
                <a:gd name="T33" fmla="*/ 48 h 53"/>
                <a:gd name="T34" fmla="*/ 11 w 53"/>
                <a:gd name="T35" fmla="*/ 48 h 53"/>
                <a:gd name="T36" fmla="*/ 16 w 53"/>
                <a:gd name="T37" fmla="*/ 52 h 53"/>
                <a:gd name="T38" fmla="*/ 19 w 53"/>
                <a:gd name="T39" fmla="*/ 52 h 53"/>
                <a:gd name="T40" fmla="*/ 22 w 53"/>
                <a:gd name="T41" fmla="*/ 53 h 53"/>
                <a:gd name="T42" fmla="*/ 22 w 53"/>
                <a:gd name="T43" fmla="*/ 53 h 53"/>
                <a:gd name="T44" fmla="*/ 22 w 53"/>
                <a:gd name="T45" fmla="*/ 53 h 53"/>
                <a:gd name="T46" fmla="*/ 26 w 53"/>
                <a:gd name="T47" fmla="*/ 50 h 53"/>
                <a:gd name="T48" fmla="*/ 31 w 53"/>
                <a:gd name="T49" fmla="*/ 49 h 53"/>
                <a:gd name="T50" fmla="*/ 31 w 53"/>
                <a:gd name="T51" fmla="*/ 40 h 53"/>
                <a:gd name="T52" fmla="*/ 38 w 53"/>
                <a:gd name="T53" fmla="*/ 39 h 53"/>
                <a:gd name="T54" fmla="*/ 38 w 53"/>
                <a:gd name="T55" fmla="*/ 31 h 53"/>
                <a:gd name="T56" fmla="*/ 43 w 53"/>
                <a:gd name="T57" fmla="*/ 30 h 53"/>
                <a:gd name="T58" fmla="*/ 45 w 53"/>
                <a:gd name="T59" fmla="*/ 26 h 53"/>
                <a:gd name="T60" fmla="*/ 49 w 53"/>
                <a:gd name="T61" fmla="*/ 26 h 53"/>
                <a:gd name="T62" fmla="*/ 49 w 53"/>
                <a:gd name="T63" fmla="*/ 26 h 53"/>
                <a:gd name="T64" fmla="*/ 53 w 53"/>
                <a:gd name="T65" fmla="*/ 17 h 53"/>
                <a:gd name="T66" fmla="*/ 49 w 53"/>
                <a:gd name="T67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3" h="53">
                  <a:moveTo>
                    <a:pt x="49" y="11"/>
                  </a:moveTo>
                  <a:cubicBezTo>
                    <a:pt x="48" y="8"/>
                    <a:pt x="45" y="6"/>
                    <a:pt x="42" y="6"/>
                  </a:cubicBezTo>
                  <a:cubicBezTo>
                    <a:pt x="41" y="6"/>
                    <a:pt x="41" y="6"/>
                    <a:pt x="40" y="6"/>
                  </a:cubicBezTo>
                  <a:cubicBezTo>
                    <a:pt x="39" y="3"/>
                    <a:pt x="36" y="1"/>
                    <a:pt x="33" y="1"/>
                  </a:cubicBezTo>
                  <a:cubicBezTo>
                    <a:pt x="32" y="1"/>
                    <a:pt x="30" y="2"/>
                    <a:pt x="29" y="3"/>
                  </a:cubicBezTo>
                  <a:cubicBezTo>
                    <a:pt x="27" y="1"/>
                    <a:pt x="25" y="0"/>
                    <a:pt x="23" y="0"/>
                  </a:cubicBezTo>
                  <a:cubicBezTo>
                    <a:pt x="19" y="0"/>
                    <a:pt x="16" y="2"/>
                    <a:pt x="15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0" y="4"/>
                    <a:pt x="6" y="8"/>
                    <a:pt x="6" y="12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3" y="14"/>
                    <a:pt x="0" y="17"/>
                    <a:pt x="0" y="21"/>
                  </a:cubicBezTo>
                  <a:cubicBezTo>
                    <a:pt x="0" y="22"/>
                    <a:pt x="1" y="24"/>
                    <a:pt x="1" y="25"/>
                  </a:cubicBezTo>
                  <a:cubicBezTo>
                    <a:pt x="0" y="26"/>
                    <a:pt x="0" y="28"/>
                    <a:pt x="0" y="30"/>
                  </a:cubicBezTo>
                  <a:cubicBezTo>
                    <a:pt x="0" y="33"/>
                    <a:pt x="1" y="36"/>
                    <a:pt x="4" y="37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3" y="38"/>
                    <a:pt x="3" y="39"/>
                    <a:pt x="3" y="39"/>
                  </a:cubicBezTo>
                  <a:cubicBezTo>
                    <a:pt x="3" y="44"/>
                    <a:pt x="7" y="47"/>
                    <a:pt x="11" y="48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50"/>
                    <a:pt x="14" y="52"/>
                    <a:pt x="16" y="52"/>
                  </a:cubicBezTo>
                  <a:cubicBezTo>
                    <a:pt x="17" y="52"/>
                    <a:pt x="18" y="52"/>
                    <a:pt x="19" y="52"/>
                  </a:cubicBezTo>
                  <a:cubicBezTo>
                    <a:pt x="20" y="52"/>
                    <a:pt x="21" y="53"/>
                    <a:pt x="22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4" y="52"/>
                    <a:pt x="25" y="51"/>
                    <a:pt x="26" y="50"/>
                  </a:cubicBezTo>
                  <a:cubicBezTo>
                    <a:pt x="27" y="50"/>
                    <a:pt x="29" y="50"/>
                    <a:pt x="31" y="49"/>
                  </a:cubicBezTo>
                  <a:cubicBezTo>
                    <a:pt x="39" y="46"/>
                    <a:pt x="32" y="45"/>
                    <a:pt x="31" y="40"/>
                  </a:cubicBezTo>
                  <a:cubicBezTo>
                    <a:pt x="31" y="35"/>
                    <a:pt x="36" y="40"/>
                    <a:pt x="38" y="39"/>
                  </a:cubicBezTo>
                  <a:cubicBezTo>
                    <a:pt x="40" y="39"/>
                    <a:pt x="38" y="35"/>
                    <a:pt x="38" y="31"/>
                  </a:cubicBezTo>
                  <a:cubicBezTo>
                    <a:pt x="37" y="27"/>
                    <a:pt x="39" y="30"/>
                    <a:pt x="43" y="30"/>
                  </a:cubicBezTo>
                  <a:cubicBezTo>
                    <a:pt x="46" y="29"/>
                    <a:pt x="46" y="28"/>
                    <a:pt x="45" y="26"/>
                  </a:cubicBezTo>
                  <a:cubicBezTo>
                    <a:pt x="47" y="26"/>
                    <a:pt x="48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52" y="24"/>
                    <a:pt x="53" y="20"/>
                    <a:pt x="53" y="17"/>
                  </a:cubicBezTo>
                  <a:cubicBezTo>
                    <a:pt x="52" y="14"/>
                    <a:pt x="51" y="13"/>
                    <a:pt x="49" y="1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41"/>
            <p:cNvSpPr>
              <a:spLocks/>
            </p:cNvSpPr>
            <p:nvPr/>
          </p:nvSpPr>
          <p:spPr bwMode="gray">
            <a:xfrm>
              <a:off x="8861725" y="4683445"/>
              <a:ext cx="82550" cy="65087"/>
            </a:xfrm>
            <a:custGeom>
              <a:avLst/>
              <a:gdLst>
                <a:gd name="T0" fmla="*/ 60 w 60"/>
                <a:gd name="T1" fmla="*/ 26 h 47"/>
                <a:gd name="T2" fmla="*/ 59 w 60"/>
                <a:gd name="T3" fmla="*/ 21 h 47"/>
                <a:gd name="T4" fmla="*/ 22 w 60"/>
                <a:gd name="T5" fmla="*/ 6 h 47"/>
                <a:gd name="T6" fmla="*/ 6 w 60"/>
                <a:gd name="T7" fmla="*/ 43 h 47"/>
                <a:gd name="T8" fmla="*/ 8 w 60"/>
                <a:gd name="T9" fmla="*/ 47 h 47"/>
                <a:gd name="T10" fmla="*/ 60 w 60"/>
                <a:gd name="T11" fmla="*/ 2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47">
                  <a:moveTo>
                    <a:pt x="60" y="26"/>
                  </a:moveTo>
                  <a:cubicBezTo>
                    <a:pt x="60" y="24"/>
                    <a:pt x="59" y="23"/>
                    <a:pt x="59" y="21"/>
                  </a:cubicBezTo>
                  <a:cubicBezTo>
                    <a:pt x="53" y="7"/>
                    <a:pt x="36" y="0"/>
                    <a:pt x="22" y="6"/>
                  </a:cubicBezTo>
                  <a:cubicBezTo>
                    <a:pt x="7" y="12"/>
                    <a:pt x="0" y="29"/>
                    <a:pt x="6" y="43"/>
                  </a:cubicBezTo>
                  <a:cubicBezTo>
                    <a:pt x="7" y="44"/>
                    <a:pt x="7" y="46"/>
                    <a:pt x="8" y="47"/>
                  </a:cubicBezTo>
                  <a:lnTo>
                    <a:pt x="60" y="26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42"/>
            <p:cNvSpPr>
              <a:spLocks/>
            </p:cNvSpPr>
            <p:nvPr/>
          </p:nvSpPr>
          <p:spPr bwMode="gray">
            <a:xfrm>
              <a:off x="8885537" y="4683445"/>
              <a:ext cx="58738" cy="38100"/>
            </a:xfrm>
            <a:custGeom>
              <a:avLst/>
              <a:gdLst>
                <a:gd name="T0" fmla="*/ 34 w 42"/>
                <a:gd name="T1" fmla="*/ 24 h 28"/>
                <a:gd name="T2" fmla="*/ 35 w 42"/>
                <a:gd name="T3" fmla="*/ 28 h 28"/>
                <a:gd name="T4" fmla="*/ 42 w 42"/>
                <a:gd name="T5" fmla="*/ 26 h 28"/>
                <a:gd name="T6" fmla="*/ 41 w 42"/>
                <a:gd name="T7" fmla="*/ 21 h 28"/>
                <a:gd name="T8" fmla="*/ 4 w 42"/>
                <a:gd name="T9" fmla="*/ 6 h 28"/>
                <a:gd name="T10" fmla="*/ 0 w 42"/>
                <a:gd name="T11" fmla="*/ 8 h 28"/>
                <a:gd name="T12" fmla="*/ 34 w 42"/>
                <a:gd name="T13" fmla="*/ 2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28">
                  <a:moveTo>
                    <a:pt x="34" y="24"/>
                  </a:moveTo>
                  <a:cubicBezTo>
                    <a:pt x="34" y="26"/>
                    <a:pt x="34" y="27"/>
                    <a:pt x="35" y="28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2" y="24"/>
                    <a:pt x="41" y="23"/>
                    <a:pt x="41" y="21"/>
                  </a:cubicBezTo>
                  <a:cubicBezTo>
                    <a:pt x="35" y="7"/>
                    <a:pt x="18" y="0"/>
                    <a:pt x="4" y="6"/>
                  </a:cubicBezTo>
                  <a:cubicBezTo>
                    <a:pt x="2" y="7"/>
                    <a:pt x="1" y="7"/>
                    <a:pt x="0" y="8"/>
                  </a:cubicBezTo>
                  <a:cubicBezTo>
                    <a:pt x="14" y="4"/>
                    <a:pt x="28" y="11"/>
                    <a:pt x="34" y="24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43"/>
            <p:cNvSpPr>
              <a:spLocks/>
            </p:cNvSpPr>
            <p:nvPr/>
          </p:nvSpPr>
          <p:spPr bwMode="gray">
            <a:xfrm>
              <a:off x="8864900" y="4692970"/>
              <a:ext cx="26988" cy="55562"/>
            </a:xfrm>
            <a:custGeom>
              <a:avLst/>
              <a:gdLst>
                <a:gd name="T0" fmla="*/ 20 w 20"/>
                <a:gd name="T1" fmla="*/ 0 h 40"/>
                <a:gd name="T2" fmla="*/ 16 w 20"/>
                <a:gd name="T3" fmla="*/ 1 h 40"/>
                <a:gd name="T4" fmla="*/ 3 w 20"/>
                <a:gd name="T5" fmla="*/ 30 h 40"/>
                <a:gd name="T6" fmla="*/ 3 w 20"/>
                <a:gd name="T7" fmla="*/ 30 h 40"/>
                <a:gd name="T8" fmla="*/ 3 w 20"/>
                <a:gd name="T9" fmla="*/ 31 h 40"/>
                <a:gd name="T10" fmla="*/ 4 w 20"/>
                <a:gd name="T11" fmla="*/ 36 h 40"/>
                <a:gd name="T12" fmla="*/ 6 w 20"/>
                <a:gd name="T13" fmla="*/ 40 h 40"/>
                <a:gd name="T14" fmla="*/ 10 w 20"/>
                <a:gd name="T15" fmla="*/ 38 h 40"/>
                <a:gd name="T16" fmla="*/ 13 w 20"/>
                <a:gd name="T17" fmla="*/ 37 h 40"/>
                <a:gd name="T18" fmla="*/ 11 w 20"/>
                <a:gd name="T19" fmla="*/ 33 h 40"/>
                <a:gd name="T20" fmla="*/ 20 w 20"/>
                <a:gd name="T2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0">
                  <a:moveTo>
                    <a:pt x="20" y="0"/>
                  </a:moveTo>
                  <a:cubicBezTo>
                    <a:pt x="18" y="0"/>
                    <a:pt x="17" y="1"/>
                    <a:pt x="16" y="1"/>
                  </a:cubicBezTo>
                  <a:cubicBezTo>
                    <a:pt x="6" y="7"/>
                    <a:pt x="0" y="19"/>
                    <a:pt x="3" y="30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3" y="33"/>
                    <a:pt x="4" y="34"/>
                    <a:pt x="4" y="36"/>
                  </a:cubicBezTo>
                  <a:cubicBezTo>
                    <a:pt x="5" y="37"/>
                    <a:pt x="6" y="39"/>
                    <a:pt x="6" y="40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36"/>
                    <a:pt x="12" y="34"/>
                    <a:pt x="11" y="33"/>
                  </a:cubicBezTo>
                  <a:cubicBezTo>
                    <a:pt x="6" y="21"/>
                    <a:pt x="10" y="8"/>
                    <a:pt x="20" y="0"/>
                  </a:cubicBez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44"/>
            <p:cNvSpPr>
              <a:spLocks/>
            </p:cNvSpPr>
            <p:nvPr/>
          </p:nvSpPr>
          <p:spPr bwMode="gray">
            <a:xfrm>
              <a:off x="8864900" y="4708845"/>
              <a:ext cx="84138" cy="39687"/>
            </a:xfrm>
            <a:custGeom>
              <a:avLst/>
              <a:gdLst>
                <a:gd name="T0" fmla="*/ 58 w 61"/>
                <a:gd name="T1" fmla="*/ 0 h 29"/>
                <a:gd name="T2" fmla="*/ 1 w 61"/>
                <a:gd name="T3" fmla="*/ 23 h 29"/>
                <a:gd name="T4" fmla="*/ 1 w 61"/>
                <a:gd name="T5" fmla="*/ 27 h 29"/>
                <a:gd name="T6" fmla="*/ 3 w 61"/>
                <a:gd name="T7" fmla="*/ 29 h 29"/>
                <a:gd name="T8" fmla="*/ 61 w 61"/>
                <a:gd name="T9" fmla="*/ 5 h 29"/>
                <a:gd name="T10" fmla="*/ 61 w 61"/>
                <a:gd name="T11" fmla="*/ 2 h 29"/>
                <a:gd name="T12" fmla="*/ 58 w 61"/>
                <a:gd name="T13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29">
                  <a:moveTo>
                    <a:pt x="58" y="0"/>
                  </a:move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0" y="25"/>
                    <a:pt x="1" y="27"/>
                  </a:cubicBezTo>
                  <a:cubicBezTo>
                    <a:pt x="2" y="28"/>
                    <a:pt x="3" y="29"/>
                    <a:pt x="3" y="29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5"/>
                    <a:pt x="61" y="4"/>
                    <a:pt x="61" y="2"/>
                  </a:cubicBezTo>
                  <a:cubicBezTo>
                    <a:pt x="60" y="0"/>
                    <a:pt x="58" y="0"/>
                    <a:pt x="58" y="0"/>
                  </a:cubicBez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45"/>
            <p:cNvSpPr>
              <a:spLocks noEditPoints="1"/>
            </p:cNvSpPr>
            <p:nvPr/>
          </p:nvSpPr>
          <p:spPr bwMode="gray">
            <a:xfrm>
              <a:off x="8693450" y="5112070"/>
              <a:ext cx="246063" cy="301625"/>
            </a:xfrm>
            <a:custGeom>
              <a:avLst/>
              <a:gdLst>
                <a:gd name="T0" fmla="*/ 100 w 178"/>
                <a:gd name="T1" fmla="*/ 161 h 219"/>
                <a:gd name="T2" fmla="*/ 175 w 178"/>
                <a:gd name="T3" fmla="*/ 114 h 219"/>
                <a:gd name="T4" fmla="*/ 176 w 178"/>
                <a:gd name="T5" fmla="*/ 113 h 219"/>
                <a:gd name="T6" fmla="*/ 176 w 178"/>
                <a:gd name="T7" fmla="*/ 113 h 219"/>
                <a:gd name="T8" fmla="*/ 177 w 178"/>
                <a:gd name="T9" fmla="*/ 112 h 219"/>
                <a:gd name="T10" fmla="*/ 177 w 178"/>
                <a:gd name="T11" fmla="*/ 110 h 219"/>
                <a:gd name="T12" fmla="*/ 177 w 178"/>
                <a:gd name="T13" fmla="*/ 109 h 219"/>
                <a:gd name="T14" fmla="*/ 177 w 178"/>
                <a:gd name="T15" fmla="*/ 108 h 219"/>
                <a:gd name="T16" fmla="*/ 176 w 178"/>
                <a:gd name="T17" fmla="*/ 107 h 219"/>
                <a:gd name="T18" fmla="*/ 176 w 178"/>
                <a:gd name="T19" fmla="*/ 107 h 219"/>
                <a:gd name="T20" fmla="*/ 175 w 178"/>
                <a:gd name="T21" fmla="*/ 106 h 219"/>
                <a:gd name="T22" fmla="*/ 174 w 178"/>
                <a:gd name="T23" fmla="*/ 105 h 219"/>
                <a:gd name="T24" fmla="*/ 100 w 178"/>
                <a:gd name="T25" fmla="*/ 58 h 219"/>
                <a:gd name="T26" fmla="*/ 176 w 178"/>
                <a:gd name="T27" fmla="*/ 3 h 219"/>
                <a:gd name="T28" fmla="*/ 89 w 178"/>
                <a:gd name="T29" fmla="*/ 51 h 219"/>
                <a:gd name="T30" fmla="*/ 2 w 178"/>
                <a:gd name="T31" fmla="*/ 3 h 219"/>
                <a:gd name="T32" fmla="*/ 78 w 178"/>
                <a:gd name="T33" fmla="*/ 58 h 219"/>
                <a:gd name="T34" fmla="*/ 3 w 178"/>
                <a:gd name="T35" fmla="*/ 105 h 219"/>
                <a:gd name="T36" fmla="*/ 2 w 178"/>
                <a:gd name="T37" fmla="*/ 106 h 219"/>
                <a:gd name="T38" fmla="*/ 2 w 178"/>
                <a:gd name="T39" fmla="*/ 107 h 219"/>
                <a:gd name="T40" fmla="*/ 2 w 178"/>
                <a:gd name="T41" fmla="*/ 107 h 219"/>
                <a:gd name="T42" fmla="*/ 1 w 178"/>
                <a:gd name="T43" fmla="*/ 108 h 219"/>
                <a:gd name="T44" fmla="*/ 1 w 178"/>
                <a:gd name="T45" fmla="*/ 109 h 219"/>
                <a:gd name="T46" fmla="*/ 1 w 178"/>
                <a:gd name="T47" fmla="*/ 110 h 219"/>
                <a:gd name="T48" fmla="*/ 1 w 178"/>
                <a:gd name="T49" fmla="*/ 112 h 219"/>
                <a:gd name="T50" fmla="*/ 1 w 178"/>
                <a:gd name="T51" fmla="*/ 113 h 219"/>
                <a:gd name="T52" fmla="*/ 2 w 178"/>
                <a:gd name="T53" fmla="*/ 113 h 219"/>
                <a:gd name="T54" fmla="*/ 3 w 178"/>
                <a:gd name="T55" fmla="*/ 114 h 219"/>
                <a:gd name="T56" fmla="*/ 78 w 178"/>
                <a:gd name="T57" fmla="*/ 161 h 219"/>
                <a:gd name="T58" fmla="*/ 2 w 178"/>
                <a:gd name="T59" fmla="*/ 216 h 219"/>
                <a:gd name="T60" fmla="*/ 10 w 178"/>
                <a:gd name="T61" fmla="*/ 218 h 219"/>
                <a:gd name="T62" fmla="*/ 168 w 178"/>
                <a:gd name="T63" fmla="*/ 218 h 219"/>
                <a:gd name="T64" fmla="*/ 176 w 178"/>
                <a:gd name="T65" fmla="*/ 216 h 219"/>
                <a:gd name="T66" fmla="*/ 18 w 178"/>
                <a:gd name="T67" fmla="*/ 110 h 219"/>
                <a:gd name="T68" fmla="*/ 160 w 178"/>
                <a:gd name="T69" fmla="*/ 110 h 219"/>
                <a:gd name="T70" fmla="*/ 18 w 178"/>
                <a:gd name="T71" fmla="*/ 11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78" h="219">
                  <a:moveTo>
                    <a:pt x="174" y="208"/>
                  </a:moveTo>
                  <a:cubicBezTo>
                    <a:pt x="100" y="161"/>
                    <a:pt x="100" y="161"/>
                    <a:pt x="100" y="161"/>
                  </a:cubicBezTo>
                  <a:cubicBezTo>
                    <a:pt x="174" y="115"/>
                    <a:pt x="174" y="115"/>
                    <a:pt x="174" y="115"/>
                  </a:cubicBezTo>
                  <a:cubicBezTo>
                    <a:pt x="175" y="114"/>
                    <a:pt x="175" y="114"/>
                    <a:pt x="175" y="114"/>
                  </a:cubicBezTo>
                  <a:cubicBezTo>
                    <a:pt x="175" y="114"/>
                    <a:pt x="175" y="114"/>
                    <a:pt x="175" y="114"/>
                  </a:cubicBezTo>
                  <a:cubicBezTo>
                    <a:pt x="175" y="114"/>
                    <a:pt x="176" y="114"/>
                    <a:pt x="176" y="113"/>
                  </a:cubicBezTo>
                  <a:cubicBezTo>
                    <a:pt x="176" y="113"/>
                    <a:pt x="176" y="113"/>
                    <a:pt x="176" y="113"/>
                  </a:cubicBezTo>
                  <a:cubicBezTo>
                    <a:pt x="176" y="113"/>
                    <a:pt x="176" y="113"/>
                    <a:pt x="176" y="113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77" y="111"/>
                    <a:pt x="177" y="111"/>
                    <a:pt x="177" y="111"/>
                  </a:cubicBezTo>
                  <a:cubicBezTo>
                    <a:pt x="177" y="110"/>
                    <a:pt x="177" y="110"/>
                    <a:pt x="177" y="110"/>
                  </a:cubicBezTo>
                  <a:cubicBezTo>
                    <a:pt x="177" y="110"/>
                    <a:pt x="177" y="110"/>
                    <a:pt x="177" y="110"/>
                  </a:cubicBezTo>
                  <a:cubicBezTo>
                    <a:pt x="177" y="109"/>
                    <a:pt x="177" y="109"/>
                    <a:pt x="177" y="109"/>
                  </a:cubicBezTo>
                  <a:cubicBezTo>
                    <a:pt x="177" y="109"/>
                    <a:pt x="177" y="109"/>
                    <a:pt x="177" y="109"/>
                  </a:cubicBezTo>
                  <a:cubicBezTo>
                    <a:pt x="177" y="108"/>
                    <a:pt x="177" y="108"/>
                    <a:pt x="177" y="108"/>
                  </a:cubicBezTo>
                  <a:cubicBezTo>
                    <a:pt x="177" y="108"/>
                    <a:pt x="177" y="108"/>
                    <a:pt x="177" y="108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6" y="106"/>
                    <a:pt x="176" y="106"/>
                    <a:pt x="176" y="106"/>
                  </a:cubicBezTo>
                  <a:cubicBezTo>
                    <a:pt x="175" y="106"/>
                    <a:pt x="175" y="106"/>
                    <a:pt x="175" y="106"/>
                  </a:cubicBezTo>
                  <a:cubicBezTo>
                    <a:pt x="175" y="105"/>
                    <a:pt x="175" y="105"/>
                    <a:pt x="175" y="105"/>
                  </a:cubicBezTo>
                  <a:cubicBezTo>
                    <a:pt x="174" y="105"/>
                    <a:pt x="174" y="105"/>
                    <a:pt x="174" y="105"/>
                  </a:cubicBezTo>
                  <a:cubicBezTo>
                    <a:pt x="174" y="105"/>
                    <a:pt x="174" y="105"/>
                    <a:pt x="174" y="105"/>
                  </a:cubicBezTo>
                  <a:cubicBezTo>
                    <a:pt x="100" y="58"/>
                    <a:pt x="100" y="58"/>
                    <a:pt x="100" y="58"/>
                  </a:cubicBezTo>
                  <a:cubicBezTo>
                    <a:pt x="174" y="12"/>
                    <a:pt x="174" y="12"/>
                    <a:pt x="174" y="12"/>
                  </a:cubicBezTo>
                  <a:cubicBezTo>
                    <a:pt x="177" y="10"/>
                    <a:pt x="178" y="6"/>
                    <a:pt x="176" y="3"/>
                  </a:cubicBezTo>
                  <a:cubicBezTo>
                    <a:pt x="174" y="1"/>
                    <a:pt x="171" y="0"/>
                    <a:pt x="168" y="2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7" y="0"/>
                    <a:pt x="3" y="1"/>
                    <a:pt x="2" y="3"/>
                  </a:cubicBezTo>
                  <a:cubicBezTo>
                    <a:pt x="0" y="6"/>
                    <a:pt x="1" y="10"/>
                    <a:pt x="4" y="12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4" y="105"/>
                    <a:pt x="4" y="105"/>
                    <a:pt x="4" y="105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11"/>
                    <a:pt x="1" y="111"/>
                    <a:pt x="1" y="111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1" y="113"/>
                    <a:pt x="1" y="113"/>
                    <a:pt x="1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4"/>
                    <a:pt x="2" y="114"/>
                    <a:pt x="3" y="114"/>
                  </a:cubicBezTo>
                  <a:cubicBezTo>
                    <a:pt x="3" y="114"/>
                    <a:pt x="3" y="114"/>
                    <a:pt x="3" y="114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78" y="161"/>
                    <a:pt x="78" y="161"/>
                    <a:pt x="78" y="161"/>
                  </a:cubicBezTo>
                  <a:cubicBezTo>
                    <a:pt x="4" y="208"/>
                    <a:pt x="4" y="208"/>
                    <a:pt x="4" y="208"/>
                  </a:cubicBezTo>
                  <a:cubicBezTo>
                    <a:pt x="1" y="210"/>
                    <a:pt x="0" y="213"/>
                    <a:pt x="2" y="216"/>
                  </a:cubicBezTo>
                  <a:cubicBezTo>
                    <a:pt x="3" y="218"/>
                    <a:pt x="5" y="219"/>
                    <a:pt x="7" y="219"/>
                  </a:cubicBezTo>
                  <a:cubicBezTo>
                    <a:pt x="8" y="219"/>
                    <a:pt x="9" y="219"/>
                    <a:pt x="10" y="218"/>
                  </a:cubicBezTo>
                  <a:cubicBezTo>
                    <a:pt x="89" y="169"/>
                    <a:pt x="89" y="169"/>
                    <a:pt x="89" y="169"/>
                  </a:cubicBezTo>
                  <a:cubicBezTo>
                    <a:pt x="168" y="218"/>
                    <a:pt x="168" y="218"/>
                    <a:pt x="168" y="218"/>
                  </a:cubicBezTo>
                  <a:cubicBezTo>
                    <a:pt x="169" y="219"/>
                    <a:pt x="170" y="219"/>
                    <a:pt x="171" y="219"/>
                  </a:cubicBezTo>
                  <a:cubicBezTo>
                    <a:pt x="173" y="219"/>
                    <a:pt x="175" y="218"/>
                    <a:pt x="176" y="216"/>
                  </a:cubicBezTo>
                  <a:cubicBezTo>
                    <a:pt x="178" y="213"/>
                    <a:pt x="177" y="210"/>
                    <a:pt x="174" y="208"/>
                  </a:cubicBezTo>
                  <a:close/>
                  <a:moveTo>
                    <a:pt x="18" y="110"/>
                  </a:moveTo>
                  <a:cubicBezTo>
                    <a:pt x="89" y="65"/>
                    <a:pt x="89" y="65"/>
                    <a:pt x="89" y="65"/>
                  </a:cubicBezTo>
                  <a:cubicBezTo>
                    <a:pt x="160" y="110"/>
                    <a:pt x="160" y="110"/>
                    <a:pt x="160" y="110"/>
                  </a:cubicBezTo>
                  <a:cubicBezTo>
                    <a:pt x="89" y="154"/>
                    <a:pt x="89" y="154"/>
                    <a:pt x="89" y="154"/>
                  </a:cubicBezTo>
                  <a:lnTo>
                    <a:pt x="18" y="11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46"/>
            <p:cNvSpPr>
              <a:spLocks/>
            </p:cNvSpPr>
            <p:nvPr/>
          </p:nvSpPr>
          <p:spPr bwMode="gray">
            <a:xfrm>
              <a:off x="8642650" y="5386708"/>
              <a:ext cx="346075" cy="112712"/>
            </a:xfrm>
            <a:custGeom>
              <a:avLst/>
              <a:gdLst>
                <a:gd name="T0" fmla="*/ 250 w 250"/>
                <a:gd name="T1" fmla="*/ 72 h 81"/>
                <a:gd name="T2" fmla="*/ 241 w 250"/>
                <a:gd name="T3" fmla="*/ 81 h 81"/>
                <a:gd name="T4" fmla="*/ 9 w 250"/>
                <a:gd name="T5" fmla="*/ 81 h 81"/>
                <a:gd name="T6" fmla="*/ 0 w 250"/>
                <a:gd name="T7" fmla="*/ 72 h 81"/>
                <a:gd name="T8" fmla="*/ 0 w 250"/>
                <a:gd name="T9" fmla="*/ 9 h 81"/>
                <a:gd name="T10" fmla="*/ 9 w 250"/>
                <a:gd name="T11" fmla="*/ 0 h 81"/>
                <a:gd name="T12" fmla="*/ 241 w 250"/>
                <a:gd name="T13" fmla="*/ 0 h 81"/>
                <a:gd name="T14" fmla="*/ 250 w 250"/>
                <a:gd name="T15" fmla="*/ 9 h 81"/>
                <a:gd name="T16" fmla="*/ 250 w 250"/>
                <a:gd name="T17" fmla="*/ 7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81">
                  <a:moveTo>
                    <a:pt x="250" y="72"/>
                  </a:moveTo>
                  <a:cubicBezTo>
                    <a:pt x="250" y="77"/>
                    <a:pt x="246" y="81"/>
                    <a:pt x="241" y="81"/>
                  </a:cubicBezTo>
                  <a:cubicBezTo>
                    <a:pt x="9" y="81"/>
                    <a:pt x="9" y="81"/>
                    <a:pt x="9" y="81"/>
                  </a:cubicBezTo>
                  <a:cubicBezTo>
                    <a:pt x="4" y="81"/>
                    <a:pt x="0" y="77"/>
                    <a:pt x="0" y="72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lnTo>
                    <a:pt x="250" y="7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47"/>
            <p:cNvSpPr>
              <a:spLocks/>
            </p:cNvSpPr>
            <p:nvPr/>
          </p:nvSpPr>
          <p:spPr bwMode="gray">
            <a:xfrm>
              <a:off x="8642650" y="5405758"/>
              <a:ext cx="327025" cy="93662"/>
            </a:xfrm>
            <a:custGeom>
              <a:avLst/>
              <a:gdLst>
                <a:gd name="T0" fmla="*/ 22 w 236"/>
                <a:gd name="T1" fmla="*/ 55 h 68"/>
                <a:gd name="T2" fmla="*/ 14 w 236"/>
                <a:gd name="T3" fmla="*/ 46 h 68"/>
                <a:gd name="T4" fmla="*/ 14 w 236"/>
                <a:gd name="T5" fmla="*/ 0 h 68"/>
                <a:gd name="T6" fmla="*/ 0 w 236"/>
                <a:gd name="T7" fmla="*/ 0 h 68"/>
                <a:gd name="T8" fmla="*/ 0 w 236"/>
                <a:gd name="T9" fmla="*/ 59 h 68"/>
                <a:gd name="T10" fmla="*/ 9 w 236"/>
                <a:gd name="T11" fmla="*/ 68 h 68"/>
                <a:gd name="T12" fmla="*/ 236 w 236"/>
                <a:gd name="T13" fmla="*/ 68 h 68"/>
                <a:gd name="T14" fmla="*/ 236 w 236"/>
                <a:gd name="T15" fmla="*/ 55 h 68"/>
                <a:gd name="T16" fmla="*/ 22 w 236"/>
                <a:gd name="T17" fmla="*/ 55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6" h="68">
                  <a:moveTo>
                    <a:pt x="22" y="55"/>
                  </a:moveTo>
                  <a:cubicBezTo>
                    <a:pt x="17" y="55"/>
                    <a:pt x="14" y="51"/>
                    <a:pt x="14" y="46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64"/>
                    <a:pt x="4" y="68"/>
                    <a:pt x="9" y="68"/>
                  </a:cubicBezTo>
                  <a:cubicBezTo>
                    <a:pt x="236" y="68"/>
                    <a:pt x="236" y="68"/>
                    <a:pt x="236" y="68"/>
                  </a:cubicBezTo>
                  <a:cubicBezTo>
                    <a:pt x="236" y="55"/>
                    <a:pt x="236" y="55"/>
                    <a:pt x="236" y="55"/>
                  </a:cubicBezTo>
                  <a:lnTo>
                    <a:pt x="22" y="55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8"/>
            <p:cNvSpPr>
              <a:spLocks/>
            </p:cNvSpPr>
            <p:nvPr/>
          </p:nvSpPr>
          <p:spPr bwMode="gray">
            <a:xfrm>
              <a:off x="8642650" y="5386708"/>
              <a:ext cx="346075" cy="112712"/>
            </a:xfrm>
            <a:custGeom>
              <a:avLst/>
              <a:gdLst>
                <a:gd name="T0" fmla="*/ 241 w 250"/>
                <a:gd name="T1" fmla="*/ 81 h 81"/>
                <a:gd name="T2" fmla="*/ 236 w 250"/>
                <a:gd name="T3" fmla="*/ 81 h 81"/>
                <a:gd name="T4" fmla="*/ 236 w 250"/>
                <a:gd name="T5" fmla="*/ 22 h 81"/>
                <a:gd name="T6" fmla="*/ 228 w 250"/>
                <a:gd name="T7" fmla="*/ 13 h 81"/>
                <a:gd name="T8" fmla="*/ 0 w 250"/>
                <a:gd name="T9" fmla="*/ 13 h 81"/>
                <a:gd name="T10" fmla="*/ 0 w 250"/>
                <a:gd name="T11" fmla="*/ 9 h 81"/>
                <a:gd name="T12" fmla="*/ 9 w 250"/>
                <a:gd name="T13" fmla="*/ 0 h 81"/>
                <a:gd name="T14" fmla="*/ 241 w 250"/>
                <a:gd name="T15" fmla="*/ 0 h 81"/>
                <a:gd name="T16" fmla="*/ 250 w 250"/>
                <a:gd name="T17" fmla="*/ 9 h 81"/>
                <a:gd name="T18" fmla="*/ 250 w 250"/>
                <a:gd name="T19" fmla="*/ 72 h 81"/>
                <a:gd name="T20" fmla="*/ 241 w 250"/>
                <a:gd name="T21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" h="81">
                  <a:moveTo>
                    <a:pt x="241" y="81"/>
                  </a:moveTo>
                  <a:cubicBezTo>
                    <a:pt x="236" y="81"/>
                    <a:pt x="236" y="81"/>
                    <a:pt x="236" y="81"/>
                  </a:cubicBezTo>
                  <a:cubicBezTo>
                    <a:pt x="236" y="22"/>
                    <a:pt x="236" y="22"/>
                    <a:pt x="236" y="22"/>
                  </a:cubicBezTo>
                  <a:cubicBezTo>
                    <a:pt x="236" y="17"/>
                    <a:pt x="232" y="13"/>
                    <a:pt x="228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cubicBezTo>
                    <a:pt x="250" y="72"/>
                    <a:pt x="250" y="72"/>
                    <a:pt x="250" y="72"/>
                  </a:cubicBezTo>
                  <a:cubicBezTo>
                    <a:pt x="250" y="77"/>
                    <a:pt x="246" y="81"/>
                    <a:pt x="241" y="8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Oval 49"/>
            <p:cNvSpPr>
              <a:spLocks noChangeArrowheads="1"/>
            </p:cNvSpPr>
            <p:nvPr/>
          </p:nvSpPr>
          <p:spPr bwMode="gray">
            <a:xfrm>
              <a:off x="8674400" y="5454970"/>
              <a:ext cx="87313" cy="873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Oval 50"/>
            <p:cNvSpPr>
              <a:spLocks noChangeArrowheads="1"/>
            </p:cNvSpPr>
            <p:nvPr/>
          </p:nvSpPr>
          <p:spPr bwMode="gray">
            <a:xfrm>
              <a:off x="8693450" y="5474020"/>
              <a:ext cx="49213" cy="49212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51"/>
            <p:cNvSpPr>
              <a:spLocks/>
            </p:cNvSpPr>
            <p:nvPr/>
          </p:nvSpPr>
          <p:spPr bwMode="gray">
            <a:xfrm>
              <a:off x="8693450" y="5480370"/>
              <a:ext cx="42863" cy="42862"/>
            </a:xfrm>
            <a:custGeom>
              <a:avLst/>
              <a:gdLst>
                <a:gd name="T0" fmla="*/ 18 w 31"/>
                <a:gd name="T1" fmla="*/ 31 h 31"/>
                <a:gd name="T2" fmla="*/ 31 w 31"/>
                <a:gd name="T3" fmla="*/ 26 h 31"/>
                <a:gd name="T4" fmla="*/ 6 w 31"/>
                <a:gd name="T5" fmla="*/ 0 h 31"/>
                <a:gd name="T6" fmla="*/ 0 w 31"/>
                <a:gd name="T7" fmla="*/ 13 h 31"/>
                <a:gd name="T8" fmla="*/ 18 w 31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18" y="31"/>
                  </a:moveTo>
                  <a:cubicBezTo>
                    <a:pt x="23" y="31"/>
                    <a:pt x="28" y="29"/>
                    <a:pt x="31" y="2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4"/>
                    <a:pt x="0" y="8"/>
                    <a:pt x="0" y="13"/>
                  </a:cubicBezTo>
                  <a:cubicBezTo>
                    <a:pt x="0" y="23"/>
                    <a:pt x="8" y="31"/>
                    <a:pt x="18" y="3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Oval 52"/>
            <p:cNvSpPr>
              <a:spLocks noChangeArrowheads="1"/>
            </p:cNvSpPr>
            <p:nvPr/>
          </p:nvSpPr>
          <p:spPr bwMode="gray">
            <a:xfrm>
              <a:off x="8869662" y="5454970"/>
              <a:ext cx="87313" cy="873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Oval 53"/>
            <p:cNvSpPr>
              <a:spLocks noChangeArrowheads="1"/>
            </p:cNvSpPr>
            <p:nvPr/>
          </p:nvSpPr>
          <p:spPr bwMode="gray">
            <a:xfrm>
              <a:off x="8887125" y="5474020"/>
              <a:ext cx="50800" cy="49212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54"/>
            <p:cNvSpPr>
              <a:spLocks/>
            </p:cNvSpPr>
            <p:nvPr/>
          </p:nvSpPr>
          <p:spPr bwMode="gray">
            <a:xfrm>
              <a:off x="8887125" y="5480370"/>
              <a:ext cx="42863" cy="42862"/>
            </a:xfrm>
            <a:custGeom>
              <a:avLst/>
              <a:gdLst>
                <a:gd name="T0" fmla="*/ 18 w 31"/>
                <a:gd name="T1" fmla="*/ 31 h 31"/>
                <a:gd name="T2" fmla="*/ 31 w 31"/>
                <a:gd name="T3" fmla="*/ 26 h 31"/>
                <a:gd name="T4" fmla="*/ 6 w 31"/>
                <a:gd name="T5" fmla="*/ 0 h 31"/>
                <a:gd name="T6" fmla="*/ 0 w 31"/>
                <a:gd name="T7" fmla="*/ 13 h 31"/>
                <a:gd name="T8" fmla="*/ 18 w 31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18" y="31"/>
                  </a:moveTo>
                  <a:cubicBezTo>
                    <a:pt x="23" y="31"/>
                    <a:pt x="28" y="29"/>
                    <a:pt x="31" y="2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4"/>
                    <a:pt x="0" y="8"/>
                    <a:pt x="0" y="13"/>
                  </a:cubicBezTo>
                  <a:cubicBezTo>
                    <a:pt x="0" y="23"/>
                    <a:pt x="8" y="31"/>
                    <a:pt x="18" y="3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55"/>
            <p:cNvSpPr>
              <a:spLocks noEditPoints="1"/>
            </p:cNvSpPr>
            <p:nvPr/>
          </p:nvSpPr>
          <p:spPr bwMode="gray">
            <a:xfrm>
              <a:off x="8631537" y="4907283"/>
              <a:ext cx="368300" cy="223837"/>
            </a:xfrm>
            <a:custGeom>
              <a:avLst/>
              <a:gdLst>
                <a:gd name="T0" fmla="*/ 258 w 266"/>
                <a:gd name="T1" fmla="*/ 0 h 163"/>
                <a:gd name="T2" fmla="*/ 8 w 266"/>
                <a:gd name="T3" fmla="*/ 0 h 163"/>
                <a:gd name="T4" fmla="*/ 0 w 266"/>
                <a:gd name="T5" fmla="*/ 8 h 163"/>
                <a:gd name="T6" fmla="*/ 8 w 266"/>
                <a:gd name="T7" fmla="*/ 16 h 163"/>
                <a:gd name="T8" fmla="*/ 23 w 266"/>
                <a:gd name="T9" fmla="*/ 16 h 163"/>
                <a:gd name="T10" fmla="*/ 23 w 266"/>
                <a:gd name="T11" fmla="*/ 102 h 163"/>
                <a:gd name="T12" fmla="*/ 17 w 266"/>
                <a:gd name="T13" fmla="*/ 102 h 163"/>
                <a:gd name="T14" fmla="*/ 8 w 266"/>
                <a:gd name="T15" fmla="*/ 111 h 163"/>
                <a:gd name="T16" fmla="*/ 8 w 266"/>
                <a:gd name="T17" fmla="*/ 155 h 163"/>
                <a:gd name="T18" fmla="*/ 17 w 266"/>
                <a:gd name="T19" fmla="*/ 163 h 163"/>
                <a:gd name="T20" fmla="*/ 249 w 266"/>
                <a:gd name="T21" fmla="*/ 163 h 163"/>
                <a:gd name="T22" fmla="*/ 258 w 266"/>
                <a:gd name="T23" fmla="*/ 155 h 163"/>
                <a:gd name="T24" fmla="*/ 258 w 266"/>
                <a:gd name="T25" fmla="*/ 111 h 163"/>
                <a:gd name="T26" fmla="*/ 249 w 266"/>
                <a:gd name="T27" fmla="*/ 102 h 163"/>
                <a:gd name="T28" fmla="*/ 243 w 266"/>
                <a:gd name="T29" fmla="*/ 102 h 163"/>
                <a:gd name="T30" fmla="*/ 243 w 266"/>
                <a:gd name="T31" fmla="*/ 16 h 163"/>
                <a:gd name="T32" fmla="*/ 258 w 266"/>
                <a:gd name="T33" fmla="*/ 16 h 163"/>
                <a:gd name="T34" fmla="*/ 266 w 266"/>
                <a:gd name="T35" fmla="*/ 8 h 163"/>
                <a:gd name="T36" fmla="*/ 258 w 266"/>
                <a:gd name="T37" fmla="*/ 0 h 163"/>
                <a:gd name="T38" fmla="*/ 189 w 266"/>
                <a:gd name="T39" fmla="*/ 16 h 163"/>
                <a:gd name="T40" fmla="*/ 189 w 266"/>
                <a:gd name="T41" fmla="*/ 102 h 163"/>
                <a:gd name="T42" fmla="*/ 160 w 266"/>
                <a:gd name="T43" fmla="*/ 102 h 163"/>
                <a:gd name="T44" fmla="*/ 160 w 266"/>
                <a:gd name="T45" fmla="*/ 16 h 163"/>
                <a:gd name="T46" fmla="*/ 189 w 266"/>
                <a:gd name="T47" fmla="*/ 16 h 163"/>
                <a:gd name="T48" fmla="*/ 148 w 266"/>
                <a:gd name="T49" fmla="*/ 16 h 163"/>
                <a:gd name="T50" fmla="*/ 148 w 266"/>
                <a:gd name="T51" fmla="*/ 102 h 163"/>
                <a:gd name="T52" fmla="*/ 118 w 266"/>
                <a:gd name="T53" fmla="*/ 102 h 163"/>
                <a:gd name="T54" fmla="*/ 118 w 266"/>
                <a:gd name="T55" fmla="*/ 16 h 163"/>
                <a:gd name="T56" fmla="*/ 148 w 266"/>
                <a:gd name="T57" fmla="*/ 16 h 163"/>
                <a:gd name="T58" fmla="*/ 106 w 266"/>
                <a:gd name="T59" fmla="*/ 16 h 163"/>
                <a:gd name="T60" fmla="*/ 106 w 266"/>
                <a:gd name="T61" fmla="*/ 102 h 163"/>
                <a:gd name="T62" fmla="*/ 77 w 266"/>
                <a:gd name="T63" fmla="*/ 102 h 163"/>
                <a:gd name="T64" fmla="*/ 77 w 266"/>
                <a:gd name="T65" fmla="*/ 16 h 163"/>
                <a:gd name="T66" fmla="*/ 106 w 266"/>
                <a:gd name="T67" fmla="*/ 16 h 163"/>
                <a:gd name="T68" fmla="*/ 35 w 266"/>
                <a:gd name="T69" fmla="*/ 16 h 163"/>
                <a:gd name="T70" fmla="*/ 65 w 266"/>
                <a:gd name="T71" fmla="*/ 16 h 163"/>
                <a:gd name="T72" fmla="*/ 65 w 266"/>
                <a:gd name="T73" fmla="*/ 102 h 163"/>
                <a:gd name="T74" fmla="*/ 35 w 266"/>
                <a:gd name="T75" fmla="*/ 102 h 163"/>
                <a:gd name="T76" fmla="*/ 35 w 266"/>
                <a:gd name="T77" fmla="*/ 16 h 163"/>
                <a:gd name="T78" fmla="*/ 201 w 266"/>
                <a:gd name="T79" fmla="*/ 102 h 163"/>
                <a:gd name="T80" fmla="*/ 201 w 266"/>
                <a:gd name="T81" fmla="*/ 16 h 163"/>
                <a:gd name="T82" fmla="*/ 231 w 266"/>
                <a:gd name="T83" fmla="*/ 16 h 163"/>
                <a:gd name="T84" fmla="*/ 231 w 266"/>
                <a:gd name="T85" fmla="*/ 102 h 163"/>
                <a:gd name="T86" fmla="*/ 201 w 266"/>
                <a:gd name="T87" fmla="*/ 102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66" h="163">
                  <a:moveTo>
                    <a:pt x="25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3"/>
                    <a:pt x="4" y="16"/>
                    <a:pt x="8" y="16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3" y="102"/>
                    <a:pt x="23" y="102"/>
                    <a:pt x="23" y="102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2" y="102"/>
                    <a:pt x="8" y="106"/>
                    <a:pt x="8" y="111"/>
                  </a:cubicBezTo>
                  <a:cubicBezTo>
                    <a:pt x="8" y="155"/>
                    <a:pt x="8" y="155"/>
                    <a:pt x="8" y="155"/>
                  </a:cubicBezTo>
                  <a:cubicBezTo>
                    <a:pt x="8" y="160"/>
                    <a:pt x="12" y="163"/>
                    <a:pt x="17" y="163"/>
                  </a:cubicBezTo>
                  <a:cubicBezTo>
                    <a:pt x="249" y="163"/>
                    <a:pt x="249" y="163"/>
                    <a:pt x="249" y="163"/>
                  </a:cubicBezTo>
                  <a:cubicBezTo>
                    <a:pt x="254" y="163"/>
                    <a:pt x="258" y="160"/>
                    <a:pt x="258" y="155"/>
                  </a:cubicBezTo>
                  <a:cubicBezTo>
                    <a:pt x="258" y="111"/>
                    <a:pt x="258" y="111"/>
                    <a:pt x="258" y="111"/>
                  </a:cubicBezTo>
                  <a:cubicBezTo>
                    <a:pt x="258" y="106"/>
                    <a:pt x="254" y="102"/>
                    <a:pt x="249" y="102"/>
                  </a:cubicBezTo>
                  <a:cubicBezTo>
                    <a:pt x="243" y="102"/>
                    <a:pt x="243" y="102"/>
                    <a:pt x="243" y="102"/>
                  </a:cubicBezTo>
                  <a:cubicBezTo>
                    <a:pt x="243" y="16"/>
                    <a:pt x="243" y="16"/>
                    <a:pt x="243" y="16"/>
                  </a:cubicBezTo>
                  <a:cubicBezTo>
                    <a:pt x="258" y="16"/>
                    <a:pt x="258" y="16"/>
                    <a:pt x="258" y="16"/>
                  </a:cubicBezTo>
                  <a:cubicBezTo>
                    <a:pt x="262" y="16"/>
                    <a:pt x="266" y="13"/>
                    <a:pt x="266" y="8"/>
                  </a:cubicBezTo>
                  <a:cubicBezTo>
                    <a:pt x="266" y="4"/>
                    <a:pt x="262" y="0"/>
                    <a:pt x="258" y="0"/>
                  </a:cubicBezTo>
                  <a:close/>
                  <a:moveTo>
                    <a:pt x="189" y="16"/>
                  </a:moveTo>
                  <a:cubicBezTo>
                    <a:pt x="189" y="102"/>
                    <a:pt x="189" y="102"/>
                    <a:pt x="189" y="102"/>
                  </a:cubicBezTo>
                  <a:cubicBezTo>
                    <a:pt x="160" y="102"/>
                    <a:pt x="160" y="102"/>
                    <a:pt x="160" y="102"/>
                  </a:cubicBezTo>
                  <a:cubicBezTo>
                    <a:pt x="160" y="16"/>
                    <a:pt x="160" y="16"/>
                    <a:pt x="160" y="16"/>
                  </a:cubicBezTo>
                  <a:lnTo>
                    <a:pt x="189" y="16"/>
                  </a:lnTo>
                  <a:close/>
                  <a:moveTo>
                    <a:pt x="148" y="16"/>
                  </a:moveTo>
                  <a:cubicBezTo>
                    <a:pt x="148" y="102"/>
                    <a:pt x="148" y="102"/>
                    <a:pt x="148" y="102"/>
                  </a:cubicBezTo>
                  <a:cubicBezTo>
                    <a:pt x="118" y="102"/>
                    <a:pt x="118" y="102"/>
                    <a:pt x="118" y="102"/>
                  </a:cubicBezTo>
                  <a:cubicBezTo>
                    <a:pt x="118" y="16"/>
                    <a:pt x="118" y="16"/>
                    <a:pt x="118" y="16"/>
                  </a:cubicBezTo>
                  <a:lnTo>
                    <a:pt x="148" y="16"/>
                  </a:lnTo>
                  <a:close/>
                  <a:moveTo>
                    <a:pt x="106" y="16"/>
                  </a:moveTo>
                  <a:cubicBezTo>
                    <a:pt x="106" y="102"/>
                    <a:pt x="106" y="102"/>
                    <a:pt x="106" y="102"/>
                  </a:cubicBezTo>
                  <a:cubicBezTo>
                    <a:pt x="77" y="102"/>
                    <a:pt x="77" y="102"/>
                    <a:pt x="77" y="102"/>
                  </a:cubicBezTo>
                  <a:cubicBezTo>
                    <a:pt x="77" y="16"/>
                    <a:pt x="77" y="16"/>
                    <a:pt x="77" y="16"/>
                  </a:cubicBezTo>
                  <a:lnTo>
                    <a:pt x="106" y="16"/>
                  </a:lnTo>
                  <a:close/>
                  <a:moveTo>
                    <a:pt x="35" y="16"/>
                  </a:moveTo>
                  <a:cubicBezTo>
                    <a:pt x="65" y="16"/>
                    <a:pt x="65" y="16"/>
                    <a:pt x="65" y="16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35" y="102"/>
                    <a:pt x="35" y="102"/>
                    <a:pt x="35" y="102"/>
                  </a:cubicBezTo>
                  <a:lnTo>
                    <a:pt x="35" y="16"/>
                  </a:lnTo>
                  <a:close/>
                  <a:moveTo>
                    <a:pt x="201" y="102"/>
                  </a:moveTo>
                  <a:cubicBezTo>
                    <a:pt x="201" y="16"/>
                    <a:pt x="201" y="16"/>
                    <a:pt x="201" y="16"/>
                  </a:cubicBezTo>
                  <a:cubicBezTo>
                    <a:pt x="231" y="16"/>
                    <a:pt x="231" y="16"/>
                    <a:pt x="231" y="16"/>
                  </a:cubicBezTo>
                  <a:cubicBezTo>
                    <a:pt x="231" y="102"/>
                    <a:pt x="231" y="102"/>
                    <a:pt x="231" y="102"/>
                  </a:cubicBezTo>
                  <a:lnTo>
                    <a:pt x="201" y="10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56"/>
            <p:cNvSpPr>
              <a:spLocks/>
            </p:cNvSpPr>
            <p:nvPr/>
          </p:nvSpPr>
          <p:spPr bwMode="gray">
            <a:xfrm>
              <a:off x="8642650" y="5067620"/>
              <a:ext cx="327025" cy="63500"/>
            </a:xfrm>
            <a:custGeom>
              <a:avLst/>
              <a:gdLst>
                <a:gd name="T0" fmla="*/ 22 w 236"/>
                <a:gd name="T1" fmla="*/ 34 h 47"/>
                <a:gd name="T2" fmla="*/ 14 w 236"/>
                <a:gd name="T3" fmla="*/ 25 h 47"/>
                <a:gd name="T4" fmla="*/ 14 w 236"/>
                <a:gd name="T5" fmla="*/ 0 h 47"/>
                <a:gd name="T6" fmla="*/ 0 w 236"/>
                <a:gd name="T7" fmla="*/ 0 h 47"/>
                <a:gd name="T8" fmla="*/ 0 w 236"/>
                <a:gd name="T9" fmla="*/ 39 h 47"/>
                <a:gd name="T10" fmla="*/ 9 w 236"/>
                <a:gd name="T11" fmla="*/ 47 h 47"/>
                <a:gd name="T12" fmla="*/ 236 w 236"/>
                <a:gd name="T13" fmla="*/ 47 h 47"/>
                <a:gd name="T14" fmla="*/ 236 w 236"/>
                <a:gd name="T15" fmla="*/ 34 h 47"/>
                <a:gd name="T16" fmla="*/ 22 w 236"/>
                <a:gd name="T17" fmla="*/ 34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6" h="47">
                  <a:moveTo>
                    <a:pt x="22" y="34"/>
                  </a:moveTo>
                  <a:cubicBezTo>
                    <a:pt x="17" y="34"/>
                    <a:pt x="14" y="30"/>
                    <a:pt x="14" y="2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4"/>
                    <a:pt x="4" y="47"/>
                    <a:pt x="9" y="47"/>
                  </a:cubicBezTo>
                  <a:cubicBezTo>
                    <a:pt x="236" y="47"/>
                    <a:pt x="236" y="47"/>
                    <a:pt x="236" y="47"/>
                  </a:cubicBezTo>
                  <a:cubicBezTo>
                    <a:pt x="236" y="34"/>
                    <a:pt x="236" y="34"/>
                    <a:pt x="236" y="34"/>
                  </a:cubicBezTo>
                  <a:lnTo>
                    <a:pt x="22" y="34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57"/>
            <p:cNvSpPr>
              <a:spLocks/>
            </p:cNvSpPr>
            <p:nvPr/>
          </p:nvSpPr>
          <p:spPr bwMode="gray">
            <a:xfrm>
              <a:off x="8642650" y="5046983"/>
              <a:ext cx="346075" cy="84137"/>
            </a:xfrm>
            <a:custGeom>
              <a:avLst/>
              <a:gdLst>
                <a:gd name="T0" fmla="*/ 241 w 250"/>
                <a:gd name="T1" fmla="*/ 61 h 61"/>
                <a:gd name="T2" fmla="*/ 236 w 250"/>
                <a:gd name="T3" fmla="*/ 61 h 61"/>
                <a:gd name="T4" fmla="*/ 236 w 250"/>
                <a:gd name="T5" fmla="*/ 22 h 61"/>
                <a:gd name="T6" fmla="*/ 228 w 250"/>
                <a:gd name="T7" fmla="*/ 14 h 61"/>
                <a:gd name="T8" fmla="*/ 0 w 250"/>
                <a:gd name="T9" fmla="*/ 14 h 61"/>
                <a:gd name="T10" fmla="*/ 0 w 250"/>
                <a:gd name="T11" fmla="*/ 9 h 61"/>
                <a:gd name="T12" fmla="*/ 9 w 250"/>
                <a:gd name="T13" fmla="*/ 0 h 61"/>
                <a:gd name="T14" fmla="*/ 241 w 250"/>
                <a:gd name="T15" fmla="*/ 0 h 61"/>
                <a:gd name="T16" fmla="*/ 250 w 250"/>
                <a:gd name="T17" fmla="*/ 9 h 61"/>
                <a:gd name="T18" fmla="*/ 250 w 250"/>
                <a:gd name="T19" fmla="*/ 53 h 61"/>
                <a:gd name="T20" fmla="*/ 241 w 250"/>
                <a:gd name="T2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" h="61">
                  <a:moveTo>
                    <a:pt x="241" y="61"/>
                  </a:moveTo>
                  <a:cubicBezTo>
                    <a:pt x="236" y="61"/>
                    <a:pt x="236" y="61"/>
                    <a:pt x="236" y="61"/>
                  </a:cubicBezTo>
                  <a:cubicBezTo>
                    <a:pt x="236" y="22"/>
                    <a:pt x="236" y="22"/>
                    <a:pt x="236" y="22"/>
                  </a:cubicBezTo>
                  <a:cubicBezTo>
                    <a:pt x="236" y="18"/>
                    <a:pt x="232" y="14"/>
                    <a:pt x="228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6" y="0"/>
                    <a:pt x="250" y="4"/>
                    <a:pt x="250" y="9"/>
                  </a:cubicBezTo>
                  <a:cubicBezTo>
                    <a:pt x="250" y="53"/>
                    <a:pt x="250" y="53"/>
                    <a:pt x="250" y="53"/>
                  </a:cubicBezTo>
                  <a:cubicBezTo>
                    <a:pt x="250" y="58"/>
                    <a:pt x="246" y="61"/>
                    <a:pt x="241" y="61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8"/>
            <p:cNvSpPr>
              <a:spLocks/>
            </p:cNvSpPr>
            <p:nvPr/>
          </p:nvSpPr>
          <p:spPr bwMode="gray">
            <a:xfrm>
              <a:off x="10792125" y="4919983"/>
              <a:ext cx="61913" cy="311150"/>
            </a:xfrm>
            <a:custGeom>
              <a:avLst/>
              <a:gdLst>
                <a:gd name="T0" fmla="*/ 39 w 45"/>
                <a:gd name="T1" fmla="*/ 180 h 226"/>
                <a:gd name="T2" fmla="*/ 33 w 45"/>
                <a:gd name="T3" fmla="*/ 180 h 226"/>
                <a:gd name="T4" fmla="*/ 33 w 45"/>
                <a:gd name="T5" fmla="*/ 0 h 226"/>
                <a:gd name="T6" fmla="*/ 12 w 45"/>
                <a:gd name="T7" fmla="*/ 0 h 226"/>
                <a:gd name="T8" fmla="*/ 12 w 45"/>
                <a:gd name="T9" fmla="*/ 180 h 226"/>
                <a:gd name="T10" fmla="*/ 5 w 45"/>
                <a:gd name="T11" fmla="*/ 180 h 226"/>
                <a:gd name="T12" fmla="*/ 0 w 45"/>
                <a:gd name="T13" fmla="*/ 186 h 226"/>
                <a:gd name="T14" fmla="*/ 0 w 45"/>
                <a:gd name="T15" fmla="*/ 226 h 226"/>
                <a:gd name="T16" fmla="*/ 45 w 45"/>
                <a:gd name="T17" fmla="*/ 226 h 226"/>
                <a:gd name="T18" fmla="*/ 45 w 45"/>
                <a:gd name="T19" fmla="*/ 186 h 226"/>
                <a:gd name="T20" fmla="*/ 39 w 45"/>
                <a:gd name="T21" fmla="*/ 18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" h="226">
                  <a:moveTo>
                    <a:pt x="39" y="180"/>
                  </a:moveTo>
                  <a:cubicBezTo>
                    <a:pt x="33" y="180"/>
                    <a:pt x="33" y="180"/>
                    <a:pt x="33" y="18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80"/>
                    <a:pt x="12" y="180"/>
                    <a:pt x="12" y="180"/>
                  </a:cubicBezTo>
                  <a:cubicBezTo>
                    <a:pt x="5" y="180"/>
                    <a:pt x="5" y="180"/>
                    <a:pt x="5" y="180"/>
                  </a:cubicBezTo>
                  <a:cubicBezTo>
                    <a:pt x="2" y="180"/>
                    <a:pt x="0" y="182"/>
                    <a:pt x="0" y="186"/>
                  </a:cubicBezTo>
                  <a:cubicBezTo>
                    <a:pt x="0" y="226"/>
                    <a:pt x="0" y="226"/>
                    <a:pt x="0" y="226"/>
                  </a:cubicBezTo>
                  <a:cubicBezTo>
                    <a:pt x="45" y="226"/>
                    <a:pt x="45" y="226"/>
                    <a:pt x="45" y="226"/>
                  </a:cubicBezTo>
                  <a:cubicBezTo>
                    <a:pt x="45" y="186"/>
                    <a:pt x="45" y="186"/>
                    <a:pt x="45" y="186"/>
                  </a:cubicBezTo>
                  <a:cubicBezTo>
                    <a:pt x="45" y="182"/>
                    <a:pt x="42" y="180"/>
                    <a:pt x="39" y="180"/>
                  </a:cubicBezTo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9"/>
            <p:cNvSpPr>
              <a:spLocks/>
            </p:cNvSpPr>
            <p:nvPr/>
          </p:nvSpPr>
          <p:spPr bwMode="gray">
            <a:xfrm>
              <a:off x="10827050" y="4919983"/>
              <a:ext cx="26988" cy="311150"/>
            </a:xfrm>
            <a:custGeom>
              <a:avLst/>
              <a:gdLst>
                <a:gd name="T0" fmla="*/ 14 w 20"/>
                <a:gd name="T1" fmla="*/ 180 h 226"/>
                <a:gd name="T2" fmla="*/ 8 w 20"/>
                <a:gd name="T3" fmla="*/ 180 h 226"/>
                <a:gd name="T4" fmla="*/ 8 w 20"/>
                <a:gd name="T5" fmla="*/ 0 h 226"/>
                <a:gd name="T6" fmla="*/ 0 w 20"/>
                <a:gd name="T7" fmla="*/ 0 h 226"/>
                <a:gd name="T8" fmla="*/ 0 w 20"/>
                <a:gd name="T9" fmla="*/ 180 h 226"/>
                <a:gd name="T10" fmla="*/ 6 w 20"/>
                <a:gd name="T11" fmla="*/ 180 h 226"/>
                <a:gd name="T12" fmla="*/ 12 w 20"/>
                <a:gd name="T13" fmla="*/ 186 h 226"/>
                <a:gd name="T14" fmla="*/ 12 w 20"/>
                <a:gd name="T15" fmla="*/ 226 h 226"/>
                <a:gd name="T16" fmla="*/ 20 w 20"/>
                <a:gd name="T17" fmla="*/ 226 h 226"/>
                <a:gd name="T18" fmla="*/ 20 w 20"/>
                <a:gd name="T19" fmla="*/ 186 h 226"/>
                <a:gd name="T20" fmla="*/ 14 w 20"/>
                <a:gd name="T21" fmla="*/ 18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26">
                  <a:moveTo>
                    <a:pt x="14" y="180"/>
                  </a:moveTo>
                  <a:cubicBezTo>
                    <a:pt x="8" y="180"/>
                    <a:pt x="8" y="180"/>
                    <a:pt x="8" y="18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6" y="180"/>
                    <a:pt x="6" y="180"/>
                    <a:pt x="6" y="180"/>
                  </a:cubicBezTo>
                  <a:cubicBezTo>
                    <a:pt x="9" y="180"/>
                    <a:pt x="12" y="182"/>
                    <a:pt x="12" y="186"/>
                  </a:cubicBezTo>
                  <a:cubicBezTo>
                    <a:pt x="12" y="226"/>
                    <a:pt x="12" y="226"/>
                    <a:pt x="12" y="226"/>
                  </a:cubicBezTo>
                  <a:cubicBezTo>
                    <a:pt x="20" y="226"/>
                    <a:pt x="20" y="226"/>
                    <a:pt x="20" y="226"/>
                  </a:cubicBezTo>
                  <a:cubicBezTo>
                    <a:pt x="20" y="186"/>
                    <a:pt x="20" y="186"/>
                    <a:pt x="20" y="186"/>
                  </a:cubicBezTo>
                  <a:cubicBezTo>
                    <a:pt x="20" y="182"/>
                    <a:pt x="17" y="180"/>
                    <a:pt x="14" y="180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60"/>
            <p:cNvSpPr>
              <a:spLocks/>
            </p:cNvSpPr>
            <p:nvPr/>
          </p:nvSpPr>
          <p:spPr bwMode="gray">
            <a:xfrm>
              <a:off x="10792125" y="4919983"/>
              <a:ext cx="25400" cy="311150"/>
            </a:xfrm>
            <a:custGeom>
              <a:avLst/>
              <a:gdLst>
                <a:gd name="T0" fmla="*/ 19 w 19"/>
                <a:gd name="T1" fmla="*/ 0 h 226"/>
                <a:gd name="T2" fmla="*/ 12 w 19"/>
                <a:gd name="T3" fmla="*/ 0 h 226"/>
                <a:gd name="T4" fmla="*/ 12 w 19"/>
                <a:gd name="T5" fmla="*/ 180 h 226"/>
                <a:gd name="T6" fmla="*/ 5 w 19"/>
                <a:gd name="T7" fmla="*/ 180 h 226"/>
                <a:gd name="T8" fmla="*/ 0 w 19"/>
                <a:gd name="T9" fmla="*/ 186 h 226"/>
                <a:gd name="T10" fmla="*/ 0 w 19"/>
                <a:gd name="T11" fmla="*/ 226 h 226"/>
                <a:gd name="T12" fmla="*/ 7 w 19"/>
                <a:gd name="T13" fmla="*/ 226 h 226"/>
                <a:gd name="T14" fmla="*/ 7 w 19"/>
                <a:gd name="T15" fmla="*/ 186 h 226"/>
                <a:gd name="T16" fmla="*/ 13 w 19"/>
                <a:gd name="T17" fmla="*/ 180 h 226"/>
                <a:gd name="T18" fmla="*/ 19 w 19"/>
                <a:gd name="T19" fmla="*/ 180 h 226"/>
                <a:gd name="T20" fmla="*/ 19 w 19"/>
                <a:gd name="T21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226">
                  <a:moveTo>
                    <a:pt x="19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180"/>
                    <a:pt x="12" y="180"/>
                    <a:pt x="12" y="180"/>
                  </a:cubicBezTo>
                  <a:cubicBezTo>
                    <a:pt x="5" y="180"/>
                    <a:pt x="5" y="180"/>
                    <a:pt x="5" y="180"/>
                  </a:cubicBezTo>
                  <a:cubicBezTo>
                    <a:pt x="2" y="180"/>
                    <a:pt x="0" y="182"/>
                    <a:pt x="0" y="186"/>
                  </a:cubicBezTo>
                  <a:cubicBezTo>
                    <a:pt x="0" y="226"/>
                    <a:pt x="0" y="226"/>
                    <a:pt x="0" y="226"/>
                  </a:cubicBezTo>
                  <a:cubicBezTo>
                    <a:pt x="7" y="226"/>
                    <a:pt x="7" y="226"/>
                    <a:pt x="7" y="226"/>
                  </a:cubicBezTo>
                  <a:cubicBezTo>
                    <a:pt x="7" y="186"/>
                    <a:pt x="7" y="186"/>
                    <a:pt x="7" y="186"/>
                  </a:cubicBezTo>
                  <a:cubicBezTo>
                    <a:pt x="7" y="182"/>
                    <a:pt x="10" y="180"/>
                    <a:pt x="13" y="180"/>
                  </a:cubicBezTo>
                  <a:cubicBezTo>
                    <a:pt x="19" y="180"/>
                    <a:pt x="19" y="180"/>
                    <a:pt x="19" y="180"/>
                  </a:cubicBezTo>
                  <a:cubicBezTo>
                    <a:pt x="19" y="0"/>
                    <a:pt x="19" y="0"/>
                    <a:pt x="19" y="0"/>
                  </a:cubicBezTo>
                </a:path>
              </a:pathLst>
            </a:custGeom>
            <a:solidFill>
              <a:srgbClr val="FFC7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61"/>
            <p:cNvSpPr>
              <a:spLocks/>
            </p:cNvSpPr>
            <p:nvPr/>
          </p:nvSpPr>
          <p:spPr bwMode="gray">
            <a:xfrm>
              <a:off x="10068225" y="4172270"/>
              <a:ext cx="242888" cy="239712"/>
            </a:xfrm>
            <a:custGeom>
              <a:avLst/>
              <a:gdLst>
                <a:gd name="T0" fmla="*/ 153 w 153"/>
                <a:gd name="T1" fmla="*/ 98 h 151"/>
                <a:gd name="T2" fmla="*/ 100 w 153"/>
                <a:gd name="T3" fmla="*/ 151 h 151"/>
                <a:gd name="T4" fmla="*/ 0 w 153"/>
                <a:gd name="T5" fmla="*/ 52 h 151"/>
                <a:gd name="T6" fmla="*/ 53 w 153"/>
                <a:gd name="T7" fmla="*/ 0 h 151"/>
                <a:gd name="T8" fmla="*/ 153 w 153"/>
                <a:gd name="T9" fmla="*/ 98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151">
                  <a:moveTo>
                    <a:pt x="153" y="98"/>
                  </a:moveTo>
                  <a:lnTo>
                    <a:pt x="100" y="151"/>
                  </a:lnTo>
                  <a:lnTo>
                    <a:pt x="0" y="52"/>
                  </a:lnTo>
                  <a:lnTo>
                    <a:pt x="53" y="0"/>
                  </a:lnTo>
                  <a:lnTo>
                    <a:pt x="153" y="98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62"/>
            <p:cNvSpPr>
              <a:spLocks/>
            </p:cNvSpPr>
            <p:nvPr/>
          </p:nvSpPr>
          <p:spPr bwMode="gray">
            <a:xfrm>
              <a:off x="9560225" y="3665858"/>
              <a:ext cx="579438" cy="576262"/>
            </a:xfrm>
            <a:custGeom>
              <a:avLst/>
              <a:gdLst>
                <a:gd name="T0" fmla="*/ 415 w 419"/>
                <a:gd name="T1" fmla="*/ 379 h 419"/>
                <a:gd name="T2" fmla="*/ 415 w 419"/>
                <a:gd name="T3" fmla="*/ 392 h 419"/>
                <a:gd name="T4" fmla="*/ 392 w 419"/>
                <a:gd name="T5" fmla="*/ 415 h 419"/>
                <a:gd name="T6" fmla="*/ 380 w 419"/>
                <a:gd name="T7" fmla="*/ 415 h 419"/>
                <a:gd name="T8" fmla="*/ 3 w 419"/>
                <a:gd name="T9" fmla="*/ 39 h 419"/>
                <a:gd name="T10" fmla="*/ 3 w 419"/>
                <a:gd name="T11" fmla="*/ 27 h 419"/>
                <a:gd name="T12" fmla="*/ 27 w 419"/>
                <a:gd name="T13" fmla="*/ 3 h 419"/>
                <a:gd name="T14" fmla="*/ 39 w 419"/>
                <a:gd name="T15" fmla="*/ 3 h 419"/>
                <a:gd name="T16" fmla="*/ 415 w 419"/>
                <a:gd name="T17" fmla="*/ 37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9" h="419">
                  <a:moveTo>
                    <a:pt x="415" y="379"/>
                  </a:moveTo>
                  <a:cubicBezTo>
                    <a:pt x="419" y="383"/>
                    <a:pt x="419" y="388"/>
                    <a:pt x="415" y="392"/>
                  </a:cubicBezTo>
                  <a:cubicBezTo>
                    <a:pt x="392" y="415"/>
                    <a:pt x="392" y="415"/>
                    <a:pt x="392" y="415"/>
                  </a:cubicBezTo>
                  <a:cubicBezTo>
                    <a:pt x="388" y="419"/>
                    <a:pt x="383" y="419"/>
                    <a:pt x="380" y="415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0" y="35"/>
                    <a:pt x="0" y="30"/>
                    <a:pt x="3" y="27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30" y="0"/>
                    <a:pt x="36" y="0"/>
                    <a:pt x="39" y="3"/>
                  </a:cubicBezTo>
                  <a:lnTo>
                    <a:pt x="415" y="37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63"/>
            <p:cNvSpPr>
              <a:spLocks/>
            </p:cNvSpPr>
            <p:nvPr/>
          </p:nvSpPr>
          <p:spPr bwMode="gray">
            <a:xfrm>
              <a:off x="10185700" y="4288158"/>
              <a:ext cx="1066800" cy="1058862"/>
            </a:xfrm>
            <a:custGeom>
              <a:avLst/>
              <a:gdLst>
                <a:gd name="T0" fmla="*/ 672 w 672"/>
                <a:gd name="T1" fmla="*/ 594 h 667"/>
                <a:gd name="T2" fmla="*/ 597 w 672"/>
                <a:gd name="T3" fmla="*/ 667 h 667"/>
                <a:gd name="T4" fmla="*/ 0 w 672"/>
                <a:gd name="T5" fmla="*/ 74 h 667"/>
                <a:gd name="T6" fmla="*/ 74 w 672"/>
                <a:gd name="T7" fmla="*/ 0 h 667"/>
                <a:gd name="T8" fmla="*/ 672 w 672"/>
                <a:gd name="T9" fmla="*/ 594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2" h="667">
                  <a:moveTo>
                    <a:pt x="672" y="594"/>
                  </a:moveTo>
                  <a:lnTo>
                    <a:pt x="597" y="667"/>
                  </a:lnTo>
                  <a:lnTo>
                    <a:pt x="0" y="74"/>
                  </a:lnTo>
                  <a:lnTo>
                    <a:pt x="74" y="0"/>
                  </a:lnTo>
                  <a:lnTo>
                    <a:pt x="672" y="594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64"/>
            <p:cNvSpPr>
              <a:spLocks/>
            </p:cNvSpPr>
            <p:nvPr/>
          </p:nvSpPr>
          <p:spPr bwMode="gray">
            <a:xfrm>
              <a:off x="10055525" y="4159570"/>
              <a:ext cx="109538" cy="106362"/>
            </a:xfrm>
            <a:custGeom>
              <a:avLst/>
              <a:gdLst>
                <a:gd name="T0" fmla="*/ 9 w 79"/>
                <a:gd name="T1" fmla="*/ 77 h 77"/>
                <a:gd name="T2" fmla="*/ 4 w 79"/>
                <a:gd name="T3" fmla="*/ 75 h 77"/>
                <a:gd name="T4" fmla="*/ 4 w 79"/>
                <a:gd name="T5" fmla="*/ 64 h 77"/>
                <a:gd name="T6" fmla="*/ 64 w 79"/>
                <a:gd name="T7" fmla="*/ 3 h 77"/>
                <a:gd name="T8" fmla="*/ 75 w 79"/>
                <a:gd name="T9" fmla="*/ 3 h 77"/>
                <a:gd name="T10" fmla="*/ 75 w 79"/>
                <a:gd name="T11" fmla="*/ 15 h 77"/>
                <a:gd name="T12" fmla="*/ 15 w 79"/>
                <a:gd name="T13" fmla="*/ 75 h 77"/>
                <a:gd name="T14" fmla="*/ 9 w 79"/>
                <a:gd name="T1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9" h="77">
                  <a:moveTo>
                    <a:pt x="9" y="77"/>
                  </a:moveTo>
                  <a:cubicBezTo>
                    <a:pt x="7" y="77"/>
                    <a:pt x="5" y="77"/>
                    <a:pt x="4" y="75"/>
                  </a:cubicBezTo>
                  <a:cubicBezTo>
                    <a:pt x="0" y="72"/>
                    <a:pt x="0" y="67"/>
                    <a:pt x="4" y="64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7" y="0"/>
                    <a:pt x="72" y="0"/>
                    <a:pt x="75" y="3"/>
                  </a:cubicBezTo>
                  <a:cubicBezTo>
                    <a:pt x="79" y="6"/>
                    <a:pt x="79" y="12"/>
                    <a:pt x="75" y="15"/>
                  </a:cubicBezTo>
                  <a:cubicBezTo>
                    <a:pt x="15" y="75"/>
                    <a:pt x="15" y="75"/>
                    <a:pt x="15" y="75"/>
                  </a:cubicBezTo>
                  <a:cubicBezTo>
                    <a:pt x="13" y="77"/>
                    <a:pt x="11" y="77"/>
                    <a:pt x="9" y="77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65"/>
            <p:cNvSpPr>
              <a:spLocks/>
            </p:cNvSpPr>
            <p:nvPr/>
          </p:nvSpPr>
          <p:spPr bwMode="gray">
            <a:xfrm>
              <a:off x="9787237" y="3891283"/>
              <a:ext cx="79375" cy="77787"/>
            </a:xfrm>
            <a:custGeom>
              <a:avLst/>
              <a:gdLst>
                <a:gd name="T0" fmla="*/ 9 w 58"/>
                <a:gd name="T1" fmla="*/ 57 h 57"/>
                <a:gd name="T2" fmla="*/ 3 w 58"/>
                <a:gd name="T3" fmla="*/ 55 h 57"/>
                <a:gd name="T4" fmla="*/ 3 w 58"/>
                <a:gd name="T5" fmla="*/ 44 h 57"/>
                <a:gd name="T6" fmla="*/ 44 w 58"/>
                <a:gd name="T7" fmla="*/ 3 h 57"/>
                <a:gd name="T8" fmla="*/ 55 w 58"/>
                <a:gd name="T9" fmla="*/ 3 h 57"/>
                <a:gd name="T10" fmla="*/ 55 w 58"/>
                <a:gd name="T11" fmla="*/ 14 h 57"/>
                <a:gd name="T12" fmla="*/ 15 w 58"/>
                <a:gd name="T13" fmla="*/ 55 h 57"/>
                <a:gd name="T14" fmla="*/ 9 w 58"/>
                <a:gd name="T15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57">
                  <a:moveTo>
                    <a:pt x="9" y="57"/>
                  </a:moveTo>
                  <a:cubicBezTo>
                    <a:pt x="7" y="57"/>
                    <a:pt x="5" y="56"/>
                    <a:pt x="3" y="55"/>
                  </a:cubicBezTo>
                  <a:cubicBezTo>
                    <a:pt x="0" y="52"/>
                    <a:pt x="0" y="47"/>
                    <a:pt x="3" y="44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7" y="0"/>
                    <a:pt x="52" y="0"/>
                    <a:pt x="55" y="3"/>
                  </a:cubicBezTo>
                  <a:cubicBezTo>
                    <a:pt x="58" y="6"/>
                    <a:pt x="58" y="11"/>
                    <a:pt x="55" y="14"/>
                  </a:cubicBezTo>
                  <a:cubicBezTo>
                    <a:pt x="15" y="55"/>
                    <a:pt x="15" y="55"/>
                    <a:pt x="15" y="55"/>
                  </a:cubicBezTo>
                  <a:cubicBezTo>
                    <a:pt x="13" y="56"/>
                    <a:pt x="11" y="57"/>
                    <a:pt x="9" y="57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66"/>
            <p:cNvSpPr>
              <a:spLocks/>
            </p:cNvSpPr>
            <p:nvPr/>
          </p:nvSpPr>
          <p:spPr bwMode="gray">
            <a:xfrm>
              <a:off x="10168237" y="4270695"/>
              <a:ext cx="153988" cy="150812"/>
            </a:xfrm>
            <a:custGeom>
              <a:avLst/>
              <a:gdLst>
                <a:gd name="T0" fmla="*/ 9 w 111"/>
                <a:gd name="T1" fmla="*/ 110 h 110"/>
                <a:gd name="T2" fmla="*/ 3 w 111"/>
                <a:gd name="T3" fmla="*/ 108 h 110"/>
                <a:gd name="T4" fmla="*/ 3 w 111"/>
                <a:gd name="T5" fmla="*/ 96 h 110"/>
                <a:gd name="T6" fmla="*/ 96 w 111"/>
                <a:gd name="T7" fmla="*/ 3 h 110"/>
                <a:gd name="T8" fmla="*/ 108 w 111"/>
                <a:gd name="T9" fmla="*/ 3 h 110"/>
                <a:gd name="T10" fmla="*/ 108 w 111"/>
                <a:gd name="T11" fmla="*/ 15 h 110"/>
                <a:gd name="T12" fmla="*/ 15 w 111"/>
                <a:gd name="T13" fmla="*/ 108 h 110"/>
                <a:gd name="T14" fmla="*/ 9 w 111"/>
                <a:gd name="T15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1" h="110">
                  <a:moveTo>
                    <a:pt x="9" y="110"/>
                  </a:moveTo>
                  <a:cubicBezTo>
                    <a:pt x="7" y="110"/>
                    <a:pt x="5" y="109"/>
                    <a:pt x="3" y="108"/>
                  </a:cubicBezTo>
                  <a:cubicBezTo>
                    <a:pt x="0" y="104"/>
                    <a:pt x="0" y="99"/>
                    <a:pt x="3" y="96"/>
                  </a:cubicBezTo>
                  <a:cubicBezTo>
                    <a:pt x="96" y="3"/>
                    <a:pt x="96" y="3"/>
                    <a:pt x="96" y="3"/>
                  </a:cubicBezTo>
                  <a:cubicBezTo>
                    <a:pt x="100" y="0"/>
                    <a:pt x="105" y="0"/>
                    <a:pt x="108" y="3"/>
                  </a:cubicBezTo>
                  <a:cubicBezTo>
                    <a:pt x="111" y="6"/>
                    <a:pt x="111" y="11"/>
                    <a:pt x="108" y="15"/>
                  </a:cubicBezTo>
                  <a:cubicBezTo>
                    <a:pt x="15" y="108"/>
                    <a:pt x="15" y="108"/>
                    <a:pt x="15" y="108"/>
                  </a:cubicBezTo>
                  <a:cubicBezTo>
                    <a:pt x="13" y="109"/>
                    <a:pt x="11" y="110"/>
                    <a:pt x="9" y="110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67"/>
            <p:cNvSpPr>
              <a:spLocks/>
            </p:cNvSpPr>
            <p:nvPr/>
          </p:nvSpPr>
          <p:spPr bwMode="gray">
            <a:xfrm>
              <a:off x="10269837" y="4296095"/>
              <a:ext cx="982663" cy="944562"/>
            </a:xfrm>
            <a:custGeom>
              <a:avLst/>
              <a:gdLst>
                <a:gd name="T0" fmla="*/ 619 w 619"/>
                <a:gd name="T1" fmla="*/ 589 h 595"/>
                <a:gd name="T2" fmla="*/ 613 w 619"/>
                <a:gd name="T3" fmla="*/ 595 h 595"/>
                <a:gd name="T4" fmla="*/ 0 w 619"/>
                <a:gd name="T5" fmla="*/ 26 h 595"/>
                <a:gd name="T6" fmla="*/ 27 w 619"/>
                <a:gd name="T7" fmla="*/ 0 h 595"/>
                <a:gd name="T8" fmla="*/ 619 w 619"/>
                <a:gd name="T9" fmla="*/ 589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9" h="595">
                  <a:moveTo>
                    <a:pt x="619" y="589"/>
                  </a:moveTo>
                  <a:lnTo>
                    <a:pt x="613" y="595"/>
                  </a:lnTo>
                  <a:lnTo>
                    <a:pt x="0" y="26"/>
                  </a:lnTo>
                  <a:lnTo>
                    <a:pt x="27" y="0"/>
                  </a:lnTo>
                  <a:lnTo>
                    <a:pt x="619" y="589"/>
                  </a:ln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8"/>
            <p:cNvSpPr>
              <a:spLocks/>
            </p:cNvSpPr>
            <p:nvPr/>
          </p:nvSpPr>
          <p:spPr bwMode="gray">
            <a:xfrm>
              <a:off x="10193637" y="4370708"/>
              <a:ext cx="949325" cy="976312"/>
            </a:xfrm>
            <a:custGeom>
              <a:avLst/>
              <a:gdLst>
                <a:gd name="T0" fmla="*/ 592 w 598"/>
                <a:gd name="T1" fmla="*/ 615 h 615"/>
                <a:gd name="T2" fmla="*/ 598 w 598"/>
                <a:gd name="T3" fmla="*/ 610 h 615"/>
                <a:gd name="T4" fmla="*/ 27 w 598"/>
                <a:gd name="T5" fmla="*/ 0 h 615"/>
                <a:gd name="T6" fmla="*/ 0 w 598"/>
                <a:gd name="T7" fmla="*/ 27 h 615"/>
                <a:gd name="T8" fmla="*/ 592 w 598"/>
                <a:gd name="T9" fmla="*/ 615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8" h="615">
                  <a:moveTo>
                    <a:pt x="592" y="615"/>
                  </a:moveTo>
                  <a:lnTo>
                    <a:pt x="598" y="610"/>
                  </a:lnTo>
                  <a:lnTo>
                    <a:pt x="27" y="0"/>
                  </a:lnTo>
                  <a:lnTo>
                    <a:pt x="0" y="27"/>
                  </a:lnTo>
                  <a:lnTo>
                    <a:pt x="592" y="615"/>
                  </a:ln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9"/>
            <p:cNvSpPr>
              <a:spLocks/>
            </p:cNvSpPr>
            <p:nvPr/>
          </p:nvSpPr>
          <p:spPr bwMode="gray">
            <a:xfrm>
              <a:off x="10615912" y="5231133"/>
              <a:ext cx="665163" cy="93662"/>
            </a:xfrm>
            <a:custGeom>
              <a:avLst/>
              <a:gdLst>
                <a:gd name="T0" fmla="*/ 481 w 481"/>
                <a:gd name="T1" fmla="*/ 14 h 69"/>
                <a:gd name="T2" fmla="*/ 467 w 481"/>
                <a:gd name="T3" fmla="*/ 0 h 69"/>
                <a:gd name="T4" fmla="*/ 15 w 481"/>
                <a:gd name="T5" fmla="*/ 0 h 69"/>
                <a:gd name="T6" fmla="*/ 0 w 481"/>
                <a:gd name="T7" fmla="*/ 14 h 69"/>
                <a:gd name="T8" fmla="*/ 0 w 481"/>
                <a:gd name="T9" fmla="*/ 55 h 69"/>
                <a:gd name="T10" fmla="*/ 15 w 481"/>
                <a:gd name="T11" fmla="*/ 69 h 69"/>
                <a:gd name="T12" fmla="*/ 467 w 481"/>
                <a:gd name="T13" fmla="*/ 69 h 69"/>
                <a:gd name="T14" fmla="*/ 481 w 481"/>
                <a:gd name="T15" fmla="*/ 55 h 69"/>
                <a:gd name="T16" fmla="*/ 481 w 481"/>
                <a:gd name="T17" fmla="*/ 1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1" h="69">
                  <a:moveTo>
                    <a:pt x="481" y="14"/>
                  </a:moveTo>
                  <a:cubicBezTo>
                    <a:pt x="481" y="6"/>
                    <a:pt x="475" y="0"/>
                    <a:pt x="467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6"/>
                    <a:pt x="0" y="14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63"/>
                    <a:pt x="7" y="69"/>
                    <a:pt x="15" y="69"/>
                  </a:cubicBezTo>
                  <a:cubicBezTo>
                    <a:pt x="467" y="69"/>
                    <a:pt x="467" y="69"/>
                    <a:pt x="467" y="69"/>
                  </a:cubicBezTo>
                  <a:cubicBezTo>
                    <a:pt x="475" y="69"/>
                    <a:pt x="481" y="63"/>
                    <a:pt x="481" y="55"/>
                  </a:cubicBezTo>
                  <a:lnTo>
                    <a:pt x="481" y="1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Oval 70"/>
            <p:cNvSpPr>
              <a:spLocks noChangeArrowheads="1"/>
            </p:cNvSpPr>
            <p:nvPr/>
          </p:nvSpPr>
          <p:spPr bwMode="gray">
            <a:xfrm>
              <a:off x="1031270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Oval 71"/>
            <p:cNvSpPr>
              <a:spLocks noChangeArrowheads="1"/>
            </p:cNvSpPr>
            <p:nvPr/>
          </p:nvSpPr>
          <p:spPr bwMode="gray">
            <a:xfrm>
              <a:off x="10695287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72"/>
            <p:cNvSpPr>
              <a:spLocks noChangeArrowheads="1"/>
            </p:cNvSpPr>
            <p:nvPr/>
          </p:nvSpPr>
          <p:spPr bwMode="gray">
            <a:xfrm>
              <a:off x="1098580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Freeform 73"/>
            <p:cNvSpPr>
              <a:spLocks/>
            </p:cNvSpPr>
            <p:nvPr/>
          </p:nvSpPr>
          <p:spPr bwMode="gray">
            <a:xfrm>
              <a:off x="10176175" y="5042220"/>
              <a:ext cx="341313" cy="404812"/>
            </a:xfrm>
            <a:custGeom>
              <a:avLst/>
              <a:gdLst>
                <a:gd name="T0" fmla="*/ 247 w 247"/>
                <a:gd name="T1" fmla="*/ 0 h 295"/>
                <a:gd name="T2" fmla="*/ 66 w 247"/>
                <a:gd name="T3" fmla="*/ 0 h 295"/>
                <a:gd name="T4" fmla="*/ 16 w 247"/>
                <a:gd name="T5" fmla="*/ 295 h 295"/>
                <a:gd name="T6" fmla="*/ 197 w 247"/>
                <a:gd name="T7" fmla="*/ 295 h 295"/>
                <a:gd name="T8" fmla="*/ 247 w 247"/>
                <a:gd name="T9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7" h="295">
                  <a:moveTo>
                    <a:pt x="247" y="0"/>
                  </a:moveTo>
                  <a:cubicBezTo>
                    <a:pt x="193" y="0"/>
                    <a:pt x="97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197" y="295"/>
                    <a:pt x="197" y="295"/>
                    <a:pt x="197" y="295"/>
                  </a:cubicBezTo>
                  <a:cubicBezTo>
                    <a:pt x="197" y="295"/>
                    <a:pt x="181" y="76"/>
                    <a:pt x="247" y="0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Freeform 74"/>
            <p:cNvSpPr>
              <a:spLocks/>
            </p:cNvSpPr>
            <p:nvPr/>
          </p:nvSpPr>
          <p:spPr bwMode="gray">
            <a:xfrm>
              <a:off x="10727037" y="5324795"/>
              <a:ext cx="3175" cy="1587"/>
            </a:xfrm>
            <a:custGeom>
              <a:avLst/>
              <a:gdLst>
                <a:gd name="T0" fmla="*/ 0 w 2"/>
                <a:gd name="T1" fmla="*/ 1 h 1"/>
                <a:gd name="T2" fmla="*/ 2 w 2"/>
                <a:gd name="T3" fmla="*/ 0 h 1"/>
                <a:gd name="T4" fmla="*/ 0 w 2"/>
                <a:gd name="T5" fmla="*/ 0 h 1"/>
                <a:gd name="T6" fmla="*/ 0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1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Freeform 75"/>
            <p:cNvSpPr>
              <a:spLocks/>
            </p:cNvSpPr>
            <p:nvPr/>
          </p:nvSpPr>
          <p:spPr bwMode="gray">
            <a:xfrm>
              <a:off x="10512725" y="5324795"/>
              <a:ext cx="3175" cy="1587"/>
            </a:xfrm>
            <a:custGeom>
              <a:avLst/>
              <a:gdLst>
                <a:gd name="T0" fmla="*/ 0 w 3"/>
                <a:gd name="T1" fmla="*/ 1 h 1"/>
                <a:gd name="T2" fmla="*/ 3 w 3"/>
                <a:gd name="T3" fmla="*/ 0 h 1"/>
                <a:gd name="T4" fmla="*/ 0 w 3"/>
                <a:gd name="T5" fmla="*/ 0 h 1"/>
                <a:gd name="T6" fmla="*/ 0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cubicBezTo>
                    <a:pt x="1" y="0"/>
                    <a:pt x="2" y="0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Freeform 76"/>
            <p:cNvSpPr>
              <a:spLocks/>
            </p:cNvSpPr>
            <p:nvPr/>
          </p:nvSpPr>
          <p:spPr bwMode="gray">
            <a:xfrm>
              <a:off x="10176175" y="5042220"/>
              <a:ext cx="127000" cy="404812"/>
            </a:xfrm>
            <a:custGeom>
              <a:avLst/>
              <a:gdLst>
                <a:gd name="T0" fmla="*/ 92 w 92"/>
                <a:gd name="T1" fmla="*/ 0 h 295"/>
                <a:gd name="T2" fmla="*/ 66 w 92"/>
                <a:gd name="T3" fmla="*/ 0 h 295"/>
                <a:gd name="T4" fmla="*/ 16 w 92"/>
                <a:gd name="T5" fmla="*/ 295 h 295"/>
                <a:gd name="T6" fmla="*/ 42 w 92"/>
                <a:gd name="T7" fmla="*/ 295 h 295"/>
                <a:gd name="T8" fmla="*/ 92 w 92"/>
                <a:gd name="T9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295">
                  <a:moveTo>
                    <a:pt x="92" y="0"/>
                  </a:moveTo>
                  <a:cubicBezTo>
                    <a:pt x="82" y="0"/>
                    <a:pt x="73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42" y="295"/>
                    <a:pt x="42" y="295"/>
                    <a:pt x="42" y="295"/>
                  </a:cubicBezTo>
                  <a:cubicBezTo>
                    <a:pt x="42" y="295"/>
                    <a:pt x="26" y="76"/>
                    <a:pt x="92" y="0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Rectangle 77"/>
            <p:cNvSpPr>
              <a:spLocks noChangeArrowheads="1"/>
            </p:cNvSpPr>
            <p:nvPr/>
          </p:nvSpPr>
          <p:spPr bwMode="gray">
            <a:xfrm>
              <a:off x="9574512" y="3729358"/>
              <a:ext cx="22225" cy="693737"/>
            </a:xfrm>
            <a:prstGeom prst="rect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Freeform 78"/>
            <p:cNvSpPr>
              <a:spLocks/>
            </p:cNvSpPr>
            <p:nvPr/>
          </p:nvSpPr>
          <p:spPr bwMode="gray">
            <a:xfrm>
              <a:off x="10393662" y="5042220"/>
              <a:ext cx="906463" cy="404812"/>
            </a:xfrm>
            <a:custGeom>
              <a:avLst/>
              <a:gdLst>
                <a:gd name="T0" fmla="*/ 642 w 656"/>
                <a:gd name="T1" fmla="*/ 206 h 295"/>
                <a:gd name="T2" fmla="*/ 219 w 656"/>
                <a:gd name="T3" fmla="*/ 206 h 295"/>
                <a:gd name="T4" fmla="*/ 217 w 656"/>
                <a:gd name="T5" fmla="*/ 207 h 295"/>
                <a:gd name="T6" fmla="*/ 217 w 656"/>
                <a:gd name="T7" fmla="*/ 0 h 295"/>
                <a:gd name="T8" fmla="*/ 66 w 656"/>
                <a:gd name="T9" fmla="*/ 0 h 295"/>
                <a:gd name="T10" fmla="*/ 16 w 656"/>
                <a:gd name="T11" fmla="*/ 295 h 295"/>
                <a:gd name="T12" fmla="*/ 642 w 656"/>
                <a:gd name="T13" fmla="*/ 295 h 295"/>
                <a:gd name="T14" fmla="*/ 656 w 656"/>
                <a:gd name="T15" fmla="*/ 281 h 295"/>
                <a:gd name="T16" fmla="*/ 656 w 656"/>
                <a:gd name="T17" fmla="*/ 221 h 295"/>
                <a:gd name="T18" fmla="*/ 642 w 656"/>
                <a:gd name="T19" fmla="*/ 206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6" h="295">
                  <a:moveTo>
                    <a:pt x="642" y="206"/>
                  </a:moveTo>
                  <a:cubicBezTo>
                    <a:pt x="219" y="206"/>
                    <a:pt x="219" y="206"/>
                    <a:pt x="219" y="206"/>
                  </a:cubicBezTo>
                  <a:cubicBezTo>
                    <a:pt x="219" y="206"/>
                    <a:pt x="218" y="206"/>
                    <a:pt x="217" y="207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17" y="0"/>
                    <a:pt x="119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642" y="295"/>
                    <a:pt x="642" y="295"/>
                    <a:pt x="642" y="295"/>
                  </a:cubicBezTo>
                  <a:cubicBezTo>
                    <a:pt x="650" y="295"/>
                    <a:pt x="656" y="289"/>
                    <a:pt x="656" y="281"/>
                  </a:cubicBezTo>
                  <a:cubicBezTo>
                    <a:pt x="656" y="221"/>
                    <a:pt x="656" y="221"/>
                    <a:pt x="656" y="221"/>
                  </a:cubicBezTo>
                  <a:cubicBezTo>
                    <a:pt x="656" y="213"/>
                    <a:pt x="650" y="206"/>
                    <a:pt x="642" y="206"/>
                  </a:cubicBez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Freeform 79"/>
            <p:cNvSpPr>
              <a:spLocks/>
            </p:cNvSpPr>
            <p:nvPr/>
          </p:nvSpPr>
          <p:spPr bwMode="gray">
            <a:xfrm>
              <a:off x="10393662" y="5042220"/>
              <a:ext cx="300038" cy="404812"/>
            </a:xfrm>
            <a:custGeom>
              <a:avLst/>
              <a:gdLst>
                <a:gd name="T0" fmla="*/ 81 w 217"/>
                <a:gd name="T1" fmla="*/ 15 h 295"/>
                <a:gd name="T2" fmla="*/ 217 w 217"/>
                <a:gd name="T3" fmla="*/ 15 h 295"/>
                <a:gd name="T4" fmla="*/ 217 w 217"/>
                <a:gd name="T5" fmla="*/ 0 h 295"/>
                <a:gd name="T6" fmla="*/ 66 w 217"/>
                <a:gd name="T7" fmla="*/ 0 h 295"/>
                <a:gd name="T8" fmla="*/ 16 w 217"/>
                <a:gd name="T9" fmla="*/ 295 h 295"/>
                <a:gd name="T10" fmla="*/ 30 w 217"/>
                <a:gd name="T11" fmla="*/ 295 h 295"/>
                <a:gd name="T12" fmla="*/ 81 w 217"/>
                <a:gd name="T13" fmla="*/ 15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7" h="295">
                  <a:moveTo>
                    <a:pt x="81" y="15"/>
                  </a:moveTo>
                  <a:cubicBezTo>
                    <a:pt x="122" y="15"/>
                    <a:pt x="188" y="15"/>
                    <a:pt x="217" y="15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17" y="0"/>
                    <a:pt x="119" y="0"/>
                    <a:pt x="66" y="0"/>
                  </a:cubicBezTo>
                  <a:cubicBezTo>
                    <a:pt x="0" y="76"/>
                    <a:pt x="16" y="295"/>
                    <a:pt x="16" y="295"/>
                  </a:cubicBezTo>
                  <a:cubicBezTo>
                    <a:pt x="30" y="295"/>
                    <a:pt x="30" y="295"/>
                    <a:pt x="30" y="295"/>
                  </a:cubicBezTo>
                  <a:cubicBezTo>
                    <a:pt x="28" y="244"/>
                    <a:pt x="25" y="79"/>
                    <a:pt x="81" y="15"/>
                  </a:cubicBezTo>
                  <a:close/>
                </a:path>
              </a:pathLst>
            </a:custGeom>
            <a:solidFill>
              <a:srgbClr val="FFCB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Freeform 80"/>
            <p:cNvSpPr>
              <a:spLocks/>
            </p:cNvSpPr>
            <p:nvPr/>
          </p:nvSpPr>
          <p:spPr bwMode="gray">
            <a:xfrm>
              <a:off x="10414300" y="542798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Freeform 81"/>
            <p:cNvSpPr>
              <a:spLocks/>
            </p:cNvSpPr>
            <p:nvPr/>
          </p:nvSpPr>
          <p:spPr bwMode="gray">
            <a:xfrm>
              <a:off x="10414300" y="5432745"/>
              <a:ext cx="0" cy="1587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Freeform 82"/>
            <p:cNvSpPr>
              <a:spLocks/>
            </p:cNvSpPr>
            <p:nvPr/>
          </p:nvSpPr>
          <p:spPr bwMode="gray">
            <a:xfrm>
              <a:off x="10414300" y="544068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Freeform 83"/>
            <p:cNvSpPr>
              <a:spLocks/>
            </p:cNvSpPr>
            <p:nvPr/>
          </p:nvSpPr>
          <p:spPr bwMode="gray">
            <a:xfrm>
              <a:off x="10433350" y="5324795"/>
              <a:ext cx="866775" cy="122237"/>
            </a:xfrm>
            <a:custGeom>
              <a:avLst/>
              <a:gdLst>
                <a:gd name="T0" fmla="*/ 613 w 627"/>
                <a:gd name="T1" fmla="*/ 0 h 89"/>
                <a:gd name="T2" fmla="*/ 613 w 627"/>
                <a:gd name="T3" fmla="*/ 56 h 89"/>
                <a:gd name="T4" fmla="*/ 599 w 627"/>
                <a:gd name="T5" fmla="*/ 71 h 89"/>
                <a:gd name="T6" fmla="*/ 0 w 627"/>
                <a:gd name="T7" fmla="*/ 71 h 89"/>
                <a:gd name="T8" fmla="*/ 1 w 627"/>
                <a:gd name="T9" fmla="*/ 89 h 89"/>
                <a:gd name="T10" fmla="*/ 613 w 627"/>
                <a:gd name="T11" fmla="*/ 89 h 89"/>
                <a:gd name="T12" fmla="*/ 627 w 627"/>
                <a:gd name="T13" fmla="*/ 75 h 89"/>
                <a:gd name="T14" fmla="*/ 627 w 627"/>
                <a:gd name="T15" fmla="*/ 15 h 89"/>
                <a:gd name="T16" fmla="*/ 613 w 627"/>
                <a:gd name="T17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7" h="89">
                  <a:moveTo>
                    <a:pt x="613" y="0"/>
                  </a:moveTo>
                  <a:cubicBezTo>
                    <a:pt x="613" y="56"/>
                    <a:pt x="613" y="56"/>
                    <a:pt x="613" y="56"/>
                  </a:cubicBezTo>
                  <a:cubicBezTo>
                    <a:pt x="613" y="64"/>
                    <a:pt x="607" y="71"/>
                    <a:pt x="599" y="71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78"/>
                    <a:pt x="1" y="84"/>
                    <a:pt x="1" y="89"/>
                  </a:cubicBezTo>
                  <a:cubicBezTo>
                    <a:pt x="613" y="89"/>
                    <a:pt x="613" y="89"/>
                    <a:pt x="613" y="89"/>
                  </a:cubicBezTo>
                  <a:cubicBezTo>
                    <a:pt x="621" y="89"/>
                    <a:pt x="627" y="83"/>
                    <a:pt x="627" y="75"/>
                  </a:cubicBezTo>
                  <a:cubicBezTo>
                    <a:pt x="627" y="15"/>
                    <a:pt x="627" y="15"/>
                    <a:pt x="627" y="15"/>
                  </a:cubicBezTo>
                  <a:cubicBezTo>
                    <a:pt x="627" y="7"/>
                    <a:pt x="621" y="1"/>
                    <a:pt x="613" y="0"/>
                  </a:cubicBezTo>
                  <a:close/>
                </a:path>
              </a:pathLst>
            </a:custGeom>
            <a:solidFill>
              <a:srgbClr val="DB9D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Freeform 84"/>
            <p:cNvSpPr>
              <a:spLocks/>
            </p:cNvSpPr>
            <p:nvPr/>
          </p:nvSpPr>
          <p:spPr bwMode="gray">
            <a:xfrm>
              <a:off x="10452400" y="5086670"/>
              <a:ext cx="203200" cy="238125"/>
            </a:xfrm>
            <a:custGeom>
              <a:avLst/>
              <a:gdLst>
                <a:gd name="T0" fmla="*/ 146 w 146"/>
                <a:gd name="T1" fmla="*/ 174 h 174"/>
                <a:gd name="T2" fmla="*/ 146 w 146"/>
                <a:gd name="T3" fmla="*/ 0 h 174"/>
                <a:gd name="T4" fmla="*/ 40 w 146"/>
                <a:gd name="T5" fmla="*/ 0 h 174"/>
                <a:gd name="T6" fmla="*/ 0 w 146"/>
                <a:gd name="T7" fmla="*/ 174 h 174"/>
                <a:gd name="T8" fmla="*/ 146 w 146"/>
                <a:gd name="T9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6" h="174">
                  <a:moveTo>
                    <a:pt x="146" y="174"/>
                  </a:moveTo>
                  <a:cubicBezTo>
                    <a:pt x="146" y="0"/>
                    <a:pt x="146" y="0"/>
                    <a:pt x="146" y="0"/>
                  </a:cubicBezTo>
                  <a:cubicBezTo>
                    <a:pt x="146" y="0"/>
                    <a:pt x="82" y="0"/>
                    <a:pt x="40" y="0"/>
                  </a:cubicBezTo>
                  <a:cubicBezTo>
                    <a:pt x="8" y="38"/>
                    <a:pt x="0" y="119"/>
                    <a:pt x="0" y="174"/>
                  </a:cubicBezTo>
                  <a:lnTo>
                    <a:pt x="146" y="17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Freeform 85"/>
            <p:cNvSpPr>
              <a:spLocks/>
            </p:cNvSpPr>
            <p:nvPr/>
          </p:nvSpPr>
          <p:spPr bwMode="gray">
            <a:xfrm>
              <a:off x="10452400" y="5086670"/>
              <a:ext cx="203200" cy="238125"/>
            </a:xfrm>
            <a:custGeom>
              <a:avLst/>
              <a:gdLst>
                <a:gd name="T0" fmla="*/ 146 w 146"/>
                <a:gd name="T1" fmla="*/ 174 h 174"/>
                <a:gd name="T2" fmla="*/ 40 w 146"/>
                <a:gd name="T3" fmla="*/ 0 h 174"/>
                <a:gd name="T4" fmla="*/ 0 w 146"/>
                <a:gd name="T5" fmla="*/ 174 h 174"/>
                <a:gd name="T6" fmla="*/ 146 w 146"/>
                <a:gd name="T7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6" h="174">
                  <a:moveTo>
                    <a:pt x="146" y="174"/>
                  </a:moveTo>
                  <a:cubicBezTo>
                    <a:pt x="146" y="174"/>
                    <a:pt x="84" y="73"/>
                    <a:pt x="40" y="0"/>
                  </a:cubicBezTo>
                  <a:cubicBezTo>
                    <a:pt x="8" y="38"/>
                    <a:pt x="0" y="119"/>
                    <a:pt x="0" y="174"/>
                  </a:cubicBezTo>
                  <a:lnTo>
                    <a:pt x="146" y="174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Oval 86"/>
            <p:cNvSpPr>
              <a:spLocks noChangeArrowheads="1"/>
            </p:cNvSpPr>
            <p:nvPr/>
          </p:nvSpPr>
          <p:spPr bwMode="gray">
            <a:xfrm>
              <a:off x="10458750" y="5353370"/>
              <a:ext cx="188913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Oval 87"/>
            <p:cNvSpPr>
              <a:spLocks noChangeArrowheads="1"/>
            </p:cNvSpPr>
            <p:nvPr/>
          </p:nvSpPr>
          <p:spPr bwMode="gray">
            <a:xfrm>
              <a:off x="10503200" y="5396233"/>
              <a:ext cx="100013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Oval 88"/>
            <p:cNvSpPr>
              <a:spLocks noChangeArrowheads="1"/>
            </p:cNvSpPr>
            <p:nvPr/>
          </p:nvSpPr>
          <p:spPr bwMode="gray">
            <a:xfrm>
              <a:off x="11041362" y="5353370"/>
              <a:ext cx="192088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Oval 89"/>
            <p:cNvSpPr>
              <a:spLocks noChangeArrowheads="1"/>
            </p:cNvSpPr>
            <p:nvPr/>
          </p:nvSpPr>
          <p:spPr bwMode="gray">
            <a:xfrm>
              <a:off x="10839750" y="5353370"/>
              <a:ext cx="190500" cy="188912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Freeform 90"/>
            <p:cNvSpPr>
              <a:spLocks/>
            </p:cNvSpPr>
            <p:nvPr/>
          </p:nvSpPr>
          <p:spPr bwMode="gray">
            <a:xfrm>
              <a:off x="10503200" y="5412108"/>
              <a:ext cx="85725" cy="87312"/>
            </a:xfrm>
            <a:custGeom>
              <a:avLst/>
              <a:gdLst>
                <a:gd name="T0" fmla="*/ 37 w 62"/>
                <a:gd name="T1" fmla="*/ 63 h 63"/>
                <a:gd name="T2" fmla="*/ 62 w 62"/>
                <a:gd name="T3" fmla="*/ 52 h 63"/>
                <a:gd name="T4" fmla="*/ 10 w 62"/>
                <a:gd name="T5" fmla="*/ 0 h 63"/>
                <a:gd name="T6" fmla="*/ 0 w 62"/>
                <a:gd name="T7" fmla="*/ 26 h 63"/>
                <a:gd name="T8" fmla="*/ 37 w 62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63">
                  <a:moveTo>
                    <a:pt x="37" y="63"/>
                  </a:moveTo>
                  <a:cubicBezTo>
                    <a:pt x="47" y="63"/>
                    <a:pt x="56" y="59"/>
                    <a:pt x="62" y="5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6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Freeform 91"/>
            <p:cNvSpPr>
              <a:spLocks/>
            </p:cNvSpPr>
            <p:nvPr/>
          </p:nvSpPr>
          <p:spPr bwMode="gray">
            <a:xfrm>
              <a:off x="10241262" y="5359720"/>
              <a:ext cx="120650" cy="15875"/>
            </a:xfrm>
            <a:custGeom>
              <a:avLst/>
              <a:gdLst>
                <a:gd name="T0" fmla="*/ 81 w 87"/>
                <a:gd name="T1" fmla="*/ 12 h 12"/>
                <a:gd name="T2" fmla="*/ 6 w 87"/>
                <a:gd name="T3" fmla="*/ 12 h 12"/>
                <a:gd name="T4" fmla="*/ 0 w 87"/>
                <a:gd name="T5" fmla="*/ 6 h 12"/>
                <a:gd name="T6" fmla="*/ 6 w 87"/>
                <a:gd name="T7" fmla="*/ 0 h 12"/>
                <a:gd name="T8" fmla="*/ 81 w 87"/>
                <a:gd name="T9" fmla="*/ 0 h 12"/>
                <a:gd name="T10" fmla="*/ 87 w 87"/>
                <a:gd name="T11" fmla="*/ 6 h 12"/>
                <a:gd name="T12" fmla="*/ 81 w 8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2">
                  <a:moveTo>
                    <a:pt x="8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4" y="0"/>
                    <a:pt x="87" y="3"/>
                    <a:pt x="87" y="6"/>
                  </a:cubicBezTo>
                  <a:cubicBezTo>
                    <a:pt x="87" y="9"/>
                    <a:pt x="84" y="12"/>
                    <a:pt x="81" y="12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Freeform 92"/>
            <p:cNvSpPr>
              <a:spLocks/>
            </p:cNvSpPr>
            <p:nvPr/>
          </p:nvSpPr>
          <p:spPr bwMode="gray">
            <a:xfrm>
              <a:off x="10241262" y="5396233"/>
              <a:ext cx="120650" cy="17462"/>
            </a:xfrm>
            <a:custGeom>
              <a:avLst/>
              <a:gdLst>
                <a:gd name="T0" fmla="*/ 81 w 87"/>
                <a:gd name="T1" fmla="*/ 12 h 12"/>
                <a:gd name="T2" fmla="*/ 6 w 87"/>
                <a:gd name="T3" fmla="*/ 12 h 12"/>
                <a:gd name="T4" fmla="*/ 0 w 87"/>
                <a:gd name="T5" fmla="*/ 6 h 12"/>
                <a:gd name="T6" fmla="*/ 6 w 87"/>
                <a:gd name="T7" fmla="*/ 0 h 12"/>
                <a:gd name="T8" fmla="*/ 81 w 87"/>
                <a:gd name="T9" fmla="*/ 0 h 12"/>
                <a:gd name="T10" fmla="*/ 87 w 87"/>
                <a:gd name="T11" fmla="*/ 6 h 12"/>
                <a:gd name="T12" fmla="*/ 81 w 8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2">
                  <a:moveTo>
                    <a:pt x="8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4" y="0"/>
                    <a:pt x="87" y="3"/>
                    <a:pt x="87" y="6"/>
                  </a:cubicBezTo>
                  <a:cubicBezTo>
                    <a:pt x="87" y="10"/>
                    <a:pt x="84" y="12"/>
                    <a:pt x="81" y="12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8" name="Freeform 93"/>
            <p:cNvSpPr>
              <a:spLocks/>
            </p:cNvSpPr>
            <p:nvPr/>
          </p:nvSpPr>
          <p:spPr bwMode="gray">
            <a:xfrm>
              <a:off x="10209512" y="5086670"/>
              <a:ext cx="227013" cy="239712"/>
            </a:xfrm>
            <a:custGeom>
              <a:avLst/>
              <a:gdLst>
                <a:gd name="T0" fmla="*/ 31 w 164"/>
                <a:gd name="T1" fmla="*/ 0 h 175"/>
                <a:gd name="T2" fmla="*/ 0 w 164"/>
                <a:gd name="T3" fmla="*/ 175 h 175"/>
                <a:gd name="T4" fmla="*/ 133 w 164"/>
                <a:gd name="T5" fmla="*/ 175 h 175"/>
                <a:gd name="T6" fmla="*/ 164 w 164"/>
                <a:gd name="T7" fmla="*/ 0 h 175"/>
                <a:gd name="T8" fmla="*/ 31 w 164"/>
                <a:gd name="T9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4" h="175">
                  <a:moveTo>
                    <a:pt x="31" y="0"/>
                  </a:moveTo>
                  <a:cubicBezTo>
                    <a:pt x="9" y="49"/>
                    <a:pt x="1" y="119"/>
                    <a:pt x="0" y="175"/>
                  </a:cubicBezTo>
                  <a:cubicBezTo>
                    <a:pt x="133" y="175"/>
                    <a:pt x="133" y="175"/>
                    <a:pt x="133" y="175"/>
                  </a:cubicBezTo>
                  <a:cubicBezTo>
                    <a:pt x="134" y="119"/>
                    <a:pt x="142" y="49"/>
                    <a:pt x="164" y="0"/>
                  </a:cubicBezTo>
                  <a:lnTo>
                    <a:pt x="31" y="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Freeform 94"/>
            <p:cNvSpPr>
              <a:spLocks/>
            </p:cNvSpPr>
            <p:nvPr/>
          </p:nvSpPr>
          <p:spPr bwMode="gray">
            <a:xfrm>
              <a:off x="10209512" y="5086670"/>
              <a:ext cx="185738" cy="239712"/>
            </a:xfrm>
            <a:custGeom>
              <a:avLst/>
              <a:gdLst>
                <a:gd name="T0" fmla="*/ 31 w 134"/>
                <a:gd name="T1" fmla="*/ 0 h 175"/>
                <a:gd name="T2" fmla="*/ 0 w 134"/>
                <a:gd name="T3" fmla="*/ 175 h 175"/>
                <a:gd name="T4" fmla="*/ 133 w 134"/>
                <a:gd name="T5" fmla="*/ 175 h 175"/>
                <a:gd name="T6" fmla="*/ 31 w 134"/>
                <a:gd name="T7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4" h="175">
                  <a:moveTo>
                    <a:pt x="31" y="0"/>
                  </a:moveTo>
                  <a:cubicBezTo>
                    <a:pt x="9" y="49"/>
                    <a:pt x="1" y="119"/>
                    <a:pt x="0" y="175"/>
                  </a:cubicBezTo>
                  <a:cubicBezTo>
                    <a:pt x="133" y="175"/>
                    <a:pt x="133" y="175"/>
                    <a:pt x="133" y="175"/>
                  </a:cubicBezTo>
                  <a:cubicBezTo>
                    <a:pt x="134" y="119"/>
                    <a:pt x="31" y="0"/>
                    <a:pt x="31" y="0"/>
                  </a:cubicBez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Freeform 95"/>
            <p:cNvSpPr>
              <a:spLocks noEditPoints="1"/>
            </p:cNvSpPr>
            <p:nvPr/>
          </p:nvSpPr>
          <p:spPr bwMode="gray">
            <a:xfrm>
              <a:off x="9257012" y="4496120"/>
              <a:ext cx="280988" cy="279400"/>
            </a:xfrm>
            <a:custGeom>
              <a:avLst/>
              <a:gdLst>
                <a:gd name="T0" fmla="*/ 203 w 203"/>
                <a:gd name="T1" fmla="*/ 93 h 203"/>
                <a:gd name="T2" fmla="*/ 187 w 203"/>
                <a:gd name="T3" fmla="*/ 77 h 203"/>
                <a:gd name="T4" fmla="*/ 192 w 203"/>
                <a:gd name="T5" fmla="*/ 54 h 203"/>
                <a:gd name="T6" fmla="*/ 170 w 203"/>
                <a:gd name="T7" fmla="*/ 46 h 203"/>
                <a:gd name="T8" fmla="*/ 167 w 203"/>
                <a:gd name="T9" fmla="*/ 23 h 203"/>
                <a:gd name="T10" fmla="*/ 144 w 203"/>
                <a:gd name="T11" fmla="*/ 25 h 203"/>
                <a:gd name="T12" fmla="*/ 132 w 203"/>
                <a:gd name="T13" fmla="*/ 4 h 203"/>
                <a:gd name="T14" fmla="*/ 111 w 203"/>
                <a:gd name="T15" fmla="*/ 15 h 203"/>
                <a:gd name="T16" fmla="*/ 92 w 203"/>
                <a:gd name="T17" fmla="*/ 0 h 203"/>
                <a:gd name="T18" fmla="*/ 77 w 203"/>
                <a:gd name="T19" fmla="*/ 18 h 203"/>
                <a:gd name="T20" fmla="*/ 54 w 203"/>
                <a:gd name="T21" fmla="*/ 11 h 203"/>
                <a:gd name="T22" fmla="*/ 47 w 203"/>
                <a:gd name="T23" fmla="*/ 33 h 203"/>
                <a:gd name="T24" fmla="*/ 23 w 203"/>
                <a:gd name="T25" fmla="*/ 36 h 203"/>
                <a:gd name="T26" fmla="*/ 24 w 203"/>
                <a:gd name="T27" fmla="*/ 59 h 203"/>
                <a:gd name="T28" fmla="*/ 4 w 203"/>
                <a:gd name="T29" fmla="*/ 71 h 203"/>
                <a:gd name="T30" fmla="*/ 14 w 203"/>
                <a:gd name="T31" fmla="*/ 93 h 203"/>
                <a:gd name="T32" fmla="*/ 0 w 203"/>
                <a:gd name="T33" fmla="*/ 112 h 203"/>
                <a:gd name="T34" fmla="*/ 16 w 203"/>
                <a:gd name="T35" fmla="*/ 127 h 203"/>
                <a:gd name="T36" fmla="*/ 11 w 203"/>
                <a:gd name="T37" fmla="*/ 149 h 203"/>
                <a:gd name="T38" fmla="*/ 32 w 203"/>
                <a:gd name="T39" fmla="*/ 158 h 203"/>
                <a:gd name="T40" fmla="*/ 36 w 203"/>
                <a:gd name="T41" fmla="*/ 180 h 203"/>
                <a:gd name="T42" fmla="*/ 59 w 203"/>
                <a:gd name="T43" fmla="*/ 180 h 203"/>
                <a:gd name="T44" fmla="*/ 71 w 203"/>
                <a:gd name="T45" fmla="*/ 199 h 203"/>
                <a:gd name="T46" fmla="*/ 92 w 203"/>
                <a:gd name="T47" fmla="*/ 191 h 203"/>
                <a:gd name="T48" fmla="*/ 111 w 203"/>
                <a:gd name="T49" fmla="*/ 203 h 203"/>
                <a:gd name="T50" fmla="*/ 127 w 203"/>
                <a:gd name="T51" fmla="*/ 188 h 203"/>
                <a:gd name="T52" fmla="*/ 149 w 203"/>
                <a:gd name="T53" fmla="*/ 192 h 203"/>
                <a:gd name="T54" fmla="*/ 158 w 203"/>
                <a:gd name="T55" fmla="*/ 171 h 203"/>
                <a:gd name="T56" fmla="*/ 180 w 203"/>
                <a:gd name="T57" fmla="*/ 167 h 203"/>
                <a:gd name="T58" fmla="*/ 180 w 203"/>
                <a:gd name="T59" fmla="*/ 144 h 203"/>
                <a:gd name="T60" fmla="*/ 199 w 203"/>
                <a:gd name="T61" fmla="*/ 132 h 203"/>
                <a:gd name="T62" fmla="*/ 190 w 203"/>
                <a:gd name="T63" fmla="*/ 112 h 203"/>
                <a:gd name="T64" fmla="*/ 57 w 203"/>
                <a:gd name="T65" fmla="*/ 58 h 203"/>
                <a:gd name="T66" fmla="*/ 93 w 203"/>
                <a:gd name="T67" fmla="*/ 73 h 203"/>
                <a:gd name="T68" fmla="*/ 39 w 203"/>
                <a:gd name="T69" fmla="*/ 95 h 203"/>
                <a:gd name="T70" fmla="*/ 93 w 203"/>
                <a:gd name="T71" fmla="*/ 166 h 203"/>
                <a:gd name="T72" fmla="*/ 39 w 203"/>
                <a:gd name="T73" fmla="*/ 111 h 203"/>
                <a:gd name="T74" fmla="*/ 93 w 203"/>
                <a:gd name="T75" fmla="*/ 133 h 203"/>
                <a:gd name="T76" fmla="*/ 89 w 203"/>
                <a:gd name="T77" fmla="*/ 102 h 203"/>
                <a:gd name="T78" fmla="*/ 114 w 203"/>
                <a:gd name="T79" fmla="*/ 102 h 203"/>
                <a:gd name="T80" fmla="*/ 89 w 203"/>
                <a:gd name="T81" fmla="*/ 102 h 203"/>
                <a:gd name="T82" fmla="*/ 110 w 203"/>
                <a:gd name="T83" fmla="*/ 166 h 203"/>
                <a:gd name="T84" fmla="*/ 124 w 203"/>
                <a:gd name="T85" fmla="*/ 125 h 203"/>
                <a:gd name="T86" fmla="*/ 165 w 203"/>
                <a:gd name="T87" fmla="*/ 111 h 203"/>
                <a:gd name="T88" fmla="*/ 132 w 203"/>
                <a:gd name="T89" fmla="*/ 95 h 203"/>
                <a:gd name="T90" fmla="*/ 110 w 203"/>
                <a:gd name="T91" fmla="*/ 40 h 203"/>
                <a:gd name="T92" fmla="*/ 165 w 203"/>
                <a:gd name="T93" fmla="*/ 9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3" h="203">
                  <a:moveTo>
                    <a:pt x="203" y="112"/>
                  </a:moveTo>
                  <a:cubicBezTo>
                    <a:pt x="203" y="93"/>
                    <a:pt x="203" y="93"/>
                    <a:pt x="203" y="93"/>
                  </a:cubicBezTo>
                  <a:cubicBezTo>
                    <a:pt x="190" y="93"/>
                    <a:pt x="190" y="93"/>
                    <a:pt x="190" y="93"/>
                  </a:cubicBezTo>
                  <a:cubicBezTo>
                    <a:pt x="189" y="88"/>
                    <a:pt x="188" y="82"/>
                    <a:pt x="187" y="77"/>
                  </a:cubicBezTo>
                  <a:cubicBezTo>
                    <a:pt x="199" y="72"/>
                    <a:pt x="199" y="72"/>
                    <a:pt x="199" y="72"/>
                  </a:cubicBezTo>
                  <a:cubicBezTo>
                    <a:pt x="192" y="54"/>
                    <a:pt x="192" y="54"/>
                    <a:pt x="192" y="54"/>
                  </a:cubicBezTo>
                  <a:cubicBezTo>
                    <a:pt x="179" y="60"/>
                    <a:pt x="179" y="60"/>
                    <a:pt x="179" y="60"/>
                  </a:cubicBezTo>
                  <a:cubicBezTo>
                    <a:pt x="177" y="55"/>
                    <a:pt x="174" y="51"/>
                    <a:pt x="170" y="46"/>
                  </a:cubicBezTo>
                  <a:cubicBezTo>
                    <a:pt x="180" y="36"/>
                    <a:pt x="180" y="36"/>
                    <a:pt x="180" y="36"/>
                  </a:cubicBezTo>
                  <a:cubicBezTo>
                    <a:pt x="167" y="23"/>
                    <a:pt x="167" y="23"/>
                    <a:pt x="167" y="23"/>
                  </a:cubicBezTo>
                  <a:cubicBezTo>
                    <a:pt x="157" y="33"/>
                    <a:pt x="157" y="33"/>
                    <a:pt x="157" y="33"/>
                  </a:cubicBezTo>
                  <a:cubicBezTo>
                    <a:pt x="153" y="30"/>
                    <a:pt x="148" y="27"/>
                    <a:pt x="144" y="25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32" y="4"/>
                    <a:pt x="132" y="4"/>
                    <a:pt x="132" y="4"/>
                  </a:cubicBezTo>
                  <a:cubicBezTo>
                    <a:pt x="127" y="18"/>
                    <a:pt x="127" y="18"/>
                    <a:pt x="127" y="18"/>
                  </a:cubicBezTo>
                  <a:cubicBezTo>
                    <a:pt x="122" y="16"/>
                    <a:pt x="116" y="15"/>
                    <a:pt x="111" y="15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5"/>
                    <a:pt x="92" y="15"/>
                    <a:pt x="92" y="15"/>
                  </a:cubicBezTo>
                  <a:cubicBezTo>
                    <a:pt x="87" y="15"/>
                    <a:pt x="82" y="16"/>
                    <a:pt x="77" y="18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55" y="27"/>
                    <a:pt x="51" y="30"/>
                    <a:pt x="47" y="33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0" y="51"/>
                    <a:pt x="27" y="55"/>
                    <a:pt x="24" y="59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4" y="71"/>
                    <a:pt x="4" y="71"/>
                    <a:pt x="4" y="71"/>
                  </a:cubicBezTo>
                  <a:cubicBezTo>
                    <a:pt x="17" y="77"/>
                    <a:pt x="17" y="77"/>
                    <a:pt x="17" y="77"/>
                  </a:cubicBezTo>
                  <a:cubicBezTo>
                    <a:pt x="15" y="82"/>
                    <a:pt x="14" y="88"/>
                    <a:pt x="14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14" y="112"/>
                    <a:pt x="14" y="112"/>
                    <a:pt x="14" y="112"/>
                  </a:cubicBezTo>
                  <a:cubicBezTo>
                    <a:pt x="14" y="117"/>
                    <a:pt x="15" y="122"/>
                    <a:pt x="16" y="127"/>
                  </a:cubicBezTo>
                  <a:cubicBezTo>
                    <a:pt x="4" y="132"/>
                    <a:pt x="4" y="132"/>
                    <a:pt x="4" y="132"/>
                  </a:cubicBezTo>
                  <a:cubicBezTo>
                    <a:pt x="11" y="149"/>
                    <a:pt x="11" y="149"/>
                    <a:pt x="11" y="149"/>
                  </a:cubicBezTo>
                  <a:cubicBezTo>
                    <a:pt x="23" y="144"/>
                    <a:pt x="23" y="144"/>
                    <a:pt x="23" y="144"/>
                  </a:cubicBezTo>
                  <a:cubicBezTo>
                    <a:pt x="26" y="149"/>
                    <a:pt x="29" y="154"/>
                    <a:pt x="32" y="158"/>
                  </a:cubicBezTo>
                  <a:cubicBezTo>
                    <a:pt x="23" y="167"/>
                    <a:pt x="23" y="167"/>
                    <a:pt x="23" y="167"/>
                  </a:cubicBezTo>
                  <a:cubicBezTo>
                    <a:pt x="36" y="180"/>
                    <a:pt x="36" y="180"/>
                    <a:pt x="36" y="180"/>
                  </a:cubicBezTo>
                  <a:cubicBezTo>
                    <a:pt x="45" y="171"/>
                    <a:pt x="45" y="171"/>
                    <a:pt x="45" y="171"/>
                  </a:cubicBezTo>
                  <a:cubicBezTo>
                    <a:pt x="50" y="175"/>
                    <a:pt x="54" y="178"/>
                    <a:pt x="59" y="180"/>
                  </a:cubicBezTo>
                  <a:cubicBezTo>
                    <a:pt x="54" y="192"/>
                    <a:pt x="54" y="192"/>
                    <a:pt x="54" y="192"/>
                  </a:cubicBezTo>
                  <a:cubicBezTo>
                    <a:pt x="71" y="199"/>
                    <a:pt x="71" y="199"/>
                    <a:pt x="71" y="199"/>
                  </a:cubicBezTo>
                  <a:cubicBezTo>
                    <a:pt x="76" y="188"/>
                    <a:pt x="76" y="188"/>
                    <a:pt x="76" y="188"/>
                  </a:cubicBezTo>
                  <a:cubicBezTo>
                    <a:pt x="81" y="189"/>
                    <a:pt x="87" y="190"/>
                    <a:pt x="92" y="191"/>
                  </a:cubicBezTo>
                  <a:cubicBezTo>
                    <a:pt x="92" y="203"/>
                    <a:pt x="92" y="203"/>
                    <a:pt x="92" y="203"/>
                  </a:cubicBezTo>
                  <a:cubicBezTo>
                    <a:pt x="111" y="203"/>
                    <a:pt x="111" y="203"/>
                    <a:pt x="111" y="203"/>
                  </a:cubicBezTo>
                  <a:cubicBezTo>
                    <a:pt x="111" y="191"/>
                    <a:pt x="111" y="191"/>
                    <a:pt x="111" y="191"/>
                  </a:cubicBezTo>
                  <a:cubicBezTo>
                    <a:pt x="117" y="190"/>
                    <a:pt x="122" y="189"/>
                    <a:pt x="127" y="188"/>
                  </a:cubicBezTo>
                  <a:cubicBezTo>
                    <a:pt x="132" y="199"/>
                    <a:pt x="132" y="199"/>
                    <a:pt x="132" y="199"/>
                  </a:cubicBezTo>
                  <a:cubicBezTo>
                    <a:pt x="149" y="192"/>
                    <a:pt x="149" y="192"/>
                    <a:pt x="149" y="192"/>
                  </a:cubicBezTo>
                  <a:cubicBezTo>
                    <a:pt x="144" y="181"/>
                    <a:pt x="144" y="181"/>
                    <a:pt x="144" y="181"/>
                  </a:cubicBezTo>
                  <a:cubicBezTo>
                    <a:pt x="149" y="178"/>
                    <a:pt x="154" y="175"/>
                    <a:pt x="158" y="171"/>
                  </a:cubicBezTo>
                  <a:cubicBezTo>
                    <a:pt x="167" y="180"/>
                    <a:pt x="167" y="180"/>
                    <a:pt x="167" y="180"/>
                  </a:cubicBezTo>
                  <a:cubicBezTo>
                    <a:pt x="180" y="167"/>
                    <a:pt x="180" y="167"/>
                    <a:pt x="180" y="167"/>
                  </a:cubicBezTo>
                  <a:cubicBezTo>
                    <a:pt x="171" y="158"/>
                    <a:pt x="171" y="158"/>
                    <a:pt x="171" y="158"/>
                  </a:cubicBezTo>
                  <a:cubicBezTo>
                    <a:pt x="175" y="154"/>
                    <a:pt x="178" y="149"/>
                    <a:pt x="180" y="144"/>
                  </a:cubicBezTo>
                  <a:cubicBezTo>
                    <a:pt x="192" y="149"/>
                    <a:pt x="192" y="149"/>
                    <a:pt x="192" y="149"/>
                  </a:cubicBezTo>
                  <a:cubicBezTo>
                    <a:pt x="199" y="132"/>
                    <a:pt x="199" y="132"/>
                    <a:pt x="199" y="132"/>
                  </a:cubicBezTo>
                  <a:cubicBezTo>
                    <a:pt x="187" y="127"/>
                    <a:pt x="187" y="127"/>
                    <a:pt x="187" y="127"/>
                  </a:cubicBezTo>
                  <a:cubicBezTo>
                    <a:pt x="188" y="122"/>
                    <a:pt x="189" y="117"/>
                    <a:pt x="190" y="112"/>
                  </a:cubicBezTo>
                  <a:lnTo>
                    <a:pt x="203" y="112"/>
                  </a:lnTo>
                  <a:close/>
                  <a:moveTo>
                    <a:pt x="57" y="58"/>
                  </a:moveTo>
                  <a:cubicBezTo>
                    <a:pt x="67" y="48"/>
                    <a:pt x="80" y="41"/>
                    <a:pt x="93" y="40"/>
                  </a:cubicBezTo>
                  <a:cubicBezTo>
                    <a:pt x="93" y="73"/>
                    <a:pt x="93" y="73"/>
                    <a:pt x="93" y="73"/>
                  </a:cubicBezTo>
                  <a:cubicBezTo>
                    <a:pt x="83" y="76"/>
                    <a:pt x="75" y="84"/>
                    <a:pt x="72" y="95"/>
                  </a:cubicBezTo>
                  <a:cubicBezTo>
                    <a:pt x="39" y="95"/>
                    <a:pt x="39" y="95"/>
                    <a:pt x="39" y="95"/>
                  </a:cubicBezTo>
                  <a:cubicBezTo>
                    <a:pt x="40" y="81"/>
                    <a:pt x="47" y="68"/>
                    <a:pt x="57" y="58"/>
                  </a:cubicBezTo>
                  <a:close/>
                  <a:moveTo>
                    <a:pt x="93" y="166"/>
                  </a:moveTo>
                  <a:cubicBezTo>
                    <a:pt x="80" y="164"/>
                    <a:pt x="67" y="158"/>
                    <a:pt x="57" y="148"/>
                  </a:cubicBezTo>
                  <a:cubicBezTo>
                    <a:pt x="47" y="138"/>
                    <a:pt x="40" y="125"/>
                    <a:pt x="39" y="111"/>
                  </a:cubicBezTo>
                  <a:cubicBezTo>
                    <a:pt x="72" y="111"/>
                    <a:pt x="72" y="111"/>
                    <a:pt x="72" y="111"/>
                  </a:cubicBezTo>
                  <a:cubicBezTo>
                    <a:pt x="75" y="122"/>
                    <a:pt x="83" y="130"/>
                    <a:pt x="93" y="133"/>
                  </a:cubicBezTo>
                  <a:lnTo>
                    <a:pt x="93" y="166"/>
                  </a:lnTo>
                  <a:close/>
                  <a:moveTo>
                    <a:pt x="89" y="102"/>
                  </a:moveTo>
                  <a:cubicBezTo>
                    <a:pt x="89" y="95"/>
                    <a:pt x="95" y="89"/>
                    <a:pt x="102" y="89"/>
                  </a:cubicBezTo>
                  <a:cubicBezTo>
                    <a:pt x="109" y="89"/>
                    <a:pt x="114" y="95"/>
                    <a:pt x="114" y="102"/>
                  </a:cubicBezTo>
                  <a:cubicBezTo>
                    <a:pt x="114" y="109"/>
                    <a:pt x="109" y="114"/>
                    <a:pt x="102" y="114"/>
                  </a:cubicBezTo>
                  <a:cubicBezTo>
                    <a:pt x="95" y="114"/>
                    <a:pt x="89" y="109"/>
                    <a:pt x="89" y="102"/>
                  </a:cubicBezTo>
                  <a:close/>
                  <a:moveTo>
                    <a:pt x="147" y="148"/>
                  </a:moveTo>
                  <a:cubicBezTo>
                    <a:pt x="137" y="158"/>
                    <a:pt x="124" y="164"/>
                    <a:pt x="110" y="166"/>
                  </a:cubicBezTo>
                  <a:cubicBezTo>
                    <a:pt x="110" y="133"/>
                    <a:pt x="110" y="133"/>
                    <a:pt x="110" y="133"/>
                  </a:cubicBezTo>
                  <a:cubicBezTo>
                    <a:pt x="115" y="131"/>
                    <a:pt x="120" y="129"/>
                    <a:pt x="124" y="125"/>
                  </a:cubicBezTo>
                  <a:cubicBezTo>
                    <a:pt x="128" y="121"/>
                    <a:pt x="130" y="116"/>
                    <a:pt x="132" y="111"/>
                  </a:cubicBezTo>
                  <a:cubicBezTo>
                    <a:pt x="165" y="111"/>
                    <a:pt x="165" y="111"/>
                    <a:pt x="165" y="111"/>
                  </a:cubicBezTo>
                  <a:cubicBezTo>
                    <a:pt x="163" y="125"/>
                    <a:pt x="157" y="138"/>
                    <a:pt x="147" y="148"/>
                  </a:cubicBezTo>
                  <a:close/>
                  <a:moveTo>
                    <a:pt x="132" y="95"/>
                  </a:moveTo>
                  <a:cubicBezTo>
                    <a:pt x="129" y="84"/>
                    <a:pt x="121" y="76"/>
                    <a:pt x="110" y="73"/>
                  </a:cubicBezTo>
                  <a:cubicBezTo>
                    <a:pt x="110" y="40"/>
                    <a:pt x="110" y="40"/>
                    <a:pt x="110" y="40"/>
                  </a:cubicBezTo>
                  <a:cubicBezTo>
                    <a:pt x="124" y="41"/>
                    <a:pt x="137" y="48"/>
                    <a:pt x="147" y="58"/>
                  </a:cubicBezTo>
                  <a:cubicBezTo>
                    <a:pt x="157" y="68"/>
                    <a:pt x="163" y="81"/>
                    <a:pt x="165" y="95"/>
                  </a:cubicBezTo>
                  <a:lnTo>
                    <a:pt x="132" y="95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Freeform 96"/>
            <p:cNvSpPr>
              <a:spLocks noEditPoints="1"/>
            </p:cNvSpPr>
            <p:nvPr/>
          </p:nvSpPr>
          <p:spPr bwMode="gray">
            <a:xfrm>
              <a:off x="9109375" y="4723133"/>
              <a:ext cx="254000" cy="254000"/>
            </a:xfrm>
            <a:custGeom>
              <a:avLst/>
              <a:gdLst>
                <a:gd name="T0" fmla="*/ 184 w 184"/>
                <a:gd name="T1" fmla="*/ 112 h 185"/>
                <a:gd name="T2" fmla="*/ 161 w 184"/>
                <a:gd name="T3" fmla="*/ 89 h 185"/>
                <a:gd name="T4" fmla="*/ 181 w 184"/>
                <a:gd name="T5" fmla="*/ 63 h 185"/>
                <a:gd name="T6" fmla="*/ 150 w 184"/>
                <a:gd name="T7" fmla="*/ 55 h 185"/>
                <a:gd name="T8" fmla="*/ 155 w 184"/>
                <a:gd name="T9" fmla="*/ 22 h 185"/>
                <a:gd name="T10" fmla="*/ 123 w 184"/>
                <a:gd name="T11" fmla="*/ 31 h 185"/>
                <a:gd name="T12" fmla="*/ 111 w 184"/>
                <a:gd name="T13" fmla="*/ 0 h 185"/>
                <a:gd name="T14" fmla="*/ 88 w 184"/>
                <a:gd name="T15" fmla="*/ 23 h 185"/>
                <a:gd name="T16" fmla="*/ 63 w 184"/>
                <a:gd name="T17" fmla="*/ 3 h 185"/>
                <a:gd name="T18" fmla="*/ 54 w 184"/>
                <a:gd name="T19" fmla="*/ 34 h 185"/>
                <a:gd name="T20" fmla="*/ 22 w 184"/>
                <a:gd name="T21" fmla="*/ 29 h 185"/>
                <a:gd name="T22" fmla="*/ 30 w 184"/>
                <a:gd name="T23" fmla="*/ 61 h 185"/>
                <a:gd name="T24" fmla="*/ 0 w 184"/>
                <a:gd name="T25" fmla="*/ 73 h 185"/>
                <a:gd name="T26" fmla="*/ 23 w 184"/>
                <a:gd name="T27" fmla="*/ 96 h 185"/>
                <a:gd name="T28" fmla="*/ 2 w 184"/>
                <a:gd name="T29" fmla="*/ 121 h 185"/>
                <a:gd name="T30" fmla="*/ 34 w 184"/>
                <a:gd name="T31" fmla="*/ 130 h 185"/>
                <a:gd name="T32" fmla="*/ 29 w 184"/>
                <a:gd name="T33" fmla="*/ 162 h 185"/>
                <a:gd name="T34" fmla="*/ 60 w 184"/>
                <a:gd name="T35" fmla="*/ 154 h 185"/>
                <a:gd name="T36" fmla="*/ 72 w 184"/>
                <a:gd name="T37" fmla="*/ 185 h 185"/>
                <a:gd name="T38" fmla="*/ 95 w 184"/>
                <a:gd name="T39" fmla="*/ 161 h 185"/>
                <a:gd name="T40" fmla="*/ 121 w 184"/>
                <a:gd name="T41" fmla="*/ 182 h 185"/>
                <a:gd name="T42" fmla="*/ 129 w 184"/>
                <a:gd name="T43" fmla="*/ 150 h 185"/>
                <a:gd name="T44" fmla="*/ 162 w 184"/>
                <a:gd name="T45" fmla="*/ 156 h 185"/>
                <a:gd name="T46" fmla="*/ 153 w 184"/>
                <a:gd name="T47" fmla="*/ 124 h 185"/>
                <a:gd name="T48" fmla="*/ 184 w 184"/>
                <a:gd name="T49" fmla="*/ 112 h 185"/>
                <a:gd name="T50" fmla="*/ 92 w 184"/>
                <a:gd name="T51" fmla="*/ 115 h 185"/>
                <a:gd name="T52" fmla="*/ 69 w 184"/>
                <a:gd name="T53" fmla="*/ 92 h 185"/>
                <a:gd name="T54" fmla="*/ 92 w 184"/>
                <a:gd name="T55" fmla="*/ 70 h 185"/>
                <a:gd name="T56" fmla="*/ 114 w 184"/>
                <a:gd name="T57" fmla="*/ 92 h 185"/>
                <a:gd name="T58" fmla="*/ 92 w 184"/>
                <a:gd name="T59" fmla="*/ 115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84" h="185">
                  <a:moveTo>
                    <a:pt x="184" y="112"/>
                  </a:moveTo>
                  <a:cubicBezTo>
                    <a:pt x="161" y="89"/>
                    <a:pt x="161" y="89"/>
                    <a:pt x="161" y="89"/>
                  </a:cubicBezTo>
                  <a:cubicBezTo>
                    <a:pt x="181" y="63"/>
                    <a:pt x="181" y="63"/>
                    <a:pt x="181" y="63"/>
                  </a:cubicBezTo>
                  <a:cubicBezTo>
                    <a:pt x="150" y="55"/>
                    <a:pt x="150" y="55"/>
                    <a:pt x="150" y="55"/>
                  </a:cubicBezTo>
                  <a:cubicBezTo>
                    <a:pt x="155" y="22"/>
                    <a:pt x="155" y="22"/>
                    <a:pt x="155" y="22"/>
                  </a:cubicBezTo>
                  <a:cubicBezTo>
                    <a:pt x="123" y="31"/>
                    <a:pt x="123" y="31"/>
                    <a:pt x="123" y="31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88" y="23"/>
                    <a:pt x="88" y="23"/>
                    <a:pt x="88" y="23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54" y="34"/>
                    <a:pt x="54" y="34"/>
                    <a:pt x="54" y="34"/>
                  </a:cubicBezTo>
                  <a:cubicBezTo>
                    <a:pt x="22" y="29"/>
                    <a:pt x="22" y="29"/>
                    <a:pt x="22" y="29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23" y="96"/>
                    <a:pt x="23" y="96"/>
                    <a:pt x="23" y="96"/>
                  </a:cubicBezTo>
                  <a:cubicBezTo>
                    <a:pt x="2" y="121"/>
                    <a:pt x="2" y="121"/>
                    <a:pt x="2" y="121"/>
                  </a:cubicBezTo>
                  <a:cubicBezTo>
                    <a:pt x="34" y="130"/>
                    <a:pt x="34" y="130"/>
                    <a:pt x="34" y="130"/>
                  </a:cubicBezTo>
                  <a:cubicBezTo>
                    <a:pt x="29" y="162"/>
                    <a:pt x="29" y="162"/>
                    <a:pt x="29" y="162"/>
                  </a:cubicBezTo>
                  <a:cubicBezTo>
                    <a:pt x="60" y="154"/>
                    <a:pt x="60" y="154"/>
                    <a:pt x="60" y="154"/>
                  </a:cubicBezTo>
                  <a:cubicBezTo>
                    <a:pt x="72" y="185"/>
                    <a:pt x="72" y="185"/>
                    <a:pt x="72" y="185"/>
                  </a:cubicBezTo>
                  <a:cubicBezTo>
                    <a:pt x="95" y="161"/>
                    <a:pt x="95" y="161"/>
                    <a:pt x="95" y="161"/>
                  </a:cubicBezTo>
                  <a:cubicBezTo>
                    <a:pt x="121" y="182"/>
                    <a:pt x="121" y="182"/>
                    <a:pt x="121" y="182"/>
                  </a:cubicBezTo>
                  <a:cubicBezTo>
                    <a:pt x="129" y="150"/>
                    <a:pt x="129" y="150"/>
                    <a:pt x="129" y="150"/>
                  </a:cubicBezTo>
                  <a:cubicBezTo>
                    <a:pt x="162" y="156"/>
                    <a:pt x="162" y="156"/>
                    <a:pt x="162" y="156"/>
                  </a:cubicBezTo>
                  <a:cubicBezTo>
                    <a:pt x="153" y="124"/>
                    <a:pt x="153" y="124"/>
                    <a:pt x="153" y="124"/>
                  </a:cubicBezTo>
                  <a:lnTo>
                    <a:pt x="184" y="112"/>
                  </a:lnTo>
                  <a:close/>
                  <a:moveTo>
                    <a:pt x="92" y="115"/>
                  </a:moveTo>
                  <a:cubicBezTo>
                    <a:pt x="79" y="115"/>
                    <a:pt x="69" y="105"/>
                    <a:pt x="69" y="92"/>
                  </a:cubicBezTo>
                  <a:cubicBezTo>
                    <a:pt x="69" y="80"/>
                    <a:pt x="79" y="70"/>
                    <a:pt x="92" y="70"/>
                  </a:cubicBezTo>
                  <a:cubicBezTo>
                    <a:pt x="104" y="70"/>
                    <a:pt x="114" y="80"/>
                    <a:pt x="114" y="92"/>
                  </a:cubicBezTo>
                  <a:cubicBezTo>
                    <a:pt x="114" y="105"/>
                    <a:pt x="104" y="115"/>
                    <a:pt x="92" y="115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2" name="Freeform 97"/>
            <p:cNvSpPr>
              <a:spLocks noEditPoints="1"/>
            </p:cNvSpPr>
            <p:nvPr/>
          </p:nvSpPr>
          <p:spPr bwMode="gray">
            <a:xfrm>
              <a:off x="9464975" y="4650108"/>
              <a:ext cx="358775" cy="355600"/>
            </a:xfrm>
            <a:custGeom>
              <a:avLst/>
              <a:gdLst>
                <a:gd name="T0" fmla="*/ 247 w 259"/>
                <a:gd name="T1" fmla="*/ 139 h 259"/>
                <a:gd name="T2" fmla="*/ 228 w 259"/>
                <a:gd name="T3" fmla="*/ 133 h 259"/>
                <a:gd name="T4" fmla="*/ 224 w 259"/>
                <a:gd name="T5" fmla="*/ 103 h 259"/>
                <a:gd name="T6" fmla="*/ 241 w 259"/>
                <a:gd name="T7" fmla="*/ 94 h 259"/>
                <a:gd name="T8" fmla="*/ 247 w 259"/>
                <a:gd name="T9" fmla="*/ 73 h 259"/>
                <a:gd name="T10" fmla="*/ 239 w 259"/>
                <a:gd name="T11" fmla="*/ 59 h 259"/>
                <a:gd name="T12" fmla="*/ 219 w 259"/>
                <a:gd name="T13" fmla="*/ 53 h 259"/>
                <a:gd name="T14" fmla="*/ 202 w 259"/>
                <a:gd name="T15" fmla="*/ 63 h 259"/>
                <a:gd name="T16" fmla="*/ 178 w 259"/>
                <a:gd name="T17" fmla="*/ 44 h 259"/>
                <a:gd name="T18" fmla="*/ 183 w 259"/>
                <a:gd name="T19" fmla="*/ 25 h 259"/>
                <a:gd name="T20" fmla="*/ 173 w 259"/>
                <a:gd name="T21" fmla="*/ 7 h 259"/>
                <a:gd name="T22" fmla="*/ 157 w 259"/>
                <a:gd name="T23" fmla="*/ 2 h 259"/>
                <a:gd name="T24" fmla="*/ 138 w 259"/>
                <a:gd name="T25" fmla="*/ 12 h 259"/>
                <a:gd name="T26" fmla="*/ 133 w 259"/>
                <a:gd name="T27" fmla="*/ 31 h 259"/>
                <a:gd name="T28" fmla="*/ 103 w 259"/>
                <a:gd name="T29" fmla="*/ 35 h 259"/>
                <a:gd name="T30" fmla="*/ 93 w 259"/>
                <a:gd name="T31" fmla="*/ 18 h 259"/>
                <a:gd name="T32" fmla="*/ 73 w 259"/>
                <a:gd name="T33" fmla="*/ 12 h 259"/>
                <a:gd name="T34" fmla="*/ 59 w 259"/>
                <a:gd name="T35" fmla="*/ 20 h 259"/>
                <a:gd name="T36" fmla="*/ 53 w 259"/>
                <a:gd name="T37" fmla="*/ 40 h 259"/>
                <a:gd name="T38" fmla="*/ 63 w 259"/>
                <a:gd name="T39" fmla="*/ 58 h 259"/>
                <a:gd name="T40" fmla="*/ 44 w 259"/>
                <a:gd name="T41" fmla="*/ 81 h 259"/>
                <a:gd name="T42" fmla="*/ 25 w 259"/>
                <a:gd name="T43" fmla="*/ 76 h 259"/>
                <a:gd name="T44" fmla="*/ 7 w 259"/>
                <a:gd name="T45" fmla="*/ 86 h 259"/>
                <a:gd name="T46" fmla="*/ 2 w 259"/>
                <a:gd name="T47" fmla="*/ 103 h 259"/>
                <a:gd name="T48" fmla="*/ 12 w 259"/>
                <a:gd name="T49" fmla="*/ 121 h 259"/>
                <a:gd name="T50" fmla="*/ 31 w 259"/>
                <a:gd name="T51" fmla="*/ 126 h 259"/>
                <a:gd name="T52" fmla="*/ 35 w 259"/>
                <a:gd name="T53" fmla="*/ 156 h 259"/>
                <a:gd name="T54" fmla="*/ 18 w 259"/>
                <a:gd name="T55" fmla="*/ 166 h 259"/>
                <a:gd name="T56" fmla="*/ 12 w 259"/>
                <a:gd name="T57" fmla="*/ 186 h 259"/>
                <a:gd name="T58" fmla="*/ 20 w 259"/>
                <a:gd name="T59" fmla="*/ 201 h 259"/>
                <a:gd name="T60" fmla="*/ 40 w 259"/>
                <a:gd name="T61" fmla="*/ 206 h 259"/>
                <a:gd name="T62" fmla="*/ 58 w 259"/>
                <a:gd name="T63" fmla="*/ 197 h 259"/>
                <a:gd name="T64" fmla="*/ 81 w 259"/>
                <a:gd name="T65" fmla="*/ 215 h 259"/>
                <a:gd name="T66" fmla="*/ 76 w 259"/>
                <a:gd name="T67" fmla="*/ 234 h 259"/>
                <a:gd name="T68" fmla="*/ 86 w 259"/>
                <a:gd name="T69" fmla="*/ 253 h 259"/>
                <a:gd name="T70" fmla="*/ 102 w 259"/>
                <a:gd name="T71" fmla="*/ 257 h 259"/>
                <a:gd name="T72" fmla="*/ 121 w 259"/>
                <a:gd name="T73" fmla="*/ 247 h 259"/>
                <a:gd name="T74" fmla="*/ 126 w 259"/>
                <a:gd name="T75" fmla="*/ 228 h 259"/>
                <a:gd name="T76" fmla="*/ 156 w 259"/>
                <a:gd name="T77" fmla="*/ 224 h 259"/>
                <a:gd name="T78" fmla="*/ 166 w 259"/>
                <a:gd name="T79" fmla="*/ 242 h 259"/>
                <a:gd name="T80" fmla="*/ 186 w 259"/>
                <a:gd name="T81" fmla="*/ 247 h 259"/>
                <a:gd name="T82" fmla="*/ 200 w 259"/>
                <a:gd name="T83" fmla="*/ 239 h 259"/>
                <a:gd name="T84" fmla="*/ 206 w 259"/>
                <a:gd name="T85" fmla="*/ 219 h 259"/>
                <a:gd name="T86" fmla="*/ 197 w 259"/>
                <a:gd name="T87" fmla="*/ 202 h 259"/>
                <a:gd name="T88" fmla="*/ 215 w 259"/>
                <a:gd name="T89" fmla="*/ 178 h 259"/>
                <a:gd name="T90" fmla="*/ 234 w 259"/>
                <a:gd name="T91" fmla="*/ 183 h 259"/>
                <a:gd name="T92" fmla="*/ 252 w 259"/>
                <a:gd name="T93" fmla="*/ 173 h 259"/>
                <a:gd name="T94" fmla="*/ 257 w 259"/>
                <a:gd name="T95" fmla="*/ 157 h 259"/>
                <a:gd name="T96" fmla="*/ 247 w 259"/>
                <a:gd name="T97" fmla="*/ 139 h 259"/>
                <a:gd name="T98" fmla="*/ 116 w 259"/>
                <a:gd name="T99" fmla="*/ 178 h 259"/>
                <a:gd name="T100" fmla="*/ 82 w 259"/>
                <a:gd name="T101" fmla="*/ 116 h 259"/>
                <a:gd name="T102" fmla="*/ 143 w 259"/>
                <a:gd name="T103" fmla="*/ 82 h 259"/>
                <a:gd name="T104" fmla="*/ 177 w 259"/>
                <a:gd name="T105" fmla="*/ 143 h 259"/>
                <a:gd name="T106" fmla="*/ 116 w 259"/>
                <a:gd name="T107" fmla="*/ 178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59" h="259">
                  <a:moveTo>
                    <a:pt x="247" y="139"/>
                  </a:moveTo>
                  <a:cubicBezTo>
                    <a:pt x="228" y="133"/>
                    <a:pt x="228" y="133"/>
                    <a:pt x="228" y="133"/>
                  </a:cubicBezTo>
                  <a:cubicBezTo>
                    <a:pt x="228" y="123"/>
                    <a:pt x="227" y="113"/>
                    <a:pt x="224" y="103"/>
                  </a:cubicBezTo>
                  <a:cubicBezTo>
                    <a:pt x="241" y="94"/>
                    <a:pt x="241" y="94"/>
                    <a:pt x="241" y="94"/>
                  </a:cubicBezTo>
                  <a:cubicBezTo>
                    <a:pt x="249" y="90"/>
                    <a:pt x="251" y="81"/>
                    <a:pt x="247" y="73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5" y="52"/>
                    <a:pt x="226" y="49"/>
                    <a:pt x="219" y="53"/>
                  </a:cubicBezTo>
                  <a:cubicBezTo>
                    <a:pt x="202" y="63"/>
                    <a:pt x="202" y="63"/>
                    <a:pt x="202" y="63"/>
                  </a:cubicBezTo>
                  <a:cubicBezTo>
                    <a:pt x="195" y="55"/>
                    <a:pt x="187" y="49"/>
                    <a:pt x="178" y="44"/>
                  </a:cubicBezTo>
                  <a:cubicBezTo>
                    <a:pt x="183" y="25"/>
                    <a:pt x="183" y="25"/>
                    <a:pt x="183" y="25"/>
                  </a:cubicBezTo>
                  <a:cubicBezTo>
                    <a:pt x="185" y="17"/>
                    <a:pt x="181" y="9"/>
                    <a:pt x="173" y="7"/>
                  </a:cubicBezTo>
                  <a:cubicBezTo>
                    <a:pt x="157" y="2"/>
                    <a:pt x="157" y="2"/>
                    <a:pt x="157" y="2"/>
                  </a:cubicBezTo>
                  <a:cubicBezTo>
                    <a:pt x="149" y="0"/>
                    <a:pt x="141" y="5"/>
                    <a:pt x="138" y="12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23" y="31"/>
                    <a:pt x="113" y="32"/>
                    <a:pt x="103" y="35"/>
                  </a:cubicBezTo>
                  <a:cubicBezTo>
                    <a:pt x="93" y="18"/>
                    <a:pt x="93" y="18"/>
                    <a:pt x="93" y="18"/>
                  </a:cubicBezTo>
                  <a:cubicBezTo>
                    <a:pt x="90" y="11"/>
                    <a:pt x="80" y="8"/>
                    <a:pt x="73" y="12"/>
                  </a:cubicBezTo>
                  <a:cubicBezTo>
                    <a:pt x="59" y="20"/>
                    <a:pt x="59" y="20"/>
                    <a:pt x="59" y="20"/>
                  </a:cubicBezTo>
                  <a:cubicBezTo>
                    <a:pt x="51" y="24"/>
                    <a:pt x="49" y="33"/>
                    <a:pt x="53" y="40"/>
                  </a:cubicBezTo>
                  <a:cubicBezTo>
                    <a:pt x="63" y="58"/>
                    <a:pt x="63" y="58"/>
                    <a:pt x="63" y="58"/>
                  </a:cubicBezTo>
                  <a:cubicBezTo>
                    <a:pt x="55" y="64"/>
                    <a:pt x="49" y="72"/>
                    <a:pt x="44" y="81"/>
                  </a:cubicBezTo>
                  <a:cubicBezTo>
                    <a:pt x="25" y="76"/>
                    <a:pt x="25" y="76"/>
                    <a:pt x="25" y="76"/>
                  </a:cubicBezTo>
                  <a:cubicBezTo>
                    <a:pt x="17" y="74"/>
                    <a:pt x="9" y="78"/>
                    <a:pt x="7" y="86"/>
                  </a:cubicBezTo>
                  <a:cubicBezTo>
                    <a:pt x="2" y="103"/>
                    <a:pt x="2" y="103"/>
                    <a:pt x="2" y="103"/>
                  </a:cubicBezTo>
                  <a:cubicBezTo>
                    <a:pt x="0" y="110"/>
                    <a:pt x="4" y="119"/>
                    <a:pt x="12" y="121"/>
                  </a:cubicBezTo>
                  <a:cubicBezTo>
                    <a:pt x="31" y="126"/>
                    <a:pt x="31" y="126"/>
                    <a:pt x="31" y="126"/>
                  </a:cubicBezTo>
                  <a:cubicBezTo>
                    <a:pt x="31" y="136"/>
                    <a:pt x="32" y="146"/>
                    <a:pt x="35" y="156"/>
                  </a:cubicBezTo>
                  <a:cubicBezTo>
                    <a:pt x="18" y="166"/>
                    <a:pt x="18" y="166"/>
                    <a:pt x="18" y="166"/>
                  </a:cubicBezTo>
                  <a:cubicBezTo>
                    <a:pt x="11" y="170"/>
                    <a:pt x="8" y="179"/>
                    <a:pt x="12" y="186"/>
                  </a:cubicBezTo>
                  <a:cubicBezTo>
                    <a:pt x="20" y="201"/>
                    <a:pt x="20" y="201"/>
                    <a:pt x="20" y="201"/>
                  </a:cubicBezTo>
                  <a:cubicBezTo>
                    <a:pt x="24" y="208"/>
                    <a:pt x="33" y="210"/>
                    <a:pt x="40" y="206"/>
                  </a:cubicBezTo>
                  <a:cubicBezTo>
                    <a:pt x="58" y="197"/>
                    <a:pt x="58" y="197"/>
                    <a:pt x="58" y="197"/>
                  </a:cubicBezTo>
                  <a:cubicBezTo>
                    <a:pt x="64" y="204"/>
                    <a:pt x="72" y="210"/>
                    <a:pt x="81" y="215"/>
                  </a:cubicBezTo>
                  <a:cubicBezTo>
                    <a:pt x="76" y="234"/>
                    <a:pt x="76" y="234"/>
                    <a:pt x="76" y="234"/>
                  </a:cubicBezTo>
                  <a:cubicBezTo>
                    <a:pt x="74" y="242"/>
                    <a:pt x="78" y="250"/>
                    <a:pt x="86" y="253"/>
                  </a:cubicBezTo>
                  <a:cubicBezTo>
                    <a:pt x="102" y="257"/>
                    <a:pt x="102" y="257"/>
                    <a:pt x="102" y="257"/>
                  </a:cubicBezTo>
                  <a:cubicBezTo>
                    <a:pt x="110" y="259"/>
                    <a:pt x="118" y="255"/>
                    <a:pt x="121" y="247"/>
                  </a:cubicBezTo>
                  <a:cubicBezTo>
                    <a:pt x="126" y="228"/>
                    <a:pt x="126" y="228"/>
                    <a:pt x="126" y="228"/>
                  </a:cubicBezTo>
                  <a:cubicBezTo>
                    <a:pt x="136" y="228"/>
                    <a:pt x="146" y="227"/>
                    <a:pt x="156" y="224"/>
                  </a:cubicBezTo>
                  <a:cubicBezTo>
                    <a:pt x="166" y="242"/>
                    <a:pt x="166" y="242"/>
                    <a:pt x="166" y="242"/>
                  </a:cubicBezTo>
                  <a:cubicBezTo>
                    <a:pt x="170" y="249"/>
                    <a:pt x="179" y="251"/>
                    <a:pt x="186" y="247"/>
                  </a:cubicBezTo>
                  <a:cubicBezTo>
                    <a:pt x="200" y="239"/>
                    <a:pt x="200" y="239"/>
                    <a:pt x="200" y="239"/>
                  </a:cubicBezTo>
                  <a:cubicBezTo>
                    <a:pt x="208" y="235"/>
                    <a:pt x="210" y="226"/>
                    <a:pt x="206" y="219"/>
                  </a:cubicBezTo>
                  <a:cubicBezTo>
                    <a:pt x="197" y="202"/>
                    <a:pt x="197" y="202"/>
                    <a:pt x="197" y="202"/>
                  </a:cubicBezTo>
                  <a:cubicBezTo>
                    <a:pt x="204" y="195"/>
                    <a:pt x="210" y="187"/>
                    <a:pt x="215" y="178"/>
                  </a:cubicBezTo>
                  <a:cubicBezTo>
                    <a:pt x="234" y="183"/>
                    <a:pt x="234" y="183"/>
                    <a:pt x="234" y="183"/>
                  </a:cubicBezTo>
                  <a:cubicBezTo>
                    <a:pt x="242" y="185"/>
                    <a:pt x="250" y="181"/>
                    <a:pt x="252" y="173"/>
                  </a:cubicBezTo>
                  <a:cubicBezTo>
                    <a:pt x="257" y="157"/>
                    <a:pt x="257" y="157"/>
                    <a:pt x="257" y="157"/>
                  </a:cubicBezTo>
                  <a:cubicBezTo>
                    <a:pt x="259" y="149"/>
                    <a:pt x="255" y="141"/>
                    <a:pt x="247" y="139"/>
                  </a:cubicBezTo>
                  <a:close/>
                  <a:moveTo>
                    <a:pt x="116" y="178"/>
                  </a:moveTo>
                  <a:cubicBezTo>
                    <a:pt x="90" y="170"/>
                    <a:pt x="74" y="143"/>
                    <a:pt x="82" y="116"/>
                  </a:cubicBezTo>
                  <a:cubicBezTo>
                    <a:pt x="89" y="90"/>
                    <a:pt x="117" y="74"/>
                    <a:pt x="143" y="82"/>
                  </a:cubicBezTo>
                  <a:cubicBezTo>
                    <a:pt x="169" y="89"/>
                    <a:pt x="185" y="117"/>
                    <a:pt x="177" y="143"/>
                  </a:cubicBezTo>
                  <a:cubicBezTo>
                    <a:pt x="170" y="170"/>
                    <a:pt x="142" y="185"/>
                    <a:pt x="116" y="178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3" name="Freeform 98"/>
            <p:cNvSpPr>
              <a:spLocks noEditPoints="1"/>
            </p:cNvSpPr>
            <p:nvPr/>
          </p:nvSpPr>
          <p:spPr bwMode="gray">
            <a:xfrm>
              <a:off x="9818987" y="4658045"/>
              <a:ext cx="227013" cy="228600"/>
            </a:xfrm>
            <a:custGeom>
              <a:avLst/>
              <a:gdLst>
                <a:gd name="T0" fmla="*/ 165 w 165"/>
                <a:gd name="T1" fmla="*/ 75 h 166"/>
                <a:gd name="T2" fmla="*/ 165 w 165"/>
                <a:gd name="T3" fmla="*/ 75 h 166"/>
                <a:gd name="T4" fmla="*/ 151 w 165"/>
                <a:gd name="T5" fmla="*/ 63 h 166"/>
                <a:gd name="T6" fmla="*/ 156 w 165"/>
                <a:gd name="T7" fmla="*/ 44 h 166"/>
                <a:gd name="T8" fmla="*/ 138 w 165"/>
                <a:gd name="T9" fmla="*/ 38 h 166"/>
                <a:gd name="T10" fmla="*/ 136 w 165"/>
                <a:gd name="T11" fmla="*/ 19 h 166"/>
                <a:gd name="T12" fmla="*/ 117 w 165"/>
                <a:gd name="T13" fmla="*/ 20 h 166"/>
                <a:gd name="T14" fmla="*/ 107 w 165"/>
                <a:gd name="T15" fmla="*/ 3 h 166"/>
                <a:gd name="T16" fmla="*/ 90 w 165"/>
                <a:gd name="T17" fmla="*/ 12 h 166"/>
                <a:gd name="T18" fmla="*/ 90 w 165"/>
                <a:gd name="T19" fmla="*/ 0 h 166"/>
                <a:gd name="T20" fmla="*/ 75 w 165"/>
                <a:gd name="T21" fmla="*/ 0 h 166"/>
                <a:gd name="T22" fmla="*/ 62 w 165"/>
                <a:gd name="T23" fmla="*/ 14 h 166"/>
                <a:gd name="T24" fmla="*/ 44 w 165"/>
                <a:gd name="T25" fmla="*/ 9 h 166"/>
                <a:gd name="T26" fmla="*/ 36 w 165"/>
                <a:gd name="T27" fmla="*/ 27 h 166"/>
                <a:gd name="T28" fmla="*/ 18 w 165"/>
                <a:gd name="T29" fmla="*/ 30 h 166"/>
                <a:gd name="T30" fmla="*/ 19 w 165"/>
                <a:gd name="T31" fmla="*/ 48 h 166"/>
                <a:gd name="T32" fmla="*/ 3 w 165"/>
                <a:gd name="T33" fmla="*/ 58 h 166"/>
                <a:gd name="T34" fmla="*/ 10 w 165"/>
                <a:gd name="T35" fmla="*/ 75 h 166"/>
                <a:gd name="T36" fmla="*/ 0 w 165"/>
                <a:gd name="T37" fmla="*/ 75 h 166"/>
                <a:gd name="T38" fmla="*/ 0 w 165"/>
                <a:gd name="T39" fmla="*/ 80 h 166"/>
                <a:gd name="T40" fmla="*/ 0 w 165"/>
                <a:gd name="T41" fmla="*/ 90 h 166"/>
                <a:gd name="T42" fmla="*/ 10 w 165"/>
                <a:gd name="T43" fmla="*/ 90 h 166"/>
                <a:gd name="T44" fmla="*/ 3 w 165"/>
                <a:gd name="T45" fmla="*/ 107 h 166"/>
                <a:gd name="T46" fmla="*/ 18 w 165"/>
                <a:gd name="T47" fmla="*/ 118 h 166"/>
                <a:gd name="T48" fmla="*/ 18 w 165"/>
                <a:gd name="T49" fmla="*/ 136 h 166"/>
                <a:gd name="T50" fmla="*/ 36 w 165"/>
                <a:gd name="T51" fmla="*/ 140 h 166"/>
                <a:gd name="T52" fmla="*/ 44 w 165"/>
                <a:gd name="T53" fmla="*/ 156 h 166"/>
                <a:gd name="T54" fmla="*/ 62 w 165"/>
                <a:gd name="T55" fmla="*/ 153 h 166"/>
                <a:gd name="T56" fmla="*/ 75 w 165"/>
                <a:gd name="T57" fmla="*/ 166 h 166"/>
                <a:gd name="T58" fmla="*/ 90 w 165"/>
                <a:gd name="T59" fmla="*/ 166 h 166"/>
                <a:gd name="T60" fmla="*/ 90 w 165"/>
                <a:gd name="T61" fmla="*/ 155 h 166"/>
                <a:gd name="T62" fmla="*/ 107 w 165"/>
                <a:gd name="T63" fmla="*/ 162 h 166"/>
                <a:gd name="T64" fmla="*/ 117 w 165"/>
                <a:gd name="T65" fmla="*/ 146 h 166"/>
                <a:gd name="T66" fmla="*/ 135 w 165"/>
                <a:gd name="T67" fmla="*/ 147 h 166"/>
                <a:gd name="T68" fmla="*/ 138 w 165"/>
                <a:gd name="T69" fmla="*/ 129 h 166"/>
                <a:gd name="T70" fmla="*/ 156 w 165"/>
                <a:gd name="T71" fmla="*/ 122 h 166"/>
                <a:gd name="T72" fmla="*/ 151 w 165"/>
                <a:gd name="T73" fmla="*/ 103 h 166"/>
                <a:gd name="T74" fmla="*/ 165 w 165"/>
                <a:gd name="T75" fmla="*/ 90 h 166"/>
                <a:gd name="T76" fmla="*/ 133 w 165"/>
                <a:gd name="T77" fmla="*/ 75 h 166"/>
                <a:gd name="T78" fmla="*/ 104 w 165"/>
                <a:gd name="T79" fmla="*/ 71 h 166"/>
                <a:gd name="T80" fmla="*/ 113 w 165"/>
                <a:gd name="T81" fmla="*/ 42 h 166"/>
                <a:gd name="T82" fmla="*/ 90 w 165"/>
                <a:gd name="T83" fmla="*/ 59 h 166"/>
                <a:gd name="T84" fmla="*/ 113 w 165"/>
                <a:gd name="T85" fmla="*/ 42 h 166"/>
                <a:gd name="T86" fmla="*/ 75 w 165"/>
                <a:gd name="T87" fmla="*/ 90 h 166"/>
                <a:gd name="T88" fmla="*/ 90 w 165"/>
                <a:gd name="T89" fmla="*/ 76 h 166"/>
                <a:gd name="T90" fmla="*/ 75 w 165"/>
                <a:gd name="T91" fmla="*/ 32 h 166"/>
                <a:gd name="T92" fmla="*/ 69 w 165"/>
                <a:gd name="T93" fmla="*/ 61 h 166"/>
                <a:gd name="T94" fmla="*/ 75 w 165"/>
                <a:gd name="T95" fmla="*/ 32 h 166"/>
                <a:gd name="T96" fmla="*/ 60 w 165"/>
                <a:gd name="T97" fmla="*/ 71 h 166"/>
                <a:gd name="T98" fmla="*/ 31 w 165"/>
                <a:gd name="T99" fmla="*/ 75 h 166"/>
                <a:gd name="T100" fmla="*/ 41 w 165"/>
                <a:gd name="T101" fmla="*/ 115 h 166"/>
                <a:gd name="T102" fmla="*/ 57 w 165"/>
                <a:gd name="T103" fmla="*/ 90 h 166"/>
                <a:gd name="T104" fmla="*/ 41 w 165"/>
                <a:gd name="T105" fmla="*/ 115 h 166"/>
                <a:gd name="T106" fmla="*/ 69 w 165"/>
                <a:gd name="T107" fmla="*/ 106 h 166"/>
                <a:gd name="T108" fmla="*/ 75 w 165"/>
                <a:gd name="T109" fmla="*/ 135 h 166"/>
                <a:gd name="T110" fmla="*/ 90 w 165"/>
                <a:gd name="T111" fmla="*/ 135 h 166"/>
                <a:gd name="T112" fmla="*/ 94 w 165"/>
                <a:gd name="T113" fmla="*/ 106 h 166"/>
                <a:gd name="T114" fmla="*/ 90 w 165"/>
                <a:gd name="T115" fmla="*/ 135 h 166"/>
                <a:gd name="T116" fmla="*/ 104 w 165"/>
                <a:gd name="T117" fmla="*/ 96 h 166"/>
                <a:gd name="T118" fmla="*/ 133 w 165"/>
                <a:gd name="T119" fmla="*/ 9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5" h="166">
                  <a:moveTo>
                    <a:pt x="165" y="90"/>
                  </a:moveTo>
                  <a:cubicBezTo>
                    <a:pt x="165" y="75"/>
                    <a:pt x="165" y="75"/>
                    <a:pt x="165" y="75"/>
                  </a:cubicBezTo>
                  <a:cubicBezTo>
                    <a:pt x="165" y="75"/>
                    <a:pt x="165" y="75"/>
                    <a:pt x="165" y="75"/>
                  </a:cubicBezTo>
                  <a:cubicBezTo>
                    <a:pt x="165" y="75"/>
                    <a:pt x="165" y="75"/>
                    <a:pt x="165" y="75"/>
                  </a:cubicBezTo>
                  <a:cubicBezTo>
                    <a:pt x="154" y="75"/>
                    <a:pt x="154" y="75"/>
                    <a:pt x="154" y="75"/>
                  </a:cubicBezTo>
                  <a:cubicBezTo>
                    <a:pt x="153" y="71"/>
                    <a:pt x="152" y="67"/>
                    <a:pt x="151" y="63"/>
                  </a:cubicBezTo>
                  <a:cubicBezTo>
                    <a:pt x="162" y="58"/>
                    <a:pt x="162" y="58"/>
                    <a:pt x="162" y="58"/>
                  </a:cubicBezTo>
                  <a:cubicBezTo>
                    <a:pt x="156" y="44"/>
                    <a:pt x="156" y="44"/>
                    <a:pt x="156" y="44"/>
                  </a:cubicBezTo>
                  <a:cubicBezTo>
                    <a:pt x="145" y="49"/>
                    <a:pt x="145" y="49"/>
                    <a:pt x="145" y="49"/>
                  </a:cubicBezTo>
                  <a:cubicBezTo>
                    <a:pt x="143" y="45"/>
                    <a:pt x="141" y="41"/>
                    <a:pt x="138" y="38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36" y="19"/>
                    <a:pt x="136" y="19"/>
                    <a:pt x="136" y="19"/>
                  </a:cubicBezTo>
                  <a:cubicBezTo>
                    <a:pt x="127" y="27"/>
                    <a:pt x="127" y="27"/>
                    <a:pt x="127" y="27"/>
                  </a:cubicBezTo>
                  <a:cubicBezTo>
                    <a:pt x="124" y="25"/>
                    <a:pt x="120" y="22"/>
                    <a:pt x="117" y="20"/>
                  </a:cubicBezTo>
                  <a:cubicBezTo>
                    <a:pt x="121" y="9"/>
                    <a:pt x="121" y="9"/>
                    <a:pt x="121" y="9"/>
                  </a:cubicBezTo>
                  <a:cubicBezTo>
                    <a:pt x="107" y="3"/>
                    <a:pt x="107" y="3"/>
                    <a:pt x="107" y="3"/>
                  </a:cubicBezTo>
                  <a:cubicBezTo>
                    <a:pt x="103" y="14"/>
                    <a:pt x="103" y="14"/>
                    <a:pt x="103" y="14"/>
                  </a:cubicBezTo>
                  <a:cubicBezTo>
                    <a:pt x="99" y="13"/>
                    <a:pt x="94" y="12"/>
                    <a:pt x="90" y="12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5" y="12"/>
                    <a:pt x="75" y="12"/>
                    <a:pt x="75" y="12"/>
                  </a:cubicBezTo>
                  <a:cubicBezTo>
                    <a:pt x="71" y="12"/>
                    <a:pt x="66" y="13"/>
                    <a:pt x="62" y="14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44" y="22"/>
                    <a:pt x="40" y="24"/>
                    <a:pt x="36" y="27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3" y="41"/>
                    <a:pt x="21" y="45"/>
                    <a:pt x="19" y="48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11" y="66"/>
                    <a:pt x="11" y="71"/>
                    <a:pt x="1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0" y="95"/>
                    <a:pt x="11" y="99"/>
                    <a:pt x="12" y="103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9" y="121"/>
                    <a:pt x="9" y="121"/>
                    <a:pt x="9" y="121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20" y="122"/>
                    <a:pt x="23" y="125"/>
                    <a:pt x="26" y="129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29" y="147"/>
                    <a:pt x="29" y="147"/>
                    <a:pt x="29" y="147"/>
                  </a:cubicBezTo>
                  <a:cubicBezTo>
                    <a:pt x="36" y="140"/>
                    <a:pt x="36" y="140"/>
                    <a:pt x="36" y="140"/>
                  </a:cubicBezTo>
                  <a:cubicBezTo>
                    <a:pt x="40" y="142"/>
                    <a:pt x="44" y="145"/>
                    <a:pt x="48" y="147"/>
                  </a:cubicBezTo>
                  <a:cubicBezTo>
                    <a:pt x="44" y="156"/>
                    <a:pt x="44" y="156"/>
                    <a:pt x="44" y="156"/>
                  </a:cubicBezTo>
                  <a:cubicBezTo>
                    <a:pt x="58" y="162"/>
                    <a:pt x="58" y="162"/>
                    <a:pt x="58" y="162"/>
                  </a:cubicBezTo>
                  <a:cubicBezTo>
                    <a:pt x="62" y="153"/>
                    <a:pt x="62" y="153"/>
                    <a:pt x="62" y="153"/>
                  </a:cubicBezTo>
                  <a:cubicBezTo>
                    <a:pt x="66" y="154"/>
                    <a:pt x="70" y="155"/>
                    <a:pt x="75" y="155"/>
                  </a:cubicBezTo>
                  <a:cubicBezTo>
                    <a:pt x="75" y="166"/>
                    <a:pt x="75" y="166"/>
                    <a:pt x="75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55"/>
                    <a:pt x="90" y="155"/>
                    <a:pt x="90" y="155"/>
                  </a:cubicBezTo>
                  <a:cubicBezTo>
                    <a:pt x="94" y="155"/>
                    <a:pt x="99" y="154"/>
                    <a:pt x="103" y="152"/>
                  </a:cubicBezTo>
                  <a:cubicBezTo>
                    <a:pt x="107" y="162"/>
                    <a:pt x="107" y="162"/>
                    <a:pt x="107" y="162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17" y="146"/>
                    <a:pt x="117" y="146"/>
                    <a:pt x="117" y="146"/>
                  </a:cubicBezTo>
                  <a:cubicBezTo>
                    <a:pt x="121" y="144"/>
                    <a:pt x="124" y="142"/>
                    <a:pt x="127" y="140"/>
                  </a:cubicBezTo>
                  <a:cubicBezTo>
                    <a:pt x="135" y="147"/>
                    <a:pt x="135" y="147"/>
                    <a:pt x="135" y="147"/>
                  </a:cubicBezTo>
                  <a:cubicBezTo>
                    <a:pt x="146" y="137"/>
                    <a:pt x="146" y="137"/>
                    <a:pt x="146" y="137"/>
                  </a:cubicBezTo>
                  <a:cubicBezTo>
                    <a:pt x="138" y="129"/>
                    <a:pt x="138" y="129"/>
                    <a:pt x="138" y="129"/>
                  </a:cubicBezTo>
                  <a:cubicBezTo>
                    <a:pt x="141" y="125"/>
                    <a:pt x="143" y="121"/>
                    <a:pt x="146" y="117"/>
                  </a:cubicBezTo>
                  <a:cubicBezTo>
                    <a:pt x="156" y="122"/>
                    <a:pt x="156" y="122"/>
                    <a:pt x="156" y="122"/>
                  </a:cubicBezTo>
                  <a:cubicBezTo>
                    <a:pt x="162" y="108"/>
                    <a:pt x="162" y="108"/>
                    <a:pt x="162" y="108"/>
                  </a:cubicBezTo>
                  <a:cubicBezTo>
                    <a:pt x="151" y="103"/>
                    <a:pt x="151" y="103"/>
                    <a:pt x="151" y="103"/>
                  </a:cubicBezTo>
                  <a:cubicBezTo>
                    <a:pt x="152" y="99"/>
                    <a:pt x="153" y="95"/>
                    <a:pt x="154" y="90"/>
                  </a:cubicBezTo>
                  <a:lnTo>
                    <a:pt x="165" y="90"/>
                  </a:lnTo>
                  <a:close/>
                  <a:moveTo>
                    <a:pt x="123" y="52"/>
                  </a:moveTo>
                  <a:cubicBezTo>
                    <a:pt x="128" y="59"/>
                    <a:pt x="132" y="67"/>
                    <a:pt x="133" y="75"/>
                  </a:cubicBezTo>
                  <a:cubicBezTo>
                    <a:pt x="106" y="75"/>
                    <a:pt x="106" y="75"/>
                    <a:pt x="106" y="75"/>
                  </a:cubicBezTo>
                  <a:cubicBezTo>
                    <a:pt x="105" y="74"/>
                    <a:pt x="105" y="72"/>
                    <a:pt x="104" y="71"/>
                  </a:cubicBezTo>
                  <a:lnTo>
                    <a:pt x="123" y="52"/>
                  </a:lnTo>
                  <a:close/>
                  <a:moveTo>
                    <a:pt x="113" y="42"/>
                  </a:moveTo>
                  <a:cubicBezTo>
                    <a:pt x="94" y="61"/>
                    <a:pt x="94" y="61"/>
                    <a:pt x="94" y="61"/>
                  </a:cubicBezTo>
                  <a:cubicBezTo>
                    <a:pt x="93" y="61"/>
                    <a:pt x="92" y="60"/>
                    <a:pt x="90" y="59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9" y="34"/>
                    <a:pt x="107" y="37"/>
                    <a:pt x="113" y="42"/>
                  </a:cubicBezTo>
                  <a:close/>
                  <a:moveTo>
                    <a:pt x="90" y="90"/>
                  </a:moveTo>
                  <a:cubicBezTo>
                    <a:pt x="86" y="94"/>
                    <a:pt x="79" y="94"/>
                    <a:pt x="75" y="90"/>
                  </a:cubicBezTo>
                  <a:cubicBezTo>
                    <a:pt x="71" y="86"/>
                    <a:pt x="71" y="80"/>
                    <a:pt x="75" y="76"/>
                  </a:cubicBezTo>
                  <a:cubicBezTo>
                    <a:pt x="79" y="72"/>
                    <a:pt x="86" y="72"/>
                    <a:pt x="90" y="76"/>
                  </a:cubicBezTo>
                  <a:cubicBezTo>
                    <a:pt x="94" y="80"/>
                    <a:pt x="94" y="86"/>
                    <a:pt x="90" y="90"/>
                  </a:cubicBezTo>
                  <a:close/>
                  <a:moveTo>
                    <a:pt x="75" y="32"/>
                  </a:moveTo>
                  <a:cubicBezTo>
                    <a:pt x="75" y="59"/>
                    <a:pt x="75" y="59"/>
                    <a:pt x="75" y="59"/>
                  </a:cubicBezTo>
                  <a:cubicBezTo>
                    <a:pt x="73" y="60"/>
                    <a:pt x="71" y="60"/>
                    <a:pt x="69" y="61"/>
                  </a:cubicBezTo>
                  <a:cubicBezTo>
                    <a:pt x="50" y="42"/>
                    <a:pt x="50" y="42"/>
                    <a:pt x="50" y="42"/>
                  </a:cubicBezTo>
                  <a:cubicBezTo>
                    <a:pt x="57" y="37"/>
                    <a:pt x="66" y="33"/>
                    <a:pt x="75" y="32"/>
                  </a:cubicBezTo>
                  <a:close/>
                  <a:moveTo>
                    <a:pt x="41" y="52"/>
                  </a:moveTo>
                  <a:cubicBezTo>
                    <a:pt x="60" y="71"/>
                    <a:pt x="60" y="71"/>
                    <a:pt x="60" y="71"/>
                  </a:cubicBezTo>
                  <a:cubicBezTo>
                    <a:pt x="59" y="72"/>
                    <a:pt x="58" y="74"/>
                    <a:pt x="58" y="75"/>
                  </a:cubicBezTo>
                  <a:cubicBezTo>
                    <a:pt x="31" y="75"/>
                    <a:pt x="31" y="75"/>
                    <a:pt x="31" y="75"/>
                  </a:cubicBezTo>
                  <a:cubicBezTo>
                    <a:pt x="32" y="67"/>
                    <a:pt x="35" y="59"/>
                    <a:pt x="41" y="52"/>
                  </a:cubicBezTo>
                  <a:close/>
                  <a:moveTo>
                    <a:pt x="41" y="115"/>
                  </a:moveTo>
                  <a:cubicBezTo>
                    <a:pt x="35" y="108"/>
                    <a:pt x="32" y="99"/>
                    <a:pt x="30" y="9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8" y="92"/>
                    <a:pt x="59" y="94"/>
                    <a:pt x="60" y="96"/>
                  </a:cubicBezTo>
                  <a:lnTo>
                    <a:pt x="41" y="115"/>
                  </a:lnTo>
                  <a:close/>
                  <a:moveTo>
                    <a:pt x="50" y="125"/>
                  </a:moveTo>
                  <a:cubicBezTo>
                    <a:pt x="69" y="106"/>
                    <a:pt x="69" y="106"/>
                    <a:pt x="69" y="106"/>
                  </a:cubicBezTo>
                  <a:cubicBezTo>
                    <a:pt x="71" y="107"/>
                    <a:pt x="73" y="107"/>
                    <a:pt x="75" y="108"/>
                  </a:cubicBezTo>
                  <a:cubicBezTo>
                    <a:pt x="75" y="135"/>
                    <a:pt x="75" y="135"/>
                    <a:pt x="75" y="135"/>
                  </a:cubicBezTo>
                  <a:cubicBezTo>
                    <a:pt x="66" y="134"/>
                    <a:pt x="57" y="130"/>
                    <a:pt x="50" y="125"/>
                  </a:cubicBezTo>
                  <a:close/>
                  <a:moveTo>
                    <a:pt x="90" y="135"/>
                  </a:moveTo>
                  <a:cubicBezTo>
                    <a:pt x="90" y="107"/>
                    <a:pt x="90" y="107"/>
                    <a:pt x="90" y="107"/>
                  </a:cubicBezTo>
                  <a:cubicBezTo>
                    <a:pt x="92" y="107"/>
                    <a:pt x="93" y="106"/>
                    <a:pt x="94" y="106"/>
                  </a:cubicBezTo>
                  <a:cubicBezTo>
                    <a:pt x="113" y="125"/>
                    <a:pt x="113" y="125"/>
                    <a:pt x="113" y="125"/>
                  </a:cubicBezTo>
                  <a:cubicBezTo>
                    <a:pt x="107" y="130"/>
                    <a:pt x="99" y="133"/>
                    <a:pt x="90" y="135"/>
                  </a:cubicBezTo>
                  <a:close/>
                  <a:moveTo>
                    <a:pt x="123" y="115"/>
                  </a:moveTo>
                  <a:cubicBezTo>
                    <a:pt x="104" y="96"/>
                    <a:pt x="104" y="96"/>
                    <a:pt x="104" y="96"/>
                  </a:cubicBezTo>
                  <a:cubicBezTo>
                    <a:pt x="105" y="94"/>
                    <a:pt x="106" y="92"/>
                    <a:pt x="106" y="90"/>
                  </a:cubicBezTo>
                  <a:cubicBezTo>
                    <a:pt x="133" y="90"/>
                    <a:pt x="133" y="90"/>
                    <a:pt x="133" y="90"/>
                  </a:cubicBezTo>
                  <a:cubicBezTo>
                    <a:pt x="132" y="99"/>
                    <a:pt x="129" y="108"/>
                    <a:pt x="123" y="115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4" name="Freeform 99"/>
            <p:cNvSpPr>
              <a:spLocks/>
            </p:cNvSpPr>
            <p:nvPr/>
          </p:nvSpPr>
          <p:spPr bwMode="gray">
            <a:xfrm>
              <a:off x="9061750" y="4907283"/>
              <a:ext cx="1035050" cy="211137"/>
            </a:xfrm>
            <a:custGeom>
              <a:avLst/>
              <a:gdLst>
                <a:gd name="T0" fmla="*/ 3 w 748"/>
                <a:gd name="T1" fmla="*/ 0 h 153"/>
                <a:gd name="T2" fmla="*/ 0 w 748"/>
                <a:gd name="T3" fmla="*/ 26 h 153"/>
                <a:gd name="T4" fmla="*/ 127 w 748"/>
                <a:gd name="T5" fmla="*/ 153 h 153"/>
                <a:gd name="T6" fmla="*/ 621 w 748"/>
                <a:gd name="T7" fmla="*/ 153 h 153"/>
                <a:gd name="T8" fmla="*/ 748 w 748"/>
                <a:gd name="T9" fmla="*/ 26 h 153"/>
                <a:gd name="T10" fmla="*/ 745 w 748"/>
                <a:gd name="T11" fmla="*/ 0 h 153"/>
                <a:gd name="T12" fmla="*/ 3 w 748"/>
                <a:gd name="T13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8" h="153">
                  <a:moveTo>
                    <a:pt x="3" y="0"/>
                  </a:moveTo>
                  <a:cubicBezTo>
                    <a:pt x="1" y="9"/>
                    <a:pt x="0" y="17"/>
                    <a:pt x="0" y="26"/>
                  </a:cubicBezTo>
                  <a:cubicBezTo>
                    <a:pt x="0" y="96"/>
                    <a:pt x="57" y="153"/>
                    <a:pt x="127" y="153"/>
                  </a:cubicBezTo>
                  <a:cubicBezTo>
                    <a:pt x="621" y="153"/>
                    <a:pt x="621" y="153"/>
                    <a:pt x="621" y="153"/>
                  </a:cubicBezTo>
                  <a:cubicBezTo>
                    <a:pt x="691" y="153"/>
                    <a:pt x="748" y="96"/>
                    <a:pt x="748" y="26"/>
                  </a:cubicBezTo>
                  <a:cubicBezTo>
                    <a:pt x="748" y="17"/>
                    <a:pt x="747" y="9"/>
                    <a:pt x="745" y="0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5" name="Freeform 100"/>
            <p:cNvSpPr>
              <a:spLocks/>
            </p:cNvSpPr>
            <p:nvPr/>
          </p:nvSpPr>
          <p:spPr bwMode="gray">
            <a:xfrm>
              <a:off x="9101437" y="4907283"/>
              <a:ext cx="995363" cy="211137"/>
            </a:xfrm>
            <a:custGeom>
              <a:avLst/>
              <a:gdLst>
                <a:gd name="T0" fmla="*/ 716 w 719"/>
                <a:gd name="T1" fmla="*/ 0 h 153"/>
                <a:gd name="T2" fmla="*/ 700 w 719"/>
                <a:gd name="T3" fmla="*/ 0 h 153"/>
                <a:gd name="T4" fmla="*/ 701 w 719"/>
                <a:gd name="T5" fmla="*/ 8 h 153"/>
                <a:gd name="T6" fmla="*/ 573 w 719"/>
                <a:gd name="T7" fmla="*/ 135 h 153"/>
                <a:gd name="T8" fmla="*/ 80 w 719"/>
                <a:gd name="T9" fmla="*/ 135 h 153"/>
                <a:gd name="T10" fmla="*/ 0 w 719"/>
                <a:gd name="T11" fmla="*/ 106 h 153"/>
                <a:gd name="T12" fmla="*/ 98 w 719"/>
                <a:gd name="T13" fmla="*/ 153 h 153"/>
                <a:gd name="T14" fmla="*/ 592 w 719"/>
                <a:gd name="T15" fmla="*/ 153 h 153"/>
                <a:gd name="T16" fmla="*/ 719 w 719"/>
                <a:gd name="T17" fmla="*/ 26 h 153"/>
                <a:gd name="T18" fmla="*/ 716 w 719"/>
                <a:gd name="T19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19" h="153">
                  <a:moveTo>
                    <a:pt x="716" y="0"/>
                  </a:moveTo>
                  <a:cubicBezTo>
                    <a:pt x="700" y="0"/>
                    <a:pt x="700" y="0"/>
                    <a:pt x="700" y="0"/>
                  </a:cubicBezTo>
                  <a:cubicBezTo>
                    <a:pt x="701" y="3"/>
                    <a:pt x="701" y="5"/>
                    <a:pt x="701" y="8"/>
                  </a:cubicBezTo>
                  <a:cubicBezTo>
                    <a:pt x="701" y="78"/>
                    <a:pt x="644" y="135"/>
                    <a:pt x="573" y="135"/>
                  </a:cubicBezTo>
                  <a:cubicBezTo>
                    <a:pt x="80" y="135"/>
                    <a:pt x="80" y="135"/>
                    <a:pt x="80" y="135"/>
                  </a:cubicBezTo>
                  <a:cubicBezTo>
                    <a:pt x="50" y="135"/>
                    <a:pt x="22" y="124"/>
                    <a:pt x="0" y="106"/>
                  </a:cubicBezTo>
                  <a:cubicBezTo>
                    <a:pt x="23" y="135"/>
                    <a:pt x="59" y="153"/>
                    <a:pt x="98" y="153"/>
                  </a:cubicBezTo>
                  <a:cubicBezTo>
                    <a:pt x="592" y="153"/>
                    <a:pt x="592" y="153"/>
                    <a:pt x="592" y="153"/>
                  </a:cubicBezTo>
                  <a:cubicBezTo>
                    <a:pt x="662" y="153"/>
                    <a:pt x="719" y="96"/>
                    <a:pt x="719" y="26"/>
                  </a:cubicBezTo>
                  <a:cubicBezTo>
                    <a:pt x="719" y="17"/>
                    <a:pt x="718" y="9"/>
                    <a:pt x="716" y="0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6" name="Freeform 101"/>
            <p:cNvSpPr>
              <a:spLocks/>
            </p:cNvSpPr>
            <p:nvPr/>
          </p:nvSpPr>
          <p:spPr bwMode="gray">
            <a:xfrm>
              <a:off x="9064925" y="4192908"/>
              <a:ext cx="1028700" cy="377825"/>
            </a:xfrm>
            <a:custGeom>
              <a:avLst/>
              <a:gdLst>
                <a:gd name="T0" fmla="*/ 744 w 744"/>
                <a:gd name="T1" fmla="*/ 274 h 274"/>
                <a:gd name="T2" fmla="*/ 621 w 744"/>
                <a:gd name="T3" fmla="*/ 173 h 274"/>
                <a:gd name="T4" fmla="*/ 581 w 744"/>
                <a:gd name="T5" fmla="*/ 179 h 274"/>
                <a:gd name="T6" fmla="*/ 457 w 744"/>
                <a:gd name="T7" fmla="*/ 68 h 274"/>
                <a:gd name="T8" fmla="*/ 372 w 744"/>
                <a:gd name="T9" fmla="*/ 101 h 274"/>
                <a:gd name="T10" fmla="*/ 249 w 744"/>
                <a:gd name="T11" fmla="*/ 0 h 274"/>
                <a:gd name="T12" fmla="*/ 123 w 744"/>
                <a:gd name="T13" fmla="*/ 125 h 274"/>
                <a:gd name="T14" fmla="*/ 133 w 744"/>
                <a:gd name="T15" fmla="*/ 173 h 274"/>
                <a:gd name="T16" fmla="*/ 123 w 744"/>
                <a:gd name="T17" fmla="*/ 173 h 274"/>
                <a:gd name="T18" fmla="*/ 0 w 744"/>
                <a:gd name="T19" fmla="*/ 274 h 274"/>
                <a:gd name="T20" fmla="*/ 744 w 744"/>
                <a:gd name="T21" fmla="*/ 27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44" h="274">
                  <a:moveTo>
                    <a:pt x="744" y="274"/>
                  </a:moveTo>
                  <a:cubicBezTo>
                    <a:pt x="733" y="217"/>
                    <a:pt x="682" y="173"/>
                    <a:pt x="621" y="173"/>
                  </a:cubicBezTo>
                  <a:cubicBezTo>
                    <a:pt x="607" y="173"/>
                    <a:pt x="594" y="175"/>
                    <a:pt x="581" y="179"/>
                  </a:cubicBezTo>
                  <a:cubicBezTo>
                    <a:pt x="574" y="117"/>
                    <a:pt x="521" y="68"/>
                    <a:pt x="457" y="68"/>
                  </a:cubicBezTo>
                  <a:cubicBezTo>
                    <a:pt x="424" y="68"/>
                    <a:pt x="394" y="81"/>
                    <a:pt x="372" y="101"/>
                  </a:cubicBezTo>
                  <a:cubicBezTo>
                    <a:pt x="361" y="44"/>
                    <a:pt x="310" y="0"/>
                    <a:pt x="249" y="0"/>
                  </a:cubicBezTo>
                  <a:cubicBezTo>
                    <a:pt x="179" y="0"/>
                    <a:pt x="123" y="56"/>
                    <a:pt x="123" y="125"/>
                  </a:cubicBezTo>
                  <a:cubicBezTo>
                    <a:pt x="123" y="142"/>
                    <a:pt x="127" y="159"/>
                    <a:pt x="133" y="173"/>
                  </a:cubicBezTo>
                  <a:cubicBezTo>
                    <a:pt x="130" y="173"/>
                    <a:pt x="127" y="173"/>
                    <a:pt x="123" y="173"/>
                  </a:cubicBezTo>
                  <a:cubicBezTo>
                    <a:pt x="62" y="173"/>
                    <a:pt x="12" y="217"/>
                    <a:pt x="0" y="274"/>
                  </a:cubicBezTo>
                  <a:lnTo>
                    <a:pt x="744" y="2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Freeform 102"/>
            <p:cNvSpPr>
              <a:spLocks/>
            </p:cNvSpPr>
            <p:nvPr/>
          </p:nvSpPr>
          <p:spPr bwMode="gray">
            <a:xfrm>
              <a:off x="9268125" y="4192908"/>
              <a:ext cx="825500" cy="377825"/>
            </a:xfrm>
            <a:custGeom>
              <a:avLst/>
              <a:gdLst>
                <a:gd name="T0" fmla="*/ 80 w 597"/>
                <a:gd name="T1" fmla="*/ 23 h 274"/>
                <a:gd name="T2" fmla="*/ 203 w 597"/>
                <a:gd name="T3" fmla="*/ 125 h 274"/>
                <a:gd name="T4" fmla="*/ 288 w 597"/>
                <a:gd name="T5" fmla="*/ 91 h 274"/>
                <a:gd name="T6" fmla="*/ 413 w 597"/>
                <a:gd name="T7" fmla="*/ 203 h 274"/>
                <a:gd name="T8" fmla="*/ 452 w 597"/>
                <a:gd name="T9" fmla="*/ 196 h 274"/>
                <a:gd name="T10" fmla="*/ 568 w 597"/>
                <a:gd name="T11" fmla="*/ 274 h 274"/>
                <a:gd name="T12" fmla="*/ 597 w 597"/>
                <a:gd name="T13" fmla="*/ 274 h 274"/>
                <a:gd name="T14" fmla="*/ 474 w 597"/>
                <a:gd name="T15" fmla="*/ 173 h 274"/>
                <a:gd name="T16" fmla="*/ 434 w 597"/>
                <a:gd name="T17" fmla="*/ 179 h 274"/>
                <a:gd name="T18" fmla="*/ 310 w 597"/>
                <a:gd name="T19" fmla="*/ 68 h 274"/>
                <a:gd name="T20" fmla="*/ 225 w 597"/>
                <a:gd name="T21" fmla="*/ 101 h 274"/>
                <a:gd name="T22" fmla="*/ 102 w 597"/>
                <a:gd name="T23" fmla="*/ 0 h 274"/>
                <a:gd name="T24" fmla="*/ 0 w 597"/>
                <a:gd name="T25" fmla="*/ 52 h 274"/>
                <a:gd name="T26" fmla="*/ 80 w 597"/>
                <a:gd name="T27" fmla="*/ 23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97" h="274">
                  <a:moveTo>
                    <a:pt x="80" y="23"/>
                  </a:moveTo>
                  <a:cubicBezTo>
                    <a:pt x="141" y="23"/>
                    <a:pt x="192" y="67"/>
                    <a:pt x="203" y="125"/>
                  </a:cubicBezTo>
                  <a:cubicBezTo>
                    <a:pt x="225" y="104"/>
                    <a:pt x="255" y="91"/>
                    <a:pt x="288" y="91"/>
                  </a:cubicBezTo>
                  <a:cubicBezTo>
                    <a:pt x="353" y="91"/>
                    <a:pt x="406" y="140"/>
                    <a:pt x="413" y="203"/>
                  </a:cubicBezTo>
                  <a:cubicBezTo>
                    <a:pt x="425" y="199"/>
                    <a:pt x="438" y="196"/>
                    <a:pt x="452" y="196"/>
                  </a:cubicBezTo>
                  <a:cubicBezTo>
                    <a:pt x="505" y="196"/>
                    <a:pt x="549" y="229"/>
                    <a:pt x="568" y="274"/>
                  </a:cubicBezTo>
                  <a:cubicBezTo>
                    <a:pt x="597" y="274"/>
                    <a:pt x="597" y="274"/>
                    <a:pt x="597" y="274"/>
                  </a:cubicBezTo>
                  <a:cubicBezTo>
                    <a:pt x="586" y="217"/>
                    <a:pt x="535" y="173"/>
                    <a:pt x="474" y="173"/>
                  </a:cubicBezTo>
                  <a:cubicBezTo>
                    <a:pt x="460" y="173"/>
                    <a:pt x="447" y="175"/>
                    <a:pt x="434" y="179"/>
                  </a:cubicBezTo>
                  <a:cubicBezTo>
                    <a:pt x="427" y="117"/>
                    <a:pt x="374" y="68"/>
                    <a:pt x="310" y="68"/>
                  </a:cubicBezTo>
                  <a:cubicBezTo>
                    <a:pt x="277" y="68"/>
                    <a:pt x="247" y="81"/>
                    <a:pt x="225" y="101"/>
                  </a:cubicBezTo>
                  <a:cubicBezTo>
                    <a:pt x="214" y="44"/>
                    <a:pt x="163" y="0"/>
                    <a:pt x="102" y="0"/>
                  </a:cubicBezTo>
                  <a:cubicBezTo>
                    <a:pt x="60" y="0"/>
                    <a:pt x="23" y="20"/>
                    <a:pt x="0" y="52"/>
                  </a:cubicBezTo>
                  <a:cubicBezTo>
                    <a:pt x="22" y="34"/>
                    <a:pt x="49" y="23"/>
                    <a:pt x="80" y="23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8" name="Oval 103"/>
            <p:cNvSpPr>
              <a:spLocks noChangeArrowheads="1"/>
            </p:cNvSpPr>
            <p:nvPr/>
          </p:nvSpPr>
          <p:spPr bwMode="gray">
            <a:xfrm>
              <a:off x="11085812" y="5396233"/>
              <a:ext cx="103188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9" name="Oval 104"/>
            <p:cNvSpPr>
              <a:spLocks noChangeArrowheads="1"/>
            </p:cNvSpPr>
            <p:nvPr/>
          </p:nvSpPr>
          <p:spPr bwMode="gray">
            <a:xfrm>
              <a:off x="10884200" y="5396233"/>
              <a:ext cx="101600" cy="10318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0" name="Freeform 105"/>
            <p:cNvSpPr>
              <a:spLocks/>
            </p:cNvSpPr>
            <p:nvPr/>
          </p:nvSpPr>
          <p:spPr bwMode="gray">
            <a:xfrm>
              <a:off x="10884200" y="5412108"/>
              <a:ext cx="85725" cy="87312"/>
            </a:xfrm>
            <a:custGeom>
              <a:avLst/>
              <a:gdLst>
                <a:gd name="T0" fmla="*/ 37 w 62"/>
                <a:gd name="T1" fmla="*/ 63 h 63"/>
                <a:gd name="T2" fmla="*/ 62 w 62"/>
                <a:gd name="T3" fmla="*/ 52 h 63"/>
                <a:gd name="T4" fmla="*/ 11 w 62"/>
                <a:gd name="T5" fmla="*/ 0 h 63"/>
                <a:gd name="T6" fmla="*/ 0 w 62"/>
                <a:gd name="T7" fmla="*/ 26 h 63"/>
                <a:gd name="T8" fmla="*/ 37 w 62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63">
                  <a:moveTo>
                    <a:pt x="37" y="63"/>
                  </a:moveTo>
                  <a:cubicBezTo>
                    <a:pt x="47" y="63"/>
                    <a:pt x="56" y="59"/>
                    <a:pt x="62" y="5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6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1" name="Freeform 106"/>
            <p:cNvSpPr>
              <a:spLocks/>
            </p:cNvSpPr>
            <p:nvPr/>
          </p:nvSpPr>
          <p:spPr bwMode="gray">
            <a:xfrm>
              <a:off x="11085812" y="5412108"/>
              <a:ext cx="87313" cy="87312"/>
            </a:xfrm>
            <a:custGeom>
              <a:avLst/>
              <a:gdLst>
                <a:gd name="T0" fmla="*/ 37 w 63"/>
                <a:gd name="T1" fmla="*/ 63 h 63"/>
                <a:gd name="T2" fmla="*/ 63 w 63"/>
                <a:gd name="T3" fmla="*/ 52 h 63"/>
                <a:gd name="T4" fmla="*/ 11 w 63"/>
                <a:gd name="T5" fmla="*/ 0 h 63"/>
                <a:gd name="T6" fmla="*/ 0 w 63"/>
                <a:gd name="T7" fmla="*/ 26 h 63"/>
                <a:gd name="T8" fmla="*/ 37 w 63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63">
                  <a:moveTo>
                    <a:pt x="37" y="63"/>
                  </a:moveTo>
                  <a:cubicBezTo>
                    <a:pt x="47" y="63"/>
                    <a:pt x="56" y="59"/>
                    <a:pt x="63" y="5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4" y="7"/>
                    <a:pt x="0" y="16"/>
                    <a:pt x="0" y="26"/>
                  </a:cubicBezTo>
                  <a:cubicBezTo>
                    <a:pt x="0" y="46"/>
                    <a:pt x="17" y="63"/>
                    <a:pt x="37" y="63"/>
                  </a:cubicBezTo>
                  <a:close/>
                </a:path>
              </a:pathLst>
            </a:cu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3956632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308324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17570247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702" y="1211287"/>
            <a:ext cx="11888787" cy="5484813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12321570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3000" b="0">
                <a:latin typeface="+mn-lt"/>
              </a:defRPr>
            </a:lvl1pPr>
            <a:lvl2pPr marL="255588" indent="0">
              <a:buFont typeface="Wingdings" panose="05000000000000000000" pitchFamily="2" charset="2"/>
              <a:buNone/>
              <a:defRPr sz="2400" b="0"/>
            </a:lvl2pPr>
            <a:lvl3pPr marL="450850" indent="0">
              <a:buFont typeface="Wingdings" panose="05000000000000000000" pitchFamily="2" charset="2"/>
              <a:buNone/>
              <a:tabLst/>
              <a:defRPr sz="2200" b="0"/>
            </a:lvl3pPr>
            <a:lvl4pPr marL="652462" indent="0">
              <a:buFont typeface="Wingdings" panose="05000000000000000000" pitchFamily="2" charset="2"/>
              <a:buNone/>
              <a:defRPr sz="2200" b="0"/>
            </a:lvl4pPr>
            <a:lvl5pPr marL="854075" indent="0">
              <a:buFont typeface="Wingdings" panose="05000000000000000000" pitchFamily="2" charset="2"/>
              <a:buNone/>
              <a:tabLst/>
              <a:defRPr sz="22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5588" indent="0">
              <a:buFont typeface="Arial" panose="020B0604020202020204" pitchFamily="34" charset="0"/>
              <a:buNone/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0850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52462" indent="0">
              <a:buFont typeface="Arial" panose="020B0604020202020204" pitchFamily="34" charset="0"/>
              <a:buNone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54075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14350" marR="0" lvl="0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 dirty="0"/>
              <a:t>Click to edit Master text styles</a:t>
            </a:r>
          </a:p>
          <a:p>
            <a:pPr marL="712788" marR="0" lvl="1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Second level</a:t>
            </a:r>
          </a:p>
          <a:p>
            <a:pPr marL="908050" marR="0" lvl="2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Third level</a:t>
            </a:r>
          </a:p>
          <a:p>
            <a:pPr marL="1109662" marR="0" lvl="3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ourth level</a:t>
            </a:r>
          </a:p>
          <a:p>
            <a:pPr marL="1311275" marR="0" lvl="4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54530601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3000" b="0">
                <a:latin typeface="+mn-lt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4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2200" b="0"/>
            </a:lvl3pPr>
            <a:lvl4pPr marL="828675" indent="-176213">
              <a:buFont typeface="Wingdings" panose="05000000000000000000" pitchFamily="2" charset="2"/>
              <a:buChar char=""/>
              <a:defRPr sz="22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22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98488" indent="-342900"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93750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95362" indent="-342900"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96975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31775" marR="0" lvl="0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Click to edit Master text styles</a:t>
            </a:r>
          </a:p>
          <a:p>
            <a:pPr marL="427038" marR="0" lvl="1" indent="-17145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Second level</a:t>
            </a:r>
          </a:p>
          <a:p>
            <a:pPr marL="639763" marR="0" lvl="2" indent="-18891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Third level</a:t>
            </a:r>
          </a:p>
          <a:p>
            <a:pPr marL="828675" marR="0" lvl="3" indent="-17621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Fourth level</a:t>
            </a:r>
          </a:p>
          <a:p>
            <a:pPr marL="1023938" marR="0" lvl="4" indent="-16986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79650135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81027781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10058401" cy="7386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7962452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200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4050760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574406291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702" y="1211287"/>
            <a:ext cx="11888787" cy="548481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3268474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0074542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740132"/>
            <a:ext cx="4892040" cy="1514261"/>
          </a:xfrm>
        </p:spPr>
        <p:txBody>
          <a:bodyPr wrap="square" anchor="ctr">
            <a:spAutoFit/>
          </a:bodyPr>
          <a:lstStyle>
            <a:lvl1pPr>
              <a:defRPr sz="48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441315" y="0"/>
            <a:ext cx="6995160" cy="699258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66715563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56420015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20585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7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61737675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9" y="6220609"/>
            <a:ext cx="4572000" cy="47705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82880" rIns="182880" bIns="182880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76120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77246813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3000" b="0">
                <a:latin typeface="+mn-lt"/>
              </a:defRPr>
            </a:lvl1pPr>
            <a:lvl2pPr marL="255588" indent="0">
              <a:buFont typeface="Wingdings" panose="05000000000000000000" pitchFamily="2" charset="2"/>
              <a:buNone/>
              <a:defRPr sz="2400" b="0"/>
            </a:lvl2pPr>
            <a:lvl3pPr marL="450850" indent="0">
              <a:buFont typeface="Wingdings" panose="05000000000000000000" pitchFamily="2" charset="2"/>
              <a:buNone/>
              <a:tabLst/>
              <a:defRPr sz="2200" b="0"/>
            </a:lvl3pPr>
            <a:lvl4pPr marL="652462" indent="0">
              <a:buFont typeface="Wingdings" panose="05000000000000000000" pitchFamily="2" charset="2"/>
              <a:buNone/>
              <a:defRPr sz="2200" b="0"/>
            </a:lvl4pPr>
            <a:lvl5pPr marL="854075" indent="0">
              <a:buFont typeface="Wingdings" panose="05000000000000000000" pitchFamily="2" charset="2"/>
              <a:buNone/>
              <a:tabLst/>
              <a:defRPr sz="22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5588" indent="0">
              <a:buFont typeface="Arial" panose="020B0604020202020204" pitchFamily="34" charset="0"/>
              <a:buNone/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0850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52462" indent="0">
              <a:buFont typeface="Arial" panose="020B0604020202020204" pitchFamily="34" charset="0"/>
              <a:buNone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54075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14350" marR="0" lvl="0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514350" marR="0" lvl="1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14350" marR="0" lvl="2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14350" marR="0" lvl="3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14350" marR="0" lvl="4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2018982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3000" b="0">
                <a:latin typeface="+mn-lt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4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2200" b="0"/>
            </a:lvl3pPr>
            <a:lvl4pPr marL="828675" indent="-176213">
              <a:buFont typeface="Wingdings" panose="05000000000000000000" pitchFamily="2" charset="2"/>
              <a:buChar char=""/>
              <a:defRPr sz="22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22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98488" indent="-342900"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93750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95362" indent="-342900"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96975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31775" marR="0" lvl="0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31775" marR="0" lvl="1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31775" marR="0" lvl="2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31775" marR="0" lvl="3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31775" marR="0" lvl="4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9946700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9335521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10058401" cy="7386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8976025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30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slideLayout" Target="../slideLayouts/slideLayout56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48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30832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 rot="5400000">
            <a:off x="9371795" y="3072299"/>
            <a:ext cx="6995160" cy="849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427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6" r:id="rId1"/>
    <p:sldLayoutId id="2147484467" r:id="rId2"/>
    <p:sldLayoutId id="2147484266" r:id="rId3"/>
    <p:sldLayoutId id="2147484240" r:id="rId4"/>
    <p:sldLayoutId id="2147484241" r:id="rId5"/>
    <p:sldLayoutId id="2147484474" r:id="rId6"/>
    <p:sldLayoutId id="2147484245" r:id="rId7"/>
    <p:sldLayoutId id="2147484247" r:id="rId8"/>
    <p:sldLayoutId id="2147484249" r:id="rId9"/>
    <p:sldLayoutId id="2147484250" r:id="rId10"/>
    <p:sldLayoutId id="2147484264" r:id="rId11"/>
    <p:sldLayoutId id="2147484251" r:id="rId12"/>
    <p:sldLayoutId id="2147484463" r:id="rId13"/>
    <p:sldLayoutId id="2147484256" r:id="rId14"/>
    <p:sldLayoutId id="2147484257" r:id="rId15"/>
    <p:sldLayoutId id="2147484260" r:id="rId16"/>
    <p:sldLayoutId id="2147484299" r:id="rId17"/>
    <p:sldLayoutId id="2147484263" r:id="rId18"/>
    <p:sldLayoutId id="2147484521" r:id="rId19"/>
    <p:sldLayoutId id="2147484525" r:id="rId20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572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858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9144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430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30832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 rot="5400000">
            <a:off x="9371795" y="3072299"/>
            <a:ext cx="6995160" cy="849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96029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76" r:id="rId1"/>
    <p:sldLayoutId id="2147484478" r:id="rId2"/>
    <p:sldLayoutId id="2147484479" r:id="rId3"/>
    <p:sldLayoutId id="2147484480" r:id="rId4"/>
    <p:sldLayoutId id="2147484481" r:id="rId5"/>
    <p:sldLayoutId id="2147484482" r:id="rId6"/>
    <p:sldLayoutId id="2147484483" r:id="rId7"/>
    <p:sldLayoutId id="2147484484" r:id="rId8"/>
    <p:sldLayoutId id="2147484485" r:id="rId9"/>
    <p:sldLayoutId id="2147484486" r:id="rId10"/>
    <p:sldLayoutId id="2147484487" r:id="rId11"/>
    <p:sldLayoutId id="2147484488" r:id="rId12"/>
    <p:sldLayoutId id="2147484489" r:id="rId13"/>
    <p:sldLayoutId id="2147484490" r:id="rId14"/>
    <p:sldLayoutId id="2147484491" r:id="rId15"/>
    <p:sldLayoutId id="2147484492" r:id="rId16"/>
    <p:sldLayoutId id="2147484493" r:id="rId17"/>
    <p:sldLayoutId id="2147484494" r:id="rId18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572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858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9144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430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30832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 rot="5400000">
            <a:off x="9371795" y="3072299"/>
            <a:ext cx="6995160" cy="849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554471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496" r:id="rId1"/>
    <p:sldLayoutId id="2147484498" r:id="rId2"/>
    <p:sldLayoutId id="2147484499" r:id="rId3"/>
    <p:sldLayoutId id="2147484500" r:id="rId4"/>
    <p:sldLayoutId id="2147484501" r:id="rId5"/>
    <p:sldLayoutId id="2147484502" r:id="rId6"/>
    <p:sldLayoutId id="2147484503" r:id="rId7"/>
    <p:sldLayoutId id="2147484504" r:id="rId8"/>
    <p:sldLayoutId id="2147484505" r:id="rId9"/>
    <p:sldLayoutId id="2147484506" r:id="rId10"/>
    <p:sldLayoutId id="2147484507" r:id="rId11"/>
    <p:sldLayoutId id="2147484508" r:id="rId12"/>
    <p:sldLayoutId id="2147484509" r:id="rId13"/>
    <p:sldLayoutId id="2147484510" r:id="rId14"/>
    <p:sldLayoutId id="2147484511" r:id="rId15"/>
    <p:sldLayoutId id="2147484512" r:id="rId16"/>
    <p:sldLayoutId id="2147484513" r:id="rId17"/>
    <p:sldLayoutId id="2147484514" r:id="rId18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572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858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9144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430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9.jpg"/><Relationship Id="rId4" Type="http://schemas.openxmlformats.org/officeDocument/2006/relationships/image" Target="../media/image18.jp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29.png"/><Relationship Id="rId18" Type="http://schemas.openxmlformats.org/officeDocument/2006/relationships/image" Target="../media/image33.png"/><Relationship Id="rId26" Type="http://schemas.openxmlformats.org/officeDocument/2006/relationships/image" Target="../media/image41.png"/><Relationship Id="rId39" Type="http://schemas.openxmlformats.org/officeDocument/2006/relationships/image" Target="../media/image54.png"/><Relationship Id="rId3" Type="http://schemas.openxmlformats.org/officeDocument/2006/relationships/image" Target="../media/image20.png"/><Relationship Id="rId21" Type="http://schemas.openxmlformats.org/officeDocument/2006/relationships/image" Target="../media/image36.png"/><Relationship Id="rId34" Type="http://schemas.openxmlformats.org/officeDocument/2006/relationships/image" Target="../media/image49.png"/><Relationship Id="rId7" Type="http://schemas.openxmlformats.org/officeDocument/2006/relationships/image" Target="../media/image24.png"/><Relationship Id="rId12" Type="http://schemas.openxmlformats.org/officeDocument/2006/relationships/hyperlink" Target="http://www.asd.gov.au/infosec/irap/index.htm" TargetMode="External"/><Relationship Id="rId17" Type="http://schemas.openxmlformats.org/officeDocument/2006/relationships/image" Target="../media/image32.jpeg"/><Relationship Id="rId25" Type="http://schemas.openxmlformats.org/officeDocument/2006/relationships/image" Target="../media/image40.jpeg"/><Relationship Id="rId33" Type="http://schemas.openxmlformats.org/officeDocument/2006/relationships/image" Target="../media/image48.jpeg"/><Relationship Id="rId38" Type="http://schemas.openxmlformats.org/officeDocument/2006/relationships/image" Target="../media/image53.png"/><Relationship Id="rId2" Type="http://schemas.openxmlformats.org/officeDocument/2006/relationships/notesSlide" Target="../notesSlides/notesSlide13.xml"/><Relationship Id="rId16" Type="http://schemas.openxmlformats.org/officeDocument/2006/relationships/image" Target="../media/image31.jpeg"/><Relationship Id="rId20" Type="http://schemas.openxmlformats.org/officeDocument/2006/relationships/image" Target="../media/image35.png"/><Relationship Id="rId29" Type="http://schemas.openxmlformats.org/officeDocument/2006/relationships/image" Target="../media/image44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3.png"/><Relationship Id="rId11" Type="http://schemas.openxmlformats.org/officeDocument/2006/relationships/image" Target="../media/image28.png"/><Relationship Id="rId24" Type="http://schemas.openxmlformats.org/officeDocument/2006/relationships/image" Target="../media/image39.png"/><Relationship Id="rId32" Type="http://schemas.openxmlformats.org/officeDocument/2006/relationships/image" Target="../media/image47.png"/><Relationship Id="rId37" Type="http://schemas.openxmlformats.org/officeDocument/2006/relationships/image" Target="../media/image52.png"/><Relationship Id="rId40" Type="http://schemas.openxmlformats.org/officeDocument/2006/relationships/image" Target="../media/image55.png"/><Relationship Id="rId5" Type="http://schemas.openxmlformats.org/officeDocument/2006/relationships/image" Target="../media/image22.jpeg"/><Relationship Id="rId15" Type="http://schemas.openxmlformats.org/officeDocument/2006/relationships/image" Target="../media/image30.jpeg"/><Relationship Id="rId23" Type="http://schemas.openxmlformats.org/officeDocument/2006/relationships/image" Target="../media/image38.jpeg"/><Relationship Id="rId28" Type="http://schemas.openxmlformats.org/officeDocument/2006/relationships/image" Target="../media/image43.jpeg"/><Relationship Id="rId36" Type="http://schemas.openxmlformats.org/officeDocument/2006/relationships/image" Target="../media/image51.jpeg"/><Relationship Id="rId10" Type="http://schemas.openxmlformats.org/officeDocument/2006/relationships/image" Target="../media/image27.png"/><Relationship Id="rId19" Type="http://schemas.openxmlformats.org/officeDocument/2006/relationships/image" Target="../media/image34.png"/><Relationship Id="rId31" Type="http://schemas.openxmlformats.org/officeDocument/2006/relationships/image" Target="../media/image46.png"/><Relationship Id="rId4" Type="http://schemas.openxmlformats.org/officeDocument/2006/relationships/image" Target="../media/image21.jpeg"/><Relationship Id="rId9" Type="http://schemas.openxmlformats.org/officeDocument/2006/relationships/image" Target="../media/image26.png"/><Relationship Id="rId14" Type="http://schemas.openxmlformats.org/officeDocument/2006/relationships/hyperlink" Target="https://www.fisc.or.jp/" TargetMode="External"/><Relationship Id="rId22" Type="http://schemas.openxmlformats.org/officeDocument/2006/relationships/image" Target="../media/image37.png"/><Relationship Id="rId27" Type="http://schemas.openxmlformats.org/officeDocument/2006/relationships/image" Target="../media/image42.png"/><Relationship Id="rId30" Type="http://schemas.openxmlformats.org/officeDocument/2006/relationships/image" Target="../media/image45.png"/><Relationship Id="rId35" Type="http://schemas.openxmlformats.org/officeDocument/2006/relationships/image" Target="../media/image50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59.png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3" Type="http://schemas.openxmlformats.org/officeDocument/2006/relationships/image" Target="../media/image61.png"/><Relationship Id="rId7" Type="http://schemas.openxmlformats.org/officeDocument/2006/relationships/hyperlink" Target="http://feedback.azure.com/" TargetMode="Externa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azure.microsoft.com/roadmap" TargetMode="External"/><Relationship Id="rId5" Type="http://schemas.openxmlformats.org/officeDocument/2006/relationships/hyperlink" Target="https://azure.microsoft.com/updates" TargetMode="External"/><Relationship Id="rId4" Type="http://schemas.openxmlformats.org/officeDocument/2006/relationships/image" Target="../media/image62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shell.azure.com/" TargetMode="External"/><Relationship Id="rId2" Type="http://schemas.openxmlformats.org/officeDocument/2006/relationships/hyperlink" Target="http://portal.azure.com/" TargetMode="External"/><Relationship Id="rId1" Type="http://schemas.openxmlformats.org/officeDocument/2006/relationships/slideLayout" Target="../slideLayouts/slideLayout5.xml"/><Relationship Id="rId4" Type="http://schemas.openxmlformats.org/officeDocument/2006/relationships/hyperlink" Target="https://resources.azure.com/" TargetMode="Externa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4" Type="http://schemas.openxmlformats.org/officeDocument/2006/relationships/hyperlink" Target="mailto:sweisfel@microsoft.com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2.png"/><Relationship Id="rId4" Type="http://schemas.openxmlformats.org/officeDocument/2006/relationships/hyperlink" Target="http://www.usergroup.tv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74702" y="1211264"/>
            <a:ext cx="9143936" cy="1447798"/>
          </a:xfrm>
        </p:spPr>
        <p:txBody>
          <a:bodyPr/>
          <a:lstStyle/>
          <a:p>
            <a:r>
              <a:rPr lang="en-US" dirty="0"/>
              <a:t>Global Azure Bootcamp: Austin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54EB582-FB35-459E-B668-A3BCD4ED9C4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74701" y="2698818"/>
            <a:ext cx="9143937" cy="730183"/>
          </a:xfrm>
        </p:spPr>
        <p:txBody>
          <a:bodyPr/>
          <a:lstStyle/>
          <a:p>
            <a:r>
              <a:rPr lang="en-US" dirty="0"/>
              <a:t>April 21 2018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ACD0CE3-54D8-4785-84BD-E650B26819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7170" name="Picture 2" descr="Global Azure Boot Camp 2018 - Austin, Texas">
            <a:extLst>
              <a:ext uri="{FF2B5EF4-FFF2-40B4-BE49-F238E27FC236}">
                <a16:creationId xmlns:a16="http://schemas.microsoft.com/office/drawing/2014/main" id="{051BB46C-CA94-41C9-9FDC-5C60C82A1F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237" y="3737698"/>
            <a:ext cx="5715000" cy="285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B3B3C50-0F00-4981-A95C-70D88B692B1C}"/>
              </a:ext>
            </a:extLst>
          </p:cNvPr>
          <p:cNvSpPr/>
          <p:nvPr/>
        </p:nvSpPr>
        <p:spPr>
          <a:xfrm>
            <a:off x="4001535" y="132452"/>
            <a:ext cx="846109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dirty="0"/>
              <a:t>Take our survey </a:t>
            </a:r>
            <a:r>
              <a:rPr lang="en-US" sz="2800" b="1" dirty="0"/>
              <a:t>https://aka.ms/2018GABAustinSurvey </a:t>
            </a:r>
          </a:p>
        </p:txBody>
      </p:sp>
    </p:spTree>
    <p:extLst>
      <p:ext uri="{BB962C8B-B14F-4D97-AF65-F5344CB8AC3E}">
        <p14:creationId xmlns:p14="http://schemas.microsoft.com/office/powerpoint/2010/main" val="3518421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6019901-045D-46E6-BEA3-9FC463DC7F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 &amp; features</a:t>
            </a:r>
          </a:p>
        </p:txBody>
      </p:sp>
    </p:spTree>
    <p:extLst>
      <p:ext uri="{BB962C8B-B14F-4D97-AF65-F5344CB8AC3E}">
        <p14:creationId xmlns:p14="http://schemas.microsoft.com/office/powerpoint/2010/main" val="3907956499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 descr="Image result for Azure Office 365">
            <a:extLst>
              <a:ext uri="{FF2B5EF4-FFF2-40B4-BE49-F238E27FC236}">
                <a16:creationId xmlns:a16="http://schemas.microsoft.com/office/drawing/2014/main" id="{94A73396-F3F4-4BB5-BAFB-9A1D42C5A05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794250" y="2673350"/>
            <a:ext cx="2847975" cy="1647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AA18D4F-E7DD-4A75-8E13-E178C1A6A6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8038" y="3344862"/>
            <a:ext cx="5372100" cy="302180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376C8E3-7F6A-401A-B599-3CA6F3C66CF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24924" y="3394131"/>
            <a:ext cx="4025454" cy="246397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EEE8D6E-C925-45D9-860E-98E732D4BA4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32238" y="1034345"/>
            <a:ext cx="4495800" cy="2569029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D18BDC98-12B3-4A3B-A160-34DDD7A86D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 Public Cloud Platform</a:t>
            </a:r>
          </a:p>
        </p:txBody>
      </p:sp>
    </p:spTree>
    <p:extLst>
      <p:ext uri="{BB962C8B-B14F-4D97-AF65-F5344CB8AC3E}">
        <p14:creationId xmlns:p14="http://schemas.microsoft.com/office/powerpoint/2010/main" val="1408322421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782DAFC6-595D-41F3-B9CC-8E8DAC9CE0FA}"/>
              </a:ext>
            </a:extLst>
          </p:cNvPr>
          <p:cNvCxnSpPr>
            <a:cxnSpLocks/>
          </p:cNvCxnSpPr>
          <p:nvPr/>
        </p:nvCxnSpPr>
        <p:spPr>
          <a:xfrm>
            <a:off x="1994007" y="496"/>
            <a:ext cx="0" cy="7025446"/>
          </a:xfrm>
          <a:prstGeom prst="line">
            <a:avLst/>
          </a:prstGeom>
          <a:noFill/>
          <a:ln w="19050" cap="flat">
            <a:solidFill>
              <a:schemeClr val="bg1">
                <a:lumMod val="75000"/>
                <a:alpha val="70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cxnSp>
      <p:sp>
        <p:nvSpPr>
          <p:cNvPr id="102" name="Rectangle 101">
            <a:extLst>
              <a:ext uri="{FF2B5EF4-FFF2-40B4-BE49-F238E27FC236}">
                <a16:creationId xmlns:a16="http://schemas.microsoft.com/office/drawing/2014/main" id="{698FCEC8-52FF-464E-A563-A99A52D27BDA}"/>
              </a:ext>
            </a:extLst>
          </p:cNvPr>
          <p:cNvSpPr/>
          <p:nvPr/>
        </p:nvSpPr>
        <p:spPr>
          <a:xfrm>
            <a:off x="150473" y="1748570"/>
            <a:ext cx="1730067" cy="4708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2400" kern="0" spc="50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ductive</a:t>
            </a:r>
          </a:p>
        </p:txBody>
      </p:sp>
      <p:sp>
        <p:nvSpPr>
          <p:cNvPr id="103" name="speedometer_2">
            <a:extLst>
              <a:ext uri="{FF2B5EF4-FFF2-40B4-BE49-F238E27FC236}">
                <a16:creationId xmlns:a16="http://schemas.microsoft.com/office/drawing/2014/main" id="{BFC0E3B5-0EEA-4AD2-9349-41F88A04DA6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07751" y="1011218"/>
            <a:ext cx="612023" cy="612021"/>
          </a:xfrm>
          <a:custGeom>
            <a:avLst/>
            <a:gdLst>
              <a:gd name="T0" fmla="*/ 155 w 281"/>
              <a:gd name="T1" fmla="*/ 155 h 281"/>
              <a:gd name="T2" fmla="*/ 126 w 281"/>
              <a:gd name="T3" fmla="*/ 155 h 281"/>
              <a:gd name="T4" fmla="*/ 126 w 281"/>
              <a:gd name="T5" fmla="*/ 126 h 281"/>
              <a:gd name="T6" fmla="*/ 155 w 281"/>
              <a:gd name="T7" fmla="*/ 126 h 281"/>
              <a:gd name="T8" fmla="*/ 155 w 281"/>
              <a:gd name="T9" fmla="*/ 155 h 281"/>
              <a:gd name="T10" fmla="*/ 140 w 281"/>
              <a:gd name="T11" fmla="*/ 0 h 281"/>
              <a:gd name="T12" fmla="*/ 0 w 281"/>
              <a:gd name="T13" fmla="*/ 141 h 281"/>
              <a:gd name="T14" fmla="*/ 140 w 281"/>
              <a:gd name="T15" fmla="*/ 281 h 281"/>
              <a:gd name="T16" fmla="*/ 281 w 281"/>
              <a:gd name="T17" fmla="*/ 141 h 281"/>
              <a:gd name="T18" fmla="*/ 140 w 281"/>
              <a:gd name="T19" fmla="*/ 0 h 281"/>
              <a:gd name="T20" fmla="*/ 214 w 281"/>
              <a:gd name="T21" fmla="*/ 210 h 281"/>
              <a:gd name="T22" fmla="*/ 241 w 281"/>
              <a:gd name="T23" fmla="*/ 141 h 281"/>
              <a:gd name="T24" fmla="*/ 235 w 281"/>
              <a:gd name="T25" fmla="*/ 105 h 281"/>
              <a:gd name="T26" fmla="*/ 174 w 281"/>
              <a:gd name="T27" fmla="*/ 45 h 281"/>
              <a:gd name="T28" fmla="*/ 140 w 281"/>
              <a:gd name="T29" fmla="*/ 40 h 281"/>
              <a:gd name="T30" fmla="*/ 40 w 281"/>
              <a:gd name="T31" fmla="*/ 141 h 281"/>
              <a:gd name="T32" fmla="*/ 67 w 281"/>
              <a:gd name="T33" fmla="*/ 210 h 281"/>
              <a:gd name="T34" fmla="*/ 212 w 281"/>
              <a:gd name="T35" fmla="*/ 69 h 281"/>
              <a:gd name="T36" fmla="*/ 157 w 281"/>
              <a:gd name="T37" fmla="*/ 124 h 2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81" h="281">
                <a:moveTo>
                  <a:pt x="155" y="155"/>
                </a:moveTo>
                <a:cubicBezTo>
                  <a:pt x="147" y="164"/>
                  <a:pt x="134" y="164"/>
                  <a:pt x="126" y="155"/>
                </a:cubicBezTo>
                <a:cubicBezTo>
                  <a:pt x="117" y="147"/>
                  <a:pt x="117" y="134"/>
                  <a:pt x="126" y="126"/>
                </a:cubicBezTo>
                <a:cubicBezTo>
                  <a:pt x="134" y="118"/>
                  <a:pt x="147" y="117"/>
                  <a:pt x="155" y="126"/>
                </a:cubicBezTo>
                <a:cubicBezTo>
                  <a:pt x="164" y="134"/>
                  <a:pt x="164" y="147"/>
                  <a:pt x="155" y="155"/>
                </a:cubicBezTo>
                <a:close/>
                <a:moveTo>
                  <a:pt x="140" y="0"/>
                </a:moveTo>
                <a:cubicBezTo>
                  <a:pt x="63" y="0"/>
                  <a:pt x="0" y="63"/>
                  <a:pt x="0" y="141"/>
                </a:cubicBezTo>
                <a:cubicBezTo>
                  <a:pt x="0" y="218"/>
                  <a:pt x="63" y="281"/>
                  <a:pt x="140" y="281"/>
                </a:cubicBezTo>
                <a:cubicBezTo>
                  <a:pt x="218" y="281"/>
                  <a:pt x="281" y="218"/>
                  <a:pt x="281" y="141"/>
                </a:cubicBezTo>
                <a:cubicBezTo>
                  <a:pt x="281" y="63"/>
                  <a:pt x="218" y="0"/>
                  <a:pt x="140" y="0"/>
                </a:cubicBezTo>
                <a:close/>
                <a:moveTo>
                  <a:pt x="214" y="210"/>
                </a:moveTo>
                <a:cubicBezTo>
                  <a:pt x="231" y="192"/>
                  <a:pt x="241" y="168"/>
                  <a:pt x="241" y="141"/>
                </a:cubicBezTo>
                <a:cubicBezTo>
                  <a:pt x="241" y="128"/>
                  <a:pt x="239" y="116"/>
                  <a:pt x="235" y="105"/>
                </a:cubicBezTo>
                <a:moveTo>
                  <a:pt x="174" y="45"/>
                </a:moveTo>
                <a:cubicBezTo>
                  <a:pt x="163" y="42"/>
                  <a:pt x="152" y="40"/>
                  <a:pt x="140" y="40"/>
                </a:cubicBezTo>
                <a:cubicBezTo>
                  <a:pt x="85" y="40"/>
                  <a:pt x="40" y="85"/>
                  <a:pt x="40" y="141"/>
                </a:cubicBezTo>
                <a:cubicBezTo>
                  <a:pt x="40" y="168"/>
                  <a:pt x="50" y="192"/>
                  <a:pt x="67" y="210"/>
                </a:cubicBezTo>
                <a:moveTo>
                  <a:pt x="212" y="69"/>
                </a:moveTo>
                <a:cubicBezTo>
                  <a:pt x="157" y="124"/>
                  <a:pt x="157" y="124"/>
                  <a:pt x="157" y="124"/>
                </a:cubicBezTo>
              </a:path>
            </a:pathLst>
          </a:custGeom>
          <a:noFill/>
          <a:ln w="28575">
            <a:solidFill>
              <a:srgbClr val="001F50"/>
            </a:solidFill>
            <a:headEnd type="none" w="med" len="med"/>
            <a:tailEnd type="none" w="med" len="med"/>
          </a:ln>
          <a:effectLst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sp>
        <p:nvSpPr>
          <p:cNvPr id="60" name="Title 1">
            <a:extLst>
              <a:ext uri="{FF2B5EF4-FFF2-40B4-BE49-F238E27FC236}">
                <a16:creationId xmlns:a16="http://schemas.microsoft.com/office/drawing/2014/main" id="{A6A2D36D-1B5B-4FBD-9FD5-8462900FB166}"/>
              </a:ext>
            </a:extLst>
          </p:cNvPr>
          <p:cNvSpPr txBox="1">
            <a:spLocks/>
          </p:cNvSpPr>
          <p:nvPr/>
        </p:nvSpPr>
        <p:spPr>
          <a:xfrm>
            <a:off x="2701384" y="530478"/>
            <a:ext cx="8693505" cy="917444"/>
          </a:xfrm>
          <a:prstGeom prst="rect">
            <a:avLst/>
          </a:prstGeom>
        </p:spPr>
        <p:txBody>
          <a:bodyPr vert="horz" wrap="square" lIns="146283" tIns="91427" rIns="146283" bIns="91427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 defTabSz="932563">
              <a:spcAft>
                <a:spcPts val="600"/>
              </a:spcAft>
              <a:defRPr/>
            </a:pPr>
            <a:r>
              <a:rPr lang="en-US" sz="3672" dirty="0">
                <a:solidFill>
                  <a:srgbClr val="4F504F"/>
                </a:solidFill>
              </a:rPr>
              <a:t>Azure. Cloud for all.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B385FE5E-81B9-42AC-81EA-E711B53B3A68}"/>
              </a:ext>
            </a:extLst>
          </p:cNvPr>
          <p:cNvSpPr/>
          <p:nvPr/>
        </p:nvSpPr>
        <p:spPr>
          <a:xfrm>
            <a:off x="444056" y="3199346"/>
            <a:ext cx="1157847" cy="4708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2400" kern="0" spc="50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ybrid</a:t>
            </a: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8012E59A-AE2B-4CFD-AB1E-B32599CE1369}"/>
              </a:ext>
            </a:extLst>
          </p:cNvPr>
          <p:cNvGrpSpPr/>
          <p:nvPr/>
        </p:nvGrpSpPr>
        <p:grpSpPr>
          <a:xfrm>
            <a:off x="734446" y="2400000"/>
            <a:ext cx="591068" cy="577315"/>
            <a:chOff x="2088630" y="3287843"/>
            <a:chExt cx="429718" cy="419725"/>
          </a:xfrm>
          <a:noFill/>
        </p:grpSpPr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22B8D4B1-464B-4383-9CAB-7BA71785ED18}"/>
                </a:ext>
              </a:extLst>
            </p:cNvPr>
            <p:cNvSpPr/>
            <p:nvPr/>
          </p:nvSpPr>
          <p:spPr bwMode="auto">
            <a:xfrm>
              <a:off x="2213548" y="3287843"/>
              <a:ext cx="304800" cy="304800"/>
            </a:xfrm>
            <a:prstGeom prst="rect">
              <a:avLst/>
            </a:prstGeom>
            <a:noFill/>
            <a:ln w="28575">
              <a:solidFill>
                <a:srgbClr val="001F5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" pitchFamily="34" charset="0"/>
              </a:endParaRP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CE051139-4C4D-4626-95B9-5606F057D1E8}"/>
                </a:ext>
              </a:extLst>
            </p:cNvPr>
            <p:cNvSpPr/>
            <p:nvPr/>
          </p:nvSpPr>
          <p:spPr bwMode="auto">
            <a:xfrm>
              <a:off x="2088630" y="3402768"/>
              <a:ext cx="304800" cy="304800"/>
            </a:xfrm>
            <a:prstGeom prst="rect">
              <a:avLst/>
            </a:prstGeom>
            <a:noFill/>
            <a:ln w="28575">
              <a:solidFill>
                <a:srgbClr val="001F5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" pitchFamily="34" charset="0"/>
              </a:endParaRPr>
            </a:p>
          </p:txBody>
        </p:sp>
      </p:grpSp>
      <p:sp>
        <p:nvSpPr>
          <p:cNvPr id="75" name="Rectangle 74">
            <a:extLst>
              <a:ext uri="{FF2B5EF4-FFF2-40B4-BE49-F238E27FC236}">
                <a16:creationId xmlns:a16="http://schemas.microsoft.com/office/drawing/2014/main" id="{F03BC490-8B6E-4051-8352-D0D504A6BDC4}"/>
              </a:ext>
            </a:extLst>
          </p:cNvPr>
          <p:cNvSpPr/>
          <p:nvPr/>
        </p:nvSpPr>
        <p:spPr>
          <a:xfrm>
            <a:off x="202901" y="4511982"/>
            <a:ext cx="1654861" cy="4708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2400" kern="0" spc="5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telligent</a:t>
            </a:r>
          </a:p>
        </p:txBody>
      </p:sp>
      <p:sp>
        <p:nvSpPr>
          <p:cNvPr id="76" name="light">
            <a:extLst>
              <a:ext uri="{FF2B5EF4-FFF2-40B4-BE49-F238E27FC236}">
                <a16:creationId xmlns:a16="http://schemas.microsoft.com/office/drawing/2014/main" id="{E4161B93-A7C5-44BE-8B7C-D3C630B80B4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46052" y="3778278"/>
            <a:ext cx="378871" cy="562489"/>
          </a:xfrm>
          <a:custGeom>
            <a:avLst/>
            <a:gdLst>
              <a:gd name="T0" fmla="*/ 156 w 224"/>
              <a:gd name="T1" fmla="*/ 312 h 334"/>
              <a:gd name="T2" fmla="*/ 134 w 224"/>
              <a:gd name="T3" fmla="*/ 334 h 334"/>
              <a:gd name="T4" fmla="*/ 89 w 224"/>
              <a:gd name="T5" fmla="*/ 334 h 334"/>
              <a:gd name="T6" fmla="*/ 67 w 224"/>
              <a:gd name="T7" fmla="*/ 312 h 334"/>
              <a:gd name="T8" fmla="*/ 67 w 224"/>
              <a:gd name="T9" fmla="*/ 261 h 334"/>
              <a:gd name="T10" fmla="*/ 37 w 224"/>
              <a:gd name="T11" fmla="*/ 195 h 334"/>
              <a:gd name="T12" fmla="*/ 27 w 224"/>
              <a:gd name="T13" fmla="*/ 185 h 334"/>
              <a:gd name="T14" fmla="*/ 0 w 224"/>
              <a:gd name="T15" fmla="*/ 112 h 334"/>
              <a:gd name="T16" fmla="*/ 112 w 224"/>
              <a:gd name="T17" fmla="*/ 0 h 334"/>
              <a:gd name="T18" fmla="*/ 224 w 224"/>
              <a:gd name="T19" fmla="*/ 112 h 334"/>
              <a:gd name="T20" fmla="*/ 197 w 224"/>
              <a:gd name="T21" fmla="*/ 185 h 334"/>
              <a:gd name="T22" fmla="*/ 200 w 224"/>
              <a:gd name="T23" fmla="*/ 181 h 334"/>
              <a:gd name="T24" fmla="*/ 197 w 224"/>
              <a:gd name="T25" fmla="*/ 185 h 334"/>
              <a:gd name="T26" fmla="*/ 156 w 224"/>
              <a:gd name="T27" fmla="*/ 265 h 334"/>
              <a:gd name="T28" fmla="*/ 156 w 224"/>
              <a:gd name="T29" fmla="*/ 312 h 334"/>
              <a:gd name="T30" fmla="*/ 156 w 224"/>
              <a:gd name="T31" fmla="*/ 312 h 334"/>
              <a:gd name="T32" fmla="*/ 67 w 224"/>
              <a:gd name="T33" fmla="*/ 269 h 334"/>
              <a:gd name="T34" fmla="*/ 156 w 224"/>
              <a:gd name="T35" fmla="*/ 269 h 3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24" h="334">
                <a:moveTo>
                  <a:pt x="156" y="312"/>
                </a:moveTo>
                <a:cubicBezTo>
                  <a:pt x="156" y="324"/>
                  <a:pt x="146" y="334"/>
                  <a:pt x="134" y="334"/>
                </a:cubicBezTo>
                <a:cubicBezTo>
                  <a:pt x="89" y="334"/>
                  <a:pt x="89" y="334"/>
                  <a:pt x="89" y="334"/>
                </a:cubicBezTo>
                <a:cubicBezTo>
                  <a:pt x="76" y="334"/>
                  <a:pt x="67" y="324"/>
                  <a:pt x="67" y="312"/>
                </a:cubicBezTo>
                <a:cubicBezTo>
                  <a:pt x="67" y="312"/>
                  <a:pt x="67" y="300"/>
                  <a:pt x="67" y="261"/>
                </a:cubicBezTo>
                <a:cubicBezTo>
                  <a:pt x="67" y="221"/>
                  <a:pt x="37" y="195"/>
                  <a:pt x="37" y="195"/>
                </a:cubicBezTo>
                <a:cubicBezTo>
                  <a:pt x="27" y="185"/>
                  <a:pt x="27" y="185"/>
                  <a:pt x="27" y="185"/>
                </a:cubicBezTo>
                <a:cubicBezTo>
                  <a:pt x="10" y="166"/>
                  <a:pt x="0" y="140"/>
                  <a:pt x="0" y="112"/>
                </a:cubicBezTo>
                <a:cubicBezTo>
                  <a:pt x="0" y="50"/>
                  <a:pt x="50" y="0"/>
                  <a:pt x="112" y="0"/>
                </a:cubicBezTo>
                <a:cubicBezTo>
                  <a:pt x="174" y="0"/>
                  <a:pt x="224" y="50"/>
                  <a:pt x="224" y="112"/>
                </a:cubicBezTo>
                <a:cubicBezTo>
                  <a:pt x="224" y="140"/>
                  <a:pt x="214" y="166"/>
                  <a:pt x="197" y="185"/>
                </a:cubicBezTo>
                <a:moveTo>
                  <a:pt x="200" y="181"/>
                </a:moveTo>
                <a:cubicBezTo>
                  <a:pt x="197" y="185"/>
                  <a:pt x="197" y="185"/>
                  <a:pt x="197" y="185"/>
                </a:cubicBezTo>
                <a:cubicBezTo>
                  <a:pt x="197" y="185"/>
                  <a:pt x="156" y="217"/>
                  <a:pt x="156" y="265"/>
                </a:cubicBezTo>
                <a:cubicBezTo>
                  <a:pt x="156" y="312"/>
                  <a:pt x="156" y="312"/>
                  <a:pt x="156" y="312"/>
                </a:cubicBezTo>
                <a:cubicBezTo>
                  <a:pt x="156" y="312"/>
                  <a:pt x="156" y="312"/>
                  <a:pt x="156" y="312"/>
                </a:cubicBezTo>
                <a:moveTo>
                  <a:pt x="67" y="269"/>
                </a:moveTo>
                <a:cubicBezTo>
                  <a:pt x="156" y="269"/>
                  <a:pt x="156" y="269"/>
                  <a:pt x="156" y="269"/>
                </a:cubicBezTo>
              </a:path>
            </a:pathLst>
          </a:custGeom>
          <a:noFill/>
          <a:ln w="28575">
            <a:solidFill>
              <a:srgbClr val="001F50"/>
            </a:solidFill>
            <a:headEnd type="none" w="med" len="med"/>
            <a:tailEnd type="none" w="med" len="med"/>
          </a:ln>
          <a:effectLst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0010866D-64D6-406B-A8F7-E28C43E16DE7}"/>
              </a:ext>
            </a:extLst>
          </p:cNvPr>
          <p:cNvSpPr/>
          <p:nvPr/>
        </p:nvSpPr>
        <p:spPr>
          <a:xfrm>
            <a:off x="412602" y="5684634"/>
            <a:ext cx="1273926" cy="4708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2400" kern="0" spc="5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usted</a:t>
            </a:r>
          </a:p>
        </p:txBody>
      </p:sp>
      <p:sp>
        <p:nvSpPr>
          <p:cNvPr id="108" name="Freeform 100">
            <a:extLst>
              <a:ext uri="{FF2B5EF4-FFF2-40B4-BE49-F238E27FC236}">
                <a16:creationId xmlns:a16="http://schemas.microsoft.com/office/drawing/2014/main" id="{6AEF098E-F657-4B75-A692-C58E4F5D30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1136" y="4920775"/>
            <a:ext cx="659508" cy="652579"/>
          </a:xfrm>
          <a:custGeom>
            <a:avLst/>
            <a:gdLst>
              <a:gd name="T0" fmla="*/ 3212 w 13440"/>
              <a:gd name="T1" fmla="*/ 3671 h 13299"/>
              <a:gd name="T2" fmla="*/ 3433 w 13440"/>
              <a:gd name="T3" fmla="*/ 3583 h 13299"/>
              <a:gd name="T4" fmla="*/ 3600 w 13440"/>
              <a:gd name="T5" fmla="*/ 3415 h 13299"/>
              <a:gd name="T6" fmla="*/ 3689 w 13440"/>
              <a:gd name="T7" fmla="*/ 3194 h 13299"/>
              <a:gd name="T8" fmla="*/ 3697 w 13440"/>
              <a:gd name="T9" fmla="*/ 3009 h 13299"/>
              <a:gd name="T10" fmla="*/ 3627 w 13440"/>
              <a:gd name="T11" fmla="*/ 2762 h 13299"/>
              <a:gd name="T12" fmla="*/ 3477 w 13440"/>
              <a:gd name="T13" fmla="*/ 2577 h 13299"/>
              <a:gd name="T14" fmla="*/ 3274 w 13440"/>
              <a:gd name="T15" fmla="*/ 2462 h 13299"/>
              <a:gd name="T16" fmla="*/ 3088 w 13440"/>
              <a:gd name="T17" fmla="*/ 2427 h 13299"/>
              <a:gd name="T18" fmla="*/ 2833 w 13440"/>
              <a:gd name="T19" fmla="*/ 2480 h 13299"/>
              <a:gd name="T20" fmla="*/ 2630 w 13440"/>
              <a:gd name="T21" fmla="*/ 2621 h 13299"/>
              <a:gd name="T22" fmla="*/ 2488 w 13440"/>
              <a:gd name="T23" fmla="*/ 2824 h 13299"/>
              <a:gd name="T24" fmla="*/ 2444 w 13440"/>
              <a:gd name="T25" fmla="*/ 3080 h 13299"/>
              <a:gd name="T26" fmla="*/ 2471 w 13440"/>
              <a:gd name="T27" fmla="*/ 3256 h 13299"/>
              <a:gd name="T28" fmla="*/ 2585 w 13440"/>
              <a:gd name="T29" fmla="*/ 3459 h 13299"/>
              <a:gd name="T30" fmla="*/ 2780 w 13440"/>
              <a:gd name="T31" fmla="*/ 3609 h 13299"/>
              <a:gd name="T32" fmla="*/ 3027 w 13440"/>
              <a:gd name="T33" fmla="*/ 3680 h 13299"/>
              <a:gd name="T34" fmla="*/ 6988 w 13440"/>
              <a:gd name="T35" fmla="*/ 8127 h 13299"/>
              <a:gd name="T36" fmla="*/ 6380 w 13440"/>
              <a:gd name="T37" fmla="*/ 8480 h 13299"/>
              <a:gd name="T38" fmla="*/ 5718 w 13440"/>
              <a:gd name="T39" fmla="*/ 8736 h 13299"/>
              <a:gd name="T40" fmla="*/ 5004 w 13440"/>
              <a:gd name="T41" fmla="*/ 8886 h 13299"/>
              <a:gd name="T42" fmla="*/ 4439 w 13440"/>
              <a:gd name="T43" fmla="*/ 8921 h 13299"/>
              <a:gd name="T44" fmla="*/ 3547 w 13440"/>
              <a:gd name="T45" fmla="*/ 8824 h 13299"/>
              <a:gd name="T46" fmla="*/ 2709 w 13440"/>
              <a:gd name="T47" fmla="*/ 8568 h 13299"/>
              <a:gd name="T48" fmla="*/ 1959 w 13440"/>
              <a:gd name="T49" fmla="*/ 8153 h 13299"/>
              <a:gd name="T50" fmla="*/ 1297 w 13440"/>
              <a:gd name="T51" fmla="*/ 7615 h 13299"/>
              <a:gd name="T52" fmla="*/ 759 w 13440"/>
              <a:gd name="T53" fmla="*/ 6953 h 13299"/>
              <a:gd name="T54" fmla="*/ 344 w 13440"/>
              <a:gd name="T55" fmla="*/ 6195 h 13299"/>
              <a:gd name="T56" fmla="*/ 88 w 13440"/>
              <a:gd name="T57" fmla="*/ 5357 h 13299"/>
              <a:gd name="T58" fmla="*/ 0 w 13440"/>
              <a:gd name="T59" fmla="*/ 4456 h 13299"/>
              <a:gd name="T60" fmla="*/ 44 w 13440"/>
              <a:gd name="T61" fmla="*/ 3777 h 13299"/>
              <a:gd name="T62" fmla="*/ 264 w 13440"/>
              <a:gd name="T63" fmla="*/ 2921 h 13299"/>
              <a:gd name="T64" fmla="*/ 644 w 13440"/>
              <a:gd name="T65" fmla="*/ 2135 h 13299"/>
              <a:gd name="T66" fmla="*/ 1156 w 13440"/>
              <a:gd name="T67" fmla="*/ 1456 h 13299"/>
              <a:gd name="T68" fmla="*/ 1782 w 13440"/>
              <a:gd name="T69" fmla="*/ 882 h 13299"/>
              <a:gd name="T70" fmla="*/ 2515 w 13440"/>
              <a:gd name="T71" fmla="*/ 432 h 13299"/>
              <a:gd name="T72" fmla="*/ 3327 w 13440"/>
              <a:gd name="T73" fmla="*/ 132 h 13299"/>
              <a:gd name="T74" fmla="*/ 4209 w 13440"/>
              <a:gd name="T75" fmla="*/ 0 h 13299"/>
              <a:gd name="T76" fmla="*/ 4898 w 13440"/>
              <a:gd name="T77" fmla="*/ 17 h 13299"/>
              <a:gd name="T78" fmla="*/ 5771 w 13440"/>
              <a:gd name="T79" fmla="*/ 194 h 13299"/>
              <a:gd name="T80" fmla="*/ 6574 w 13440"/>
              <a:gd name="T81" fmla="*/ 529 h 13299"/>
              <a:gd name="T82" fmla="*/ 7288 w 13440"/>
              <a:gd name="T83" fmla="*/ 1015 h 13299"/>
              <a:gd name="T84" fmla="*/ 7897 w 13440"/>
              <a:gd name="T85" fmla="*/ 1615 h 13299"/>
              <a:gd name="T86" fmla="*/ 8383 w 13440"/>
              <a:gd name="T87" fmla="*/ 2329 h 13299"/>
              <a:gd name="T88" fmla="*/ 8718 w 13440"/>
              <a:gd name="T89" fmla="*/ 3124 h 13299"/>
              <a:gd name="T90" fmla="*/ 8894 w 13440"/>
              <a:gd name="T91" fmla="*/ 3997 h 13299"/>
              <a:gd name="T92" fmla="*/ 8912 w 13440"/>
              <a:gd name="T93" fmla="*/ 4642 h 13299"/>
              <a:gd name="T94" fmla="*/ 8833 w 13440"/>
              <a:gd name="T95" fmla="*/ 5321 h 13299"/>
              <a:gd name="T96" fmla="*/ 13439 w 13440"/>
              <a:gd name="T97" fmla="*/ 10456 h 13299"/>
              <a:gd name="T98" fmla="*/ 10748 w 13440"/>
              <a:gd name="T99" fmla="*/ 13298 h 13299"/>
              <a:gd name="T100" fmla="*/ 9000 w 13440"/>
              <a:gd name="T101" fmla="*/ 11471 h 13299"/>
              <a:gd name="T102" fmla="*/ 7129 w 13440"/>
              <a:gd name="T103" fmla="*/ 9689 h 13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3440" h="13299">
                <a:moveTo>
                  <a:pt x="3088" y="3689"/>
                </a:moveTo>
                <a:lnTo>
                  <a:pt x="3088" y="3689"/>
                </a:lnTo>
                <a:lnTo>
                  <a:pt x="3150" y="3680"/>
                </a:lnTo>
                <a:lnTo>
                  <a:pt x="3212" y="3671"/>
                </a:lnTo>
                <a:lnTo>
                  <a:pt x="3274" y="3662"/>
                </a:lnTo>
                <a:lnTo>
                  <a:pt x="3327" y="3636"/>
                </a:lnTo>
                <a:lnTo>
                  <a:pt x="3380" y="3609"/>
                </a:lnTo>
                <a:lnTo>
                  <a:pt x="3433" y="3583"/>
                </a:lnTo>
                <a:lnTo>
                  <a:pt x="3477" y="3547"/>
                </a:lnTo>
                <a:lnTo>
                  <a:pt x="3521" y="3503"/>
                </a:lnTo>
                <a:lnTo>
                  <a:pt x="3556" y="3459"/>
                </a:lnTo>
                <a:lnTo>
                  <a:pt x="3600" y="3415"/>
                </a:lnTo>
                <a:lnTo>
                  <a:pt x="3627" y="3362"/>
                </a:lnTo>
                <a:lnTo>
                  <a:pt x="3653" y="3309"/>
                </a:lnTo>
                <a:lnTo>
                  <a:pt x="3671" y="3256"/>
                </a:lnTo>
                <a:lnTo>
                  <a:pt x="3689" y="3194"/>
                </a:lnTo>
                <a:lnTo>
                  <a:pt x="3697" y="3141"/>
                </a:lnTo>
                <a:lnTo>
                  <a:pt x="3706" y="3080"/>
                </a:lnTo>
                <a:lnTo>
                  <a:pt x="3706" y="3080"/>
                </a:lnTo>
                <a:lnTo>
                  <a:pt x="3697" y="3009"/>
                </a:lnTo>
                <a:lnTo>
                  <a:pt x="3689" y="2947"/>
                </a:lnTo>
                <a:lnTo>
                  <a:pt x="3671" y="2885"/>
                </a:lnTo>
                <a:lnTo>
                  <a:pt x="3653" y="2824"/>
                </a:lnTo>
                <a:lnTo>
                  <a:pt x="3627" y="2762"/>
                </a:lnTo>
                <a:lnTo>
                  <a:pt x="3600" y="2709"/>
                </a:lnTo>
                <a:lnTo>
                  <a:pt x="3556" y="2665"/>
                </a:lnTo>
                <a:lnTo>
                  <a:pt x="3521" y="2621"/>
                </a:lnTo>
                <a:lnTo>
                  <a:pt x="3477" y="2577"/>
                </a:lnTo>
                <a:lnTo>
                  <a:pt x="3433" y="2541"/>
                </a:lnTo>
                <a:lnTo>
                  <a:pt x="3380" y="2506"/>
                </a:lnTo>
                <a:lnTo>
                  <a:pt x="3327" y="2480"/>
                </a:lnTo>
                <a:lnTo>
                  <a:pt x="3274" y="2462"/>
                </a:lnTo>
                <a:lnTo>
                  <a:pt x="3212" y="2444"/>
                </a:lnTo>
                <a:lnTo>
                  <a:pt x="3150" y="2435"/>
                </a:lnTo>
                <a:lnTo>
                  <a:pt x="3088" y="2427"/>
                </a:lnTo>
                <a:lnTo>
                  <a:pt x="3088" y="2427"/>
                </a:lnTo>
                <a:lnTo>
                  <a:pt x="3027" y="2435"/>
                </a:lnTo>
                <a:lnTo>
                  <a:pt x="2956" y="2444"/>
                </a:lnTo>
                <a:lnTo>
                  <a:pt x="2894" y="2462"/>
                </a:lnTo>
                <a:lnTo>
                  <a:pt x="2833" y="2480"/>
                </a:lnTo>
                <a:lnTo>
                  <a:pt x="2780" y="2506"/>
                </a:lnTo>
                <a:lnTo>
                  <a:pt x="2727" y="2541"/>
                </a:lnTo>
                <a:lnTo>
                  <a:pt x="2674" y="2577"/>
                </a:lnTo>
                <a:lnTo>
                  <a:pt x="2630" y="2621"/>
                </a:lnTo>
                <a:lnTo>
                  <a:pt x="2585" y="2665"/>
                </a:lnTo>
                <a:lnTo>
                  <a:pt x="2550" y="2709"/>
                </a:lnTo>
                <a:lnTo>
                  <a:pt x="2515" y="2762"/>
                </a:lnTo>
                <a:lnTo>
                  <a:pt x="2488" y="2824"/>
                </a:lnTo>
                <a:lnTo>
                  <a:pt x="2471" y="2885"/>
                </a:lnTo>
                <a:lnTo>
                  <a:pt x="2453" y="2947"/>
                </a:lnTo>
                <a:lnTo>
                  <a:pt x="2444" y="3009"/>
                </a:lnTo>
                <a:lnTo>
                  <a:pt x="2444" y="3080"/>
                </a:lnTo>
                <a:lnTo>
                  <a:pt x="2444" y="3080"/>
                </a:lnTo>
                <a:lnTo>
                  <a:pt x="2444" y="3141"/>
                </a:lnTo>
                <a:lnTo>
                  <a:pt x="2453" y="3194"/>
                </a:lnTo>
                <a:lnTo>
                  <a:pt x="2471" y="3256"/>
                </a:lnTo>
                <a:lnTo>
                  <a:pt x="2488" y="3309"/>
                </a:lnTo>
                <a:lnTo>
                  <a:pt x="2515" y="3362"/>
                </a:lnTo>
                <a:lnTo>
                  <a:pt x="2550" y="3415"/>
                </a:lnTo>
                <a:lnTo>
                  <a:pt x="2585" y="3459"/>
                </a:lnTo>
                <a:lnTo>
                  <a:pt x="2630" y="3503"/>
                </a:lnTo>
                <a:lnTo>
                  <a:pt x="2674" y="3547"/>
                </a:lnTo>
                <a:lnTo>
                  <a:pt x="2727" y="3583"/>
                </a:lnTo>
                <a:lnTo>
                  <a:pt x="2780" y="3609"/>
                </a:lnTo>
                <a:lnTo>
                  <a:pt x="2833" y="3636"/>
                </a:lnTo>
                <a:lnTo>
                  <a:pt x="2894" y="3662"/>
                </a:lnTo>
                <a:lnTo>
                  <a:pt x="2956" y="3671"/>
                </a:lnTo>
                <a:lnTo>
                  <a:pt x="3027" y="3680"/>
                </a:lnTo>
                <a:lnTo>
                  <a:pt x="3088" y="3689"/>
                </a:lnTo>
                <a:close/>
                <a:moveTo>
                  <a:pt x="7129" y="8021"/>
                </a:moveTo>
                <a:lnTo>
                  <a:pt x="7129" y="8021"/>
                </a:lnTo>
                <a:lnTo>
                  <a:pt x="6988" y="8127"/>
                </a:lnTo>
                <a:lnTo>
                  <a:pt x="6838" y="8224"/>
                </a:lnTo>
                <a:lnTo>
                  <a:pt x="6689" y="8321"/>
                </a:lnTo>
                <a:lnTo>
                  <a:pt x="6539" y="8400"/>
                </a:lnTo>
                <a:lnTo>
                  <a:pt x="6380" y="8480"/>
                </a:lnTo>
                <a:lnTo>
                  <a:pt x="6221" y="8559"/>
                </a:lnTo>
                <a:lnTo>
                  <a:pt x="6054" y="8621"/>
                </a:lnTo>
                <a:lnTo>
                  <a:pt x="5886" y="8683"/>
                </a:lnTo>
                <a:lnTo>
                  <a:pt x="5718" y="8736"/>
                </a:lnTo>
                <a:lnTo>
                  <a:pt x="5542" y="8789"/>
                </a:lnTo>
                <a:lnTo>
                  <a:pt x="5365" y="8824"/>
                </a:lnTo>
                <a:lnTo>
                  <a:pt x="5180" y="8859"/>
                </a:lnTo>
                <a:lnTo>
                  <a:pt x="5004" y="8886"/>
                </a:lnTo>
                <a:lnTo>
                  <a:pt x="4818" y="8903"/>
                </a:lnTo>
                <a:lnTo>
                  <a:pt x="4624" y="8912"/>
                </a:lnTo>
                <a:lnTo>
                  <a:pt x="4439" y="8921"/>
                </a:lnTo>
                <a:lnTo>
                  <a:pt x="4439" y="8921"/>
                </a:lnTo>
                <a:lnTo>
                  <a:pt x="4209" y="8912"/>
                </a:lnTo>
                <a:lnTo>
                  <a:pt x="3989" y="8894"/>
                </a:lnTo>
                <a:lnTo>
                  <a:pt x="3759" y="8868"/>
                </a:lnTo>
                <a:lnTo>
                  <a:pt x="3547" y="8824"/>
                </a:lnTo>
                <a:lnTo>
                  <a:pt x="3327" y="8780"/>
                </a:lnTo>
                <a:lnTo>
                  <a:pt x="3124" y="8718"/>
                </a:lnTo>
                <a:lnTo>
                  <a:pt x="2912" y="8647"/>
                </a:lnTo>
                <a:lnTo>
                  <a:pt x="2709" y="8568"/>
                </a:lnTo>
                <a:lnTo>
                  <a:pt x="2515" y="8480"/>
                </a:lnTo>
                <a:lnTo>
                  <a:pt x="2321" y="8383"/>
                </a:lnTo>
                <a:lnTo>
                  <a:pt x="2135" y="8277"/>
                </a:lnTo>
                <a:lnTo>
                  <a:pt x="1959" y="8153"/>
                </a:lnTo>
                <a:lnTo>
                  <a:pt x="1782" y="8030"/>
                </a:lnTo>
                <a:lnTo>
                  <a:pt x="1615" y="7897"/>
                </a:lnTo>
                <a:lnTo>
                  <a:pt x="1456" y="7765"/>
                </a:lnTo>
                <a:lnTo>
                  <a:pt x="1297" y="7615"/>
                </a:lnTo>
                <a:lnTo>
                  <a:pt x="1156" y="7456"/>
                </a:lnTo>
                <a:lnTo>
                  <a:pt x="1015" y="7297"/>
                </a:lnTo>
                <a:lnTo>
                  <a:pt x="882" y="7129"/>
                </a:lnTo>
                <a:lnTo>
                  <a:pt x="759" y="6953"/>
                </a:lnTo>
                <a:lnTo>
                  <a:pt x="644" y="6776"/>
                </a:lnTo>
                <a:lnTo>
                  <a:pt x="529" y="6583"/>
                </a:lnTo>
                <a:lnTo>
                  <a:pt x="432" y="6398"/>
                </a:lnTo>
                <a:lnTo>
                  <a:pt x="344" y="6195"/>
                </a:lnTo>
                <a:lnTo>
                  <a:pt x="264" y="5992"/>
                </a:lnTo>
                <a:lnTo>
                  <a:pt x="194" y="5789"/>
                </a:lnTo>
                <a:lnTo>
                  <a:pt x="132" y="5577"/>
                </a:lnTo>
                <a:lnTo>
                  <a:pt x="88" y="5357"/>
                </a:lnTo>
                <a:lnTo>
                  <a:pt x="44" y="5136"/>
                </a:lnTo>
                <a:lnTo>
                  <a:pt x="17" y="4915"/>
                </a:lnTo>
                <a:lnTo>
                  <a:pt x="0" y="4686"/>
                </a:lnTo>
                <a:lnTo>
                  <a:pt x="0" y="4456"/>
                </a:lnTo>
                <a:lnTo>
                  <a:pt x="0" y="4456"/>
                </a:lnTo>
                <a:lnTo>
                  <a:pt x="0" y="4227"/>
                </a:lnTo>
                <a:lnTo>
                  <a:pt x="17" y="3997"/>
                </a:lnTo>
                <a:lnTo>
                  <a:pt x="44" y="3777"/>
                </a:lnTo>
                <a:lnTo>
                  <a:pt x="88" y="3556"/>
                </a:lnTo>
                <a:lnTo>
                  <a:pt x="132" y="3336"/>
                </a:lnTo>
                <a:lnTo>
                  <a:pt x="194" y="3124"/>
                </a:lnTo>
                <a:lnTo>
                  <a:pt x="264" y="2921"/>
                </a:lnTo>
                <a:lnTo>
                  <a:pt x="344" y="2718"/>
                </a:lnTo>
                <a:lnTo>
                  <a:pt x="432" y="2515"/>
                </a:lnTo>
                <a:lnTo>
                  <a:pt x="529" y="2329"/>
                </a:lnTo>
                <a:lnTo>
                  <a:pt x="644" y="2135"/>
                </a:lnTo>
                <a:lnTo>
                  <a:pt x="759" y="1959"/>
                </a:lnTo>
                <a:lnTo>
                  <a:pt x="882" y="1782"/>
                </a:lnTo>
                <a:lnTo>
                  <a:pt x="1015" y="1615"/>
                </a:lnTo>
                <a:lnTo>
                  <a:pt x="1156" y="1456"/>
                </a:lnTo>
                <a:lnTo>
                  <a:pt x="1297" y="1297"/>
                </a:lnTo>
                <a:lnTo>
                  <a:pt x="1456" y="1147"/>
                </a:lnTo>
                <a:lnTo>
                  <a:pt x="1615" y="1015"/>
                </a:lnTo>
                <a:lnTo>
                  <a:pt x="1782" y="882"/>
                </a:lnTo>
                <a:lnTo>
                  <a:pt x="1959" y="759"/>
                </a:lnTo>
                <a:lnTo>
                  <a:pt x="2135" y="635"/>
                </a:lnTo>
                <a:lnTo>
                  <a:pt x="2321" y="529"/>
                </a:lnTo>
                <a:lnTo>
                  <a:pt x="2515" y="432"/>
                </a:lnTo>
                <a:lnTo>
                  <a:pt x="2709" y="344"/>
                </a:lnTo>
                <a:lnTo>
                  <a:pt x="2912" y="264"/>
                </a:lnTo>
                <a:lnTo>
                  <a:pt x="3124" y="194"/>
                </a:lnTo>
                <a:lnTo>
                  <a:pt x="3327" y="132"/>
                </a:lnTo>
                <a:lnTo>
                  <a:pt x="3547" y="88"/>
                </a:lnTo>
                <a:lnTo>
                  <a:pt x="3759" y="44"/>
                </a:lnTo>
                <a:lnTo>
                  <a:pt x="3989" y="17"/>
                </a:lnTo>
                <a:lnTo>
                  <a:pt x="4209" y="0"/>
                </a:lnTo>
                <a:lnTo>
                  <a:pt x="4439" y="0"/>
                </a:lnTo>
                <a:lnTo>
                  <a:pt x="4439" y="0"/>
                </a:lnTo>
                <a:lnTo>
                  <a:pt x="4668" y="0"/>
                </a:lnTo>
                <a:lnTo>
                  <a:pt x="4898" y="17"/>
                </a:lnTo>
                <a:lnTo>
                  <a:pt x="5118" y="44"/>
                </a:lnTo>
                <a:lnTo>
                  <a:pt x="5348" y="88"/>
                </a:lnTo>
                <a:lnTo>
                  <a:pt x="5559" y="132"/>
                </a:lnTo>
                <a:lnTo>
                  <a:pt x="5771" y="194"/>
                </a:lnTo>
                <a:lnTo>
                  <a:pt x="5983" y="264"/>
                </a:lnTo>
                <a:lnTo>
                  <a:pt x="6186" y="344"/>
                </a:lnTo>
                <a:lnTo>
                  <a:pt x="6389" y="432"/>
                </a:lnTo>
                <a:lnTo>
                  <a:pt x="6574" y="529"/>
                </a:lnTo>
                <a:lnTo>
                  <a:pt x="6768" y="635"/>
                </a:lnTo>
                <a:lnTo>
                  <a:pt x="6944" y="759"/>
                </a:lnTo>
                <a:lnTo>
                  <a:pt x="7121" y="882"/>
                </a:lnTo>
                <a:lnTo>
                  <a:pt x="7288" y="1015"/>
                </a:lnTo>
                <a:lnTo>
                  <a:pt x="7456" y="1147"/>
                </a:lnTo>
                <a:lnTo>
                  <a:pt x="7606" y="1297"/>
                </a:lnTo>
                <a:lnTo>
                  <a:pt x="7756" y="1456"/>
                </a:lnTo>
                <a:lnTo>
                  <a:pt x="7897" y="1615"/>
                </a:lnTo>
                <a:lnTo>
                  <a:pt x="8030" y="1782"/>
                </a:lnTo>
                <a:lnTo>
                  <a:pt x="8153" y="1959"/>
                </a:lnTo>
                <a:lnTo>
                  <a:pt x="8268" y="2135"/>
                </a:lnTo>
                <a:lnTo>
                  <a:pt x="8383" y="2329"/>
                </a:lnTo>
                <a:lnTo>
                  <a:pt x="8480" y="2515"/>
                </a:lnTo>
                <a:lnTo>
                  <a:pt x="8568" y="2718"/>
                </a:lnTo>
                <a:lnTo>
                  <a:pt x="8647" y="2921"/>
                </a:lnTo>
                <a:lnTo>
                  <a:pt x="8718" y="3124"/>
                </a:lnTo>
                <a:lnTo>
                  <a:pt x="8780" y="3336"/>
                </a:lnTo>
                <a:lnTo>
                  <a:pt x="8824" y="3556"/>
                </a:lnTo>
                <a:lnTo>
                  <a:pt x="8868" y="3777"/>
                </a:lnTo>
                <a:lnTo>
                  <a:pt x="8894" y="3997"/>
                </a:lnTo>
                <a:lnTo>
                  <a:pt x="8912" y="4227"/>
                </a:lnTo>
                <a:lnTo>
                  <a:pt x="8921" y="4456"/>
                </a:lnTo>
                <a:lnTo>
                  <a:pt x="8921" y="4456"/>
                </a:lnTo>
                <a:lnTo>
                  <a:pt x="8912" y="4642"/>
                </a:lnTo>
                <a:lnTo>
                  <a:pt x="8903" y="4818"/>
                </a:lnTo>
                <a:lnTo>
                  <a:pt x="8886" y="4986"/>
                </a:lnTo>
                <a:lnTo>
                  <a:pt x="8859" y="5154"/>
                </a:lnTo>
                <a:lnTo>
                  <a:pt x="8833" y="5321"/>
                </a:lnTo>
                <a:lnTo>
                  <a:pt x="8797" y="5480"/>
                </a:lnTo>
                <a:lnTo>
                  <a:pt x="8718" y="5798"/>
                </a:lnTo>
                <a:lnTo>
                  <a:pt x="8718" y="5798"/>
                </a:lnTo>
                <a:lnTo>
                  <a:pt x="13439" y="10456"/>
                </a:lnTo>
                <a:lnTo>
                  <a:pt x="13439" y="10456"/>
                </a:lnTo>
                <a:lnTo>
                  <a:pt x="13439" y="13298"/>
                </a:lnTo>
                <a:lnTo>
                  <a:pt x="13439" y="13298"/>
                </a:lnTo>
                <a:lnTo>
                  <a:pt x="10748" y="13298"/>
                </a:lnTo>
                <a:lnTo>
                  <a:pt x="10748" y="13298"/>
                </a:lnTo>
                <a:lnTo>
                  <a:pt x="10748" y="11471"/>
                </a:lnTo>
                <a:lnTo>
                  <a:pt x="10748" y="11471"/>
                </a:lnTo>
                <a:lnTo>
                  <a:pt x="9000" y="11471"/>
                </a:lnTo>
                <a:lnTo>
                  <a:pt x="9000" y="11471"/>
                </a:lnTo>
                <a:lnTo>
                  <a:pt x="9000" y="9689"/>
                </a:lnTo>
                <a:lnTo>
                  <a:pt x="9000" y="9689"/>
                </a:lnTo>
                <a:lnTo>
                  <a:pt x="7129" y="9689"/>
                </a:lnTo>
                <a:lnTo>
                  <a:pt x="7129" y="8021"/>
                </a:lnTo>
                <a:close/>
              </a:path>
            </a:pathLst>
          </a:custGeom>
          <a:noFill/>
          <a:ln w="28575" cap="flat">
            <a:solidFill>
              <a:srgbClr val="001F50"/>
            </a:solidFill>
            <a:bevel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32597">
              <a:defRPr/>
            </a:pPr>
            <a:endParaRPr lang="en-US" sz="1836">
              <a:solidFill>
                <a:srgbClr val="505050"/>
              </a:solidFill>
              <a:latin typeface="Segoe UI"/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40E4B2E6-3566-4087-B675-0B45C212F69D}"/>
              </a:ext>
            </a:extLst>
          </p:cNvPr>
          <p:cNvSpPr/>
          <p:nvPr/>
        </p:nvSpPr>
        <p:spPr>
          <a:xfrm>
            <a:off x="2590994" y="1243366"/>
            <a:ext cx="9098914" cy="5632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rgbClr val="505050"/>
                </a:solidFill>
                <a:latin typeface="&amp;quot"/>
              </a:rPr>
              <a:t>Productive</a:t>
            </a:r>
            <a:endParaRPr lang="en-US" sz="2400" dirty="0">
              <a:solidFill>
                <a:srgbClr val="505050"/>
              </a:solidFill>
              <a:latin typeface="&amp;quot"/>
            </a:endParaRPr>
          </a:p>
          <a:p>
            <a:r>
              <a:rPr lang="en-US" sz="2400" dirty="0">
                <a:solidFill>
                  <a:srgbClr val="505050"/>
                </a:solidFill>
                <a:latin typeface="&amp;quot"/>
              </a:rPr>
              <a:t>Azure has more than 100 services with great end-to-end tools to make you successful.</a:t>
            </a:r>
          </a:p>
          <a:p>
            <a:endParaRPr lang="en-US" sz="2400" dirty="0">
              <a:solidFill>
                <a:srgbClr val="505050"/>
              </a:solidFill>
              <a:latin typeface="&amp;quot"/>
            </a:endParaRPr>
          </a:p>
          <a:p>
            <a:r>
              <a:rPr lang="en-US" sz="2400" b="1" dirty="0">
                <a:solidFill>
                  <a:srgbClr val="505050"/>
                </a:solidFill>
                <a:latin typeface="&amp;quot"/>
              </a:rPr>
              <a:t>Hybrid</a:t>
            </a:r>
            <a:endParaRPr lang="en-US" sz="2400" dirty="0">
              <a:solidFill>
                <a:srgbClr val="505050"/>
              </a:solidFill>
              <a:latin typeface="&amp;quot"/>
            </a:endParaRPr>
          </a:p>
          <a:p>
            <a:r>
              <a:rPr lang="en-US" sz="2400" dirty="0">
                <a:solidFill>
                  <a:srgbClr val="505050"/>
                </a:solidFill>
                <a:latin typeface="&amp;quot"/>
              </a:rPr>
              <a:t>Develop and deploy where you want, with the only consistent hybrid cloud on the market. Extend Azure on-premises with Azure Stack.</a:t>
            </a:r>
          </a:p>
          <a:p>
            <a:endParaRPr lang="en-US" sz="2400" dirty="0">
              <a:solidFill>
                <a:srgbClr val="505050"/>
              </a:solidFill>
              <a:latin typeface="&amp;quot"/>
            </a:endParaRPr>
          </a:p>
          <a:p>
            <a:r>
              <a:rPr lang="en-US" sz="2400" b="1" dirty="0">
                <a:solidFill>
                  <a:srgbClr val="505050"/>
                </a:solidFill>
                <a:latin typeface="&amp;quot"/>
              </a:rPr>
              <a:t>Intelligent</a:t>
            </a:r>
            <a:endParaRPr lang="en-US" sz="2400" dirty="0">
              <a:solidFill>
                <a:srgbClr val="505050"/>
              </a:solidFill>
              <a:latin typeface="&amp;quot"/>
            </a:endParaRPr>
          </a:p>
          <a:p>
            <a:r>
              <a:rPr lang="en-US" sz="2400" dirty="0">
                <a:solidFill>
                  <a:srgbClr val="505050"/>
                </a:solidFill>
                <a:latin typeface="&amp;quot"/>
              </a:rPr>
              <a:t>Create intelligent apps using powerful data and artificial intelligence services.</a:t>
            </a:r>
          </a:p>
          <a:p>
            <a:endParaRPr lang="en-US" sz="2400" dirty="0">
              <a:solidFill>
                <a:srgbClr val="505050"/>
              </a:solidFill>
              <a:latin typeface="&amp;quot"/>
            </a:endParaRPr>
          </a:p>
          <a:p>
            <a:r>
              <a:rPr lang="en-US" sz="2400" b="1" dirty="0">
                <a:solidFill>
                  <a:srgbClr val="505050"/>
                </a:solidFill>
                <a:latin typeface="&amp;quot"/>
              </a:rPr>
              <a:t>Trusted</a:t>
            </a:r>
            <a:endParaRPr lang="en-US" sz="2400" dirty="0">
              <a:solidFill>
                <a:srgbClr val="505050"/>
              </a:solidFill>
              <a:latin typeface="&amp;quot"/>
            </a:endParaRPr>
          </a:p>
          <a:p>
            <a:r>
              <a:rPr lang="en-US" sz="2400" dirty="0">
                <a:solidFill>
                  <a:srgbClr val="505050"/>
                </a:solidFill>
                <a:latin typeface="&amp;quot"/>
              </a:rPr>
              <a:t>Join startups, governments, and 90% of Fortune 500 businesses who run on the Microsoft Cloud today.</a:t>
            </a:r>
            <a:endParaRPr lang="en-US" sz="2400" b="0" i="0" u="none" strike="noStrike" dirty="0">
              <a:solidFill>
                <a:srgbClr val="505050"/>
              </a:solidFill>
              <a:effectLst/>
              <a:latin typeface="&amp;quot"/>
            </a:endParaRPr>
          </a:p>
        </p:txBody>
      </p:sp>
    </p:spTree>
    <p:extLst>
      <p:ext uri="{BB962C8B-B14F-4D97-AF65-F5344CB8AC3E}">
        <p14:creationId xmlns:p14="http://schemas.microsoft.com/office/powerpoint/2010/main" val="300328398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4.81481E-6 L 3.33333E-6 0.04583 " pathEditMode="relative" rAng="0" ptsTypes="AA">
                                      <p:cBhvr>
                                        <p:cTn id="9" dur="500" spd="-100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29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/>
      <p:bldP spid="60" grpId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6AA8D26F-DD75-4CD0-A6EC-05928B39E37D}"/>
              </a:ext>
            </a:extLst>
          </p:cNvPr>
          <p:cNvCxnSpPr>
            <a:cxnSpLocks/>
          </p:cNvCxnSpPr>
          <p:nvPr/>
        </p:nvCxnSpPr>
        <p:spPr>
          <a:xfrm>
            <a:off x="1994007" y="496"/>
            <a:ext cx="0" cy="7025446"/>
          </a:xfrm>
          <a:prstGeom prst="line">
            <a:avLst/>
          </a:prstGeom>
          <a:noFill/>
          <a:ln w="19050" cap="flat">
            <a:solidFill>
              <a:schemeClr val="bg1">
                <a:lumMod val="75000"/>
                <a:alpha val="70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cxnSp>
      <p:sp>
        <p:nvSpPr>
          <p:cNvPr id="44" name="Rectangle 43">
            <a:extLst>
              <a:ext uri="{FF2B5EF4-FFF2-40B4-BE49-F238E27FC236}">
                <a16:creationId xmlns:a16="http://schemas.microsoft.com/office/drawing/2014/main" id="{CADBD9FC-8825-4F04-8D8B-B835D6C45EE5}"/>
              </a:ext>
            </a:extLst>
          </p:cNvPr>
          <p:cNvSpPr/>
          <p:nvPr/>
        </p:nvSpPr>
        <p:spPr>
          <a:xfrm>
            <a:off x="555210" y="5859328"/>
            <a:ext cx="924053" cy="345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1599" kern="0" spc="50">
                <a:solidFill>
                  <a:srgbClr val="353535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usted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285972A-B9CE-4FF3-BE1E-C9D48BE4CFC5}"/>
              </a:ext>
            </a:extLst>
          </p:cNvPr>
          <p:cNvSpPr/>
          <p:nvPr/>
        </p:nvSpPr>
        <p:spPr>
          <a:xfrm>
            <a:off x="594446" y="3164637"/>
            <a:ext cx="845579" cy="345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1599" kern="0" spc="50">
                <a:solidFill>
                  <a:srgbClr val="353535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ybrid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31F52A4E-9CFA-4820-86CD-B8A72F942549}"/>
              </a:ext>
            </a:extLst>
          </p:cNvPr>
          <p:cNvSpPr/>
          <p:nvPr/>
        </p:nvSpPr>
        <p:spPr>
          <a:xfrm>
            <a:off x="424415" y="4511982"/>
            <a:ext cx="1185640" cy="345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1599" kern="0" spc="50">
                <a:solidFill>
                  <a:srgbClr val="353535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telligent</a:t>
            </a:r>
          </a:p>
        </p:txBody>
      </p:sp>
      <p:sp>
        <p:nvSpPr>
          <p:cNvPr id="52" name="light">
            <a:extLst>
              <a:ext uri="{FF2B5EF4-FFF2-40B4-BE49-F238E27FC236}">
                <a16:creationId xmlns:a16="http://schemas.microsoft.com/office/drawing/2014/main" id="{F5980BDC-19E4-4D49-B671-D253BF187C8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71516" y="3872325"/>
            <a:ext cx="291439" cy="432683"/>
          </a:xfrm>
          <a:custGeom>
            <a:avLst/>
            <a:gdLst>
              <a:gd name="T0" fmla="*/ 156 w 224"/>
              <a:gd name="T1" fmla="*/ 312 h 334"/>
              <a:gd name="T2" fmla="*/ 134 w 224"/>
              <a:gd name="T3" fmla="*/ 334 h 334"/>
              <a:gd name="T4" fmla="*/ 89 w 224"/>
              <a:gd name="T5" fmla="*/ 334 h 334"/>
              <a:gd name="T6" fmla="*/ 67 w 224"/>
              <a:gd name="T7" fmla="*/ 312 h 334"/>
              <a:gd name="T8" fmla="*/ 67 w 224"/>
              <a:gd name="T9" fmla="*/ 261 h 334"/>
              <a:gd name="T10" fmla="*/ 37 w 224"/>
              <a:gd name="T11" fmla="*/ 195 h 334"/>
              <a:gd name="T12" fmla="*/ 27 w 224"/>
              <a:gd name="T13" fmla="*/ 185 h 334"/>
              <a:gd name="T14" fmla="*/ 0 w 224"/>
              <a:gd name="T15" fmla="*/ 112 h 334"/>
              <a:gd name="T16" fmla="*/ 112 w 224"/>
              <a:gd name="T17" fmla="*/ 0 h 334"/>
              <a:gd name="T18" fmla="*/ 224 w 224"/>
              <a:gd name="T19" fmla="*/ 112 h 334"/>
              <a:gd name="T20" fmla="*/ 197 w 224"/>
              <a:gd name="T21" fmla="*/ 185 h 334"/>
              <a:gd name="T22" fmla="*/ 200 w 224"/>
              <a:gd name="T23" fmla="*/ 181 h 334"/>
              <a:gd name="T24" fmla="*/ 197 w 224"/>
              <a:gd name="T25" fmla="*/ 185 h 334"/>
              <a:gd name="T26" fmla="*/ 156 w 224"/>
              <a:gd name="T27" fmla="*/ 265 h 334"/>
              <a:gd name="T28" fmla="*/ 156 w 224"/>
              <a:gd name="T29" fmla="*/ 312 h 334"/>
              <a:gd name="T30" fmla="*/ 156 w 224"/>
              <a:gd name="T31" fmla="*/ 312 h 334"/>
              <a:gd name="T32" fmla="*/ 67 w 224"/>
              <a:gd name="T33" fmla="*/ 269 h 334"/>
              <a:gd name="T34" fmla="*/ 156 w 224"/>
              <a:gd name="T35" fmla="*/ 269 h 3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24" h="334">
                <a:moveTo>
                  <a:pt x="156" y="312"/>
                </a:moveTo>
                <a:cubicBezTo>
                  <a:pt x="156" y="324"/>
                  <a:pt x="146" y="334"/>
                  <a:pt x="134" y="334"/>
                </a:cubicBezTo>
                <a:cubicBezTo>
                  <a:pt x="89" y="334"/>
                  <a:pt x="89" y="334"/>
                  <a:pt x="89" y="334"/>
                </a:cubicBezTo>
                <a:cubicBezTo>
                  <a:pt x="76" y="334"/>
                  <a:pt x="67" y="324"/>
                  <a:pt x="67" y="312"/>
                </a:cubicBezTo>
                <a:cubicBezTo>
                  <a:pt x="67" y="312"/>
                  <a:pt x="67" y="300"/>
                  <a:pt x="67" y="261"/>
                </a:cubicBezTo>
                <a:cubicBezTo>
                  <a:pt x="67" y="221"/>
                  <a:pt x="37" y="195"/>
                  <a:pt x="37" y="195"/>
                </a:cubicBezTo>
                <a:cubicBezTo>
                  <a:pt x="27" y="185"/>
                  <a:pt x="27" y="185"/>
                  <a:pt x="27" y="185"/>
                </a:cubicBezTo>
                <a:cubicBezTo>
                  <a:pt x="10" y="166"/>
                  <a:pt x="0" y="140"/>
                  <a:pt x="0" y="112"/>
                </a:cubicBezTo>
                <a:cubicBezTo>
                  <a:pt x="0" y="50"/>
                  <a:pt x="50" y="0"/>
                  <a:pt x="112" y="0"/>
                </a:cubicBezTo>
                <a:cubicBezTo>
                  <a:pt x="174" y="0"/>
                  <a:pt x="224" y="50"/>
                  <a:pt x="224" y="112"/>
                </a:cubicBezTo>
                <a:cubicBezTo>
                  <a:pt x="224" y="140"/>
                  <a:pt x="214" y="166"/>
                  <a:pt x="197" y="185"/>
                </a:cubicBezTo>
                <a:moveTo>
                  <a:pt x="200" y="181"/>
                </a:moveTo>
                <a:cubicBezTo>
                  <a:pt x="197" y="185"/>
                  <a:pt x="197" y="185"/>
                  <a:pt x="197" y="185"/>
                </a:cubicBezTo>
                <a:cubicBezTo>
                  <a:pt x="197" y="185"/>
                  <a:pt x="156" y="217"/>
                  <a:pt x="156" y="265"/>
                </a:cubicBezTo>
                <a:cubicBezTo>
                  <a:pt x="156" y="312"/>
                  <a:pt x="156" y="312"/>
                  <a:pt x="156" y="312"/>
                </a:cubicBezTo>
                <a:cubicBezTo>
                  <a:pt x="156" y="312"/>
                  <a:pt x="156" y="312"/>
                  <a:pt x="156" y="312"/>
                </a:cubicBezTo>
                <a:moveTo>
                  <a:pt x="67" y="269"/>
                </a:moveTo>
                <a:cubicBezTo>
                  <a:pt x="156" y="269"/>
                  <a:pt x="156" y="269"/>
                  <a:pt x="156" y="269"/>
                </a:cubicBezTo>
              </a:path>
            </a:pathLst>
          </a:custGeom>
          <a:noFill/>
          <a:ln w="28575">
            <a:solidFill>
              <a:srgbClr val="B3B2B4"/>
            </a:solidFill>
            <a:headEnd type="none" w="med" len="med"/>
            <a:tailEnd type="none" w="med" len="med"/>
          </a:ln>
          <a:effectLst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sp>
        <p:nvSpPr>
          <p:cNvPr id="57" name="Freeform 60">
            <a:extLst>
              <a:ext uri="{FF2B5EF4-FFF2-40B4-BE49-F238E27FC236}">
                <a16:creationId xmlns:a16="http://schemas.microsoft.com/office/drawing/2014/main" id="{9C8B8BDC-4887-49C0-9AA2-0E0DAE49BE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6909" y="5192874"/>
            <a:ext cx="480655" cy="475606"/>
          </a:xfrm>
          <a:custGeom>
            <a:avLst/>
            <a:gdLst>
              <a:gd name="T0" fmla="*/ 3212 w 13440"/>
              <a:gd name="T1" fmla="*/ 3671 h 13299"/>
              <a:gd name="T2" fmla="*/ 3433 w 13440"/>
              <a:gd name="T3" fmla="*/ 3583 h 13299"/>
              <a:gd name="T4" fmla="*/ 3600 w 13440"/>
              <a:gd name="T5" fmla="*/ 3415 h 13299"/>
              <a:gd name="T6" fmla="*/ 3689 w 13440"/>
              <a:gd name="T7" fmla="*/ 3194 h 13299"/>
              <a:gd name="T8" fmla="*/ 3697 w 13440"/>
              <a:gd name="T9" fmla="*/ 3009 h 13299"/>
              <a:gd name="T10" fmla="*/ 3627 w 13440"/>
              <a:gd name="T11" fmla="*/ 2762 h 13299"/>
              <a:gd name="T12" fmla="*/ 3477 w 13440"/>
              <a:gd name="T13" fmla="*/ 2577 h 13299"/>
              <a:gd name="T14" fmla="*/ 3274 w 13440"/>
              <a:gd name="T15" fmla="*/ 2462 h 13299"/>
              <a:gd name="T16" fmla="*/ 3088 w 13440"/>
              <a:gd name="T17" fmla="*/ 2427 h 13299"/>
              <a:gd name="T18" fmla="*/ 2833 w 13440"/>
              <a:gd name="T19" fmla="*/ 2480 h 13299"/>
              <a:gd name="T20" fmla="*/ 2630 w 13440"/>
              <a:gd name="T21" fmla="*/ 2621 h 13299"/>
              <a:gd name="T22" fmla="*/ 2488 w 13440"/>
              <a:gd name="T23" fmla="*/ 2824 h 13299"/>
              <a:gd name="T24" fmla="*/ 2444 w 13440"/>
              <a:gd name="T25" fmla="*/ 3080 h 13299"/>
              <a:gd name="T26" fmla="*/ 2471 w 13440"/>
              <a:gd name="T27" fmla="*/ 3256 h 13299"/>
              <a:gd name="T28" fmla="*/ 2585 w 13440"/>
              <a:gd name="T29" fmla="*/ 3459 h 13299"/>
              <a:gd name="T30" fmla="*/ 2780 w 13440"/>
              <a:gd name="T31" fmla="*/ 3609 h 13299"/>
              <a:gd name="T32" fmla="*/ 3027 w 13440"/>
              <a:gd name="T33" fmla="*/ 3680 h 13299"/>
              <a:gd name="T34" fmla="*/ 6988 w 13440"/>
              <a:gd name="T35" fmla="*/ 8127 h 13299"/>
              <a:gd name="T36" fmla="*/ 6380 w 13440"/>
              <a:gd name="T37" fmla="*/ 8480 h 13299"/>
              <a:gd name="T38" fmla="*/ 5718 w 13440"/>
              <a:gd name="T39" fmla="*/ 8736 h 13299"/>
              <a:gd name="T40" fmla="*/ 5004 w 13440"/>
              <a:gd name="T41" fmla="*/ 8886 h 13299"/>
              <a:gd name="T42" fmla="*/ 4439 w 13440"/>
              <a:gd name="T43" fmla="*/ 8921 h 13299"/>
              <a:gd name="T44" fmla="*/ 3547 w 13440"/>
              <a:gd name="T45" fmla="*/ 8824 h 13299"/>
              <a:gd name="T46" fmla="*/ 2709 w 13440"/>
              <a:gd name="T47" fmla="*/ 8568 h 13299"/>
              <a:gd name="T48" fmla="*/ 1959 w 13440"/>
              <a:gd name="T49" fmla="*/ 8153 h 13299"/>
              <a:gd name="T50" fmla="*/ 1297 w 13440"/>
              <a:gd name="T51" fmla="*/ 7615 h 13299"/>
              <a:gd name="T52" fmla="*/ 759 w 13440"/>
              <a:gd name="T53" fmla="*/ 6953 h 13299"/>
              <a:gd name="T54" fmla="*/ 344 w 13440"/>
              <a:gd name="T55" fmla="*/ 6195 h 13299"/>
              <a:gd name="T56" fmla="*/ 88 w 13440"/>
              <a:gd name="T57" fmla="*/ 5357 h 13299"/>
              <a:gd name="T58" fmla="*/ 0 w 13440"/>
              <a:gd name="T59" fmla="*/ 4456 h 13299"/>
              <a:gd name="T60" fmla="*/ 44 w 13440"/>
              <a:gd name="T61" fmla="*/ 3777 h 13299"/>
              <a:gd name="T62" fmla="*/ 264 w 13440"/>
              <a:gd name="T63" fmla="*/ 2921 h 13299"/>
              <a:gd name="T64" fmla="*/ 644 w 13440"/>
              <a:gd name="T65" fmla="*/ 2135 h 13299"/>
              <a:gd name="T66" fmla="*/ 1156 w 13440"/>
              <a:gd name="T67" fmla="*/ 1456 h 13299"/>
              <a:gd name="T68" fmla="*/ 1782 w 13440"/>
              <a:gd name="T69" fmla="*/ 882 h 13299"/>
              <a:gd name="T70" fmla="*/ 2515 w 13440"/>
              <a:gd name="T71" fmla="*/ 432 h 13299"/>
              <a:gd name="T72" fmla="*/ 3327 w 13440"/>
              <a:gd name="T73" fmla="*/ 132 h 13299"/>
              <a:gd name="T74" fmla="*/ 4209 w 13440"/>
              <a:gd name="T75" fmla="*/ 0 h 13299"/>
              <a:gd name="T76" fmla="*/ 4898 w 13440"/>
              <a:gd name="T77" fmla="*/ 17 h 13299"/>
              <a:gd name="T78" fmla="*/ 5771 w 13440"/>
              <a:gd name="T79" fmla="*/ 194 h 13299"/>
              <a:gd name="T80" fmla="*/ 6574 w 13440"/>
              <a:gd name="T81" fmla="*/ 529 h 13299"/>
              <a:gd name="T82" fmla="*/ 7288 w 13440"/>
              <a:gd name="T83" fmla="*/ 1015 h 13299"/>
              <a:gd name="T84" fmla="*/ 7897 w 13440"/>
              <a:gd name="T85" fmla="*/ 1615 h 13299"/>
              <a:gd name="T86" fmla="*/ 8383 w 13440"/>
              <a:gd name="T87" fmla="*/ 2329 h 13299"/>
              <a:gd name="T88" fmla="*/ 8718 w 13440"/>
              <a:gd name="T89" fmla="*/ 3124 h 13299"/>
              <a:gd name="T90" fmla="*/ 8894 w 13440"/>
              <a:gd name="T91" fmla="*/ 3997 h 13299"/>
              <a:gd name="T92" fmla="*/ 8912 w 13440"/>
              <a:gd name="T93" fmla="*/ 4642 h 13299"/>
              <a:gd name="T94" fmla="*/ 8833 w 13440"/>
              <a:gd name="T95" fmla="*/ 5321 h 13299"/>
              <a:gd name="T96" fmla="*/ 13439 w 13440"/>
              <a:gd name="T97" fmla="*/ 10456 h 13299"/>
              <a:gd name="T98" fmla="*/ 10748 w 13440"/>
              <a:gd name="T99" fmla="*/ 13298 h 13299"/>
              <a:gd name="T100" fmla="*/ 9000 w 13440"/>
              <a:gd name="T101" fmla="*/ 11471 h 13299"/>
              <a:gd name="T102" fmla="*/ 7129 w 13440"/>
              <a:gd name="T103" fmla="*/ 9689 h 13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3440" h="13299">
                <a:moveTo>
                  <a:pt x="3088" y="3689"/>
                </a:moveTo>
                <a:lnTo>
                  <a:pt x="3088" y="3689"/>
                </a:lnTo>
                <a:lnTo>
                  <a:pt x="3150" y="3680"/>
                </a:lnTo>
                <a:lnTo>
                  <a:pt x="3212" y="3671"/>
                </a:lnTo>
                <a:lnTo>
                  <a:pt x="3274" y="3662"/>
                </a:lnTo>
                <a:lnTo>
                  <a:pt x="3327" y="3636"/>
                </a:lnTo>
                <a:lnTo>
                  <a:pt x="3380" y="3609"/>
                </a:lnTo>
                <a:lnTo>
                  <a:pt x="3433" y="3583"/>
                </a:lnTo>
                <a:lnTo>
                  <a:pt x="3477" y="3547"/>
                </a:lnTo>
                <a:lnTo>
                  <a:pt x="3521" y="3503"/>
                </a:lnTo>
                <a:lnTo>
                  <a:pt x="3556" y="3459"/>
                </a:lnTo>
                <a:lnTo>
                  <a:pt x="3600" y="3415"/>
                </a:lnTo>
                <a:lnTo>
                  <a:pt x="3627" y="3362"/>
                </a:lnTo>
                <a:lnTo>
                  <a:pt x="3653" y="3309"/>
                </a:lnTo>
                <a:lnTo>
                  <a:pt x="3671" y="3256"/>
                </a:lnTo>
                <a:lnTo>
                  <a:pt x="3689" y="3194"/>
                </a:lnTo>
                <a:lnTo>
                  <a:pt x="3697" y="3141"/>
                </a:lnTo>
                <a:lnTo>
                  <a:pt x="3706" y="3080"/>
                </a:lnTo>
                <a:lnTo>
                  <a:pt x="3706" y="3080"/>
                </a:lnTo>
                <a:lnTo>
                  <a:pt x="3697" y="3009"/>
                </a:lnTo>
                <a:lnTo>
                  <a:pt x="3689" y="2947"/>
                </a:lnTo>
                <a:lnTo>
                  <a:pt x="3671" y="2885"/>
                </a:lnTo>
                <a:lnTo>
                  <a:pt x="3653" y="2824"/>
                </a:lnTo>
                <a:lnTo>
                  <a:pt x="3627" y="2762"/>
                </a:lnTo>
                <a:lnTo>
                  <a:pt x="3600" y="2709"/>
                </a:lnTo>
                <a:lnTo>
                  <a:pt x="3556" y="2665"/>
                </a:lnTo>
                <a:lnTo>
                  <a:pt x="3521" y="2621"/>
                </a:lnTo>
                <a:lnTo>
                  <a:pt x="3477" y="2577"/>
                </a:lnTo>
                <a:lnTo>
                  <a:pt x="3433" y="2541"/>
                </a:lnTo>
                <a:lnTo>
                  <a:pt x="3380" y="2506"/>
                </a:lnTo>
                <a:lnTo>
                  <a:pt x="3327" y="2480"/>
                </a:lnTo>
                <a:lnTo>
                  <a:pt x="3274" y="2462"/>
                </a:lnTo>
                <a:lnTo>
                  <a:pt x="3212" y="2444"/>
                </a:lnTo>
                <a:lnTo>
                  <a:pt x="3150" y="2435"/>
                </a:lnTo>
                <a:lnTo>
                  <a:pt x="3088" y="2427"/>
                </a:lnTo>
                <a:lnTo>
                  <a:pt x="3088" y="2427"/>
                </a:lnTo>
                <a:lnTo>
                  <a:pt x="3027" y="2435"/>
                </a:lnTo>
                <a:lnTo>
                  <a:pt x="2956" y="2444"/>
                </a:lnTo>
                <a:lnTo>
                  <a:pt x="2894" y="2462"/>
                </a:lnTo>
                <a:lnTo>
                  <a:pt x="2833" y="2480"/>
                </a:lnTo>
                <a:lnTo>
                  <a:pt x="2780" y="2506"/>
                </a:lnTo>
                <a:lnTo>
                  <a:pt x="2727" y="2541"/>
                </a:lnTo>
                <a:lnTo>
                  <a:pt x="2674" y="2577"/>
                </a:lnTo>
                <a:lnTo>
                  <a:pt x="2630" y="2621"/>
                </a:lnTo>
                <a:lnTo>
                  <a:pt x="2585" y="2665"/>
                </a:lnTo>
                <a:lnTo>
                  <a:pt x="2550" y="2709"/>
                </a:lnTo>
                <a:lnTo>
                  <a:pt x="2515" y="2762"/>
                </a:lnTo>
                <a:lnTo>
                  <a:pt x="2488" y="2824"/>
                </a:lnTo>
                <a:lnTo>
                  <a:pt x="2471" y="2885"/>
                </a:lnTo>
                <a:lnTo>
                  <a:pt x="2453" y="2947"/>
                </a:lnTo>
                <a:lnTo>
                  <a:pt x="2444" y="3009"/>
                </a:lnTo>
                <a:lnTo>
                  <a:pt x="2444" y="3080"/>
                </a:lnTo>
                <a:lnTo>
                  <a:pt x="2444" y="3080"/>
                </a:lnTo>
                <a:lnTo>
                  <a:pt x="2444" y="3141"/>
                </a:lnTo>
                <a:lnTo>
                  <a:pt x="2453" y="3194"/>
                </a:lnTo>
                <a:lnTo>
                  <a:pt x="2471" y="3256"/>
                </a:lnTo>
                <a:lnTo>
                  <a:pt x="2488" y="3309"/>
                </a:lnTo>
                <a:lnTo>
                  <a:pt x="2515" y="3362"/>
                </a:lnTo>
                <a:lnTo>
                  <a:pt x="2550" y="3415"/>
                </a:lnTo>
                <a:lnTo>
                  <a:pt x="2585" y="3459"/>
                </a:lnTo>
                <a:lnTo>
                  <a:pt x="2630" y="3503"/>
                </a:lnTo>
                <a:lnTo>
                  <a:pt x="2674" y="3547"/>
                </a:lnTo>
                <a:lnTo>
                  <a:pt x="2727" y="3583"/>
                </a:lnTo>
                <a:lnTo>
                  <a:pt x="2780" y="3609"/>
                </a:lnTo>
                <a:lnTo>
                  <a:pt x="2833" y="3636"/>
                </a:lnTo>
                <a:lnTo>
                  <a:pt x="2894" y="3662"/>
                </a:lnTo>
                <a:lnTo>
                  <a:pt x="2956" y="3671"/>
                </a:lnTo>
                <a:lnTo>
                  <a:pt x="3027" y="3680"/>
                </a:lnTo>
                <a:lnTo>
                  <a:pt x="3088" y="3689"/>
                </a:lnTo>
                <a:close/>
                <a:moveTo>
                  <a:pt x="7129" y="8021"/>
                </a:moveTo>
                <a:lnTo>
                  <a:pt x="7129" y="8021"/>
                </a:lnTo>
                <a:lnTo>
                  <a:pt x="6988" y="8127"/>
                </a:lnTo>
                <a:lnTo>
                  <a:pt x="6838" y="8224"/>
                </a:lnTo>
                <a:lnTo>
                  <a:pt x="6689" y="8321"/>
                </a:lnTo>
                <a:lnTo>
                  <a:pt x="6539" y="8400"/>
                </a:lnTo>
                <a:lnTo>
                  <a:pt x="6380" y="8480"/>
                </a:lnTo>
                <a:lnTo>
                  <a:pt x="6221" y="8559"/>
                </a:lnTo>
                <a:lnTo>
                  <a:pt x="6054" y="8621"/>
                </a:lnTo>
                <a:lnTo>
                  <a:pt x="5886" y="8683"/>
                </a:lnTo>
                <a:lnTo>
                  <a:pt x="5718" y="8736"/>
                </a:lnTo>
                <a:lnTo>
                  <a:pt x="5542" y="8789"/>
                </a:lnTo>
                <a:lnTo>
                  <a:pt x="5365" y="8824"/>
                </a:lnTo>
                <a:lnTo>
                  <a:pt x="5180" y="8859"/>
                </a:lnTo>
                <a:lnTo>
                  <a:pt x="5004" y="8886"/>
                </a:lnTo>
                <a:lnTo>
                  <a:pt x="4818" y="8903"/>
                </a:lnTo>
                <a:lnTo>
                  <a:pt x="4624" y="8912"/>
                </a:lnTo>
                <a:lnTo>
                  <a:pt x="4439" y="8921"/>
                </a:lnTo>
                <a:lnTo>
                  <a:pt x="4439" y="8921"/>
                </a:lnTo>
                <a:lnTo>
                  <a:pt x="4209" y="8912"/>
                </a:lnTo>
                <a:lnTo>
                  <a:pt x="3989" y="8894"/>
                </a:lnTo>
                <a:lnTo>
                  <a:pt x="3759" y="8868"/>
                </a:lnTo>
                <a:lnTo>
                  <a:pt x="3547" y="8824"/>
                </a:lnTo>
                <a:lnTo>
                  <a:pt x="3327" y="8780"/>
                </a:lnTo>
                <a:lnTo>
                  <a:pt x="3124" y="8718"/>
                </a:lnTo>
                <a:lnTo>
                  <a:pt x="2912" y="8647"/>
                </a:lnTo>
                <a:lnTo>
                  <a:pt x="2709" y="8568"/>
                </a:lnTo>
                <a:lnTo>
                  <a:pt x="2515" y="8480"/>
                </a:lnTo>
                <a:lnTo>
                  <a:pt x="2321" y="8383"/>
                </a:lnTo>
                <a:lnTo>
                  <a:pt x="2135" y="8277"/>
                </a:lnTo>
                <a:lnTo>
                  <a:pt x="1959" y="8153"/>
                </a:lnTo>
                <a:lnTo>
                  <a:pt x="1782" y="8030"/>
                </a:lnTo>
                <a:lnTo>
                  <a:pt x="1615" y="7897"/>
                </a:lnTo>
                <a:lnTo>
                  <a:pt x="1456" y="7765"/>
                </a:lnTo>
                <a:lnTo>
                  <a:pt x="1297" y="7615"/>
                </a:lnTo>
                <a:lnTo>
                  <a:pt x="1156" y="7456"/>
                </a:lnTo>
                <a:lnTo>
                  <a:pt x="1015" y="7297"/>
                </a:lnTo>
                <a:lnTo>
                  <a:pt x="882" y="7129"/>
                </a:lnTo>
                <a:lnTo>
                  <a:pt x="759" y="6953"/>
                </a:lnTo>
                <a:lnTo>
                  <a:pt x="644" y="6776"/>
                </a:lnTo>
                <a:lnTo>
                  <a:pt x="529" y="6583"/>
                </a:lnTo>
                <a:lnTo>
                  <a:pt x="432" y="6398"/>
                </a:lnTo>
                <a:lnTo>
                  <a:pt x="344" y="6195"/>
                </a:lnTo>
                <a:lnTo>
                  <a:pt x="264" y="5992"/>
                </a:lnTo>
                <a:lnTo>
                  <a:pt x="194" y="5789"/>
                </a:lnTo>
                <a:lnTo>
                  <a:pt x="132" y="5577"/>
                </a:lnTo>
                <a:lnTo>
                  <a:pt x="88" y="5357"/>
                </a:lnTo>
                <a:lnTo>
                  <a:pt x="44" y="5136"/>
                </a:lnTo>
                <a:lnTo>
                  <a:pt x="17" y="4915"/>
                </a:lnTo>
                <a:lnTo>
                  <a:pt x="0" y="4686"/>
                </a:lnTo>
                <a:lnTo>
                  <a:pt x="0" y="4456"/>
                </a:lnTo>
                <a:lnTo>
                  <a:pt x="0" y="4456"/>
                </a:lnTo>
                <a:lnTo>
                  <a:pt x="0" y="4227"/>
                </a:lnTo>
                <a:lnTo>
                  <a:pt x="17" y="3997"/>
                </a:lnTo>
                <a:lnTo>
                  <a:pt x="44" y="3777"/>
                </a:lnTo>
                <a:lnTo>
                  <a:pt x="88" y="3556"/>
                </a:lnTo>
                <a:lnTo>
                  <a:pt x="132" y="3336"/>
                </a:lnTo>
                <a:lnTo>
                  <a:pt x="194" y="3124"/>
                </a:lnTo>
                <a:lnTo>
                  <a:pt x="264" y="2921"/>
                </a:lnTo>
                <a:lnTo>
                  <a:pt x="344" y="2718"/>
                </a:lnTo>
                <a:lnTo>
                  <a:pt x="432" y="2515"/>
                </a:lnTo>
                <a:lnTo>
                  <a:pt x="529" y="2329"/>
                </a:lnTo>
                <a:lnTo>
                  <a:pt x="644" y="2135"/>
                </a:lnTo>
                <a:lnTo>
                  <a:pt x="759" y="1959"/>
                </a:lnTo>
                <a:lnTo>
                  <a:pt x="882" y="1782"/>
                </a:lnTo>
                <a:lnTo>
                  <a:pt x="1015" y="1615"/>
                </a:lnTo>
                <a:lnTo>
                  <a:pt x="1156" y="1456"/>
                </a:lnTo>
                <a:lnTo>
                  <a:pt x="1297" y="1297"/>
                </a:lnTo>
                <a:lnTo>
                  <a:pt x="1456" y="1147"/>
                </a:lnTo>
                <a:lnTo>
                  <a:pt x="1615" y="1015"/>
                </a:lnTo>
                <a:lnTo>
                  <a:pt x="1782" y="882"/>
                </a:lnTo>
                <a:lnTo>
                  <a:pt x="1959" y="759"/>
                </a:lnTo>
                <a:lnTo>
                  <a:pt x="2135" y="635"/>
                </a:lnTo>
                <a:lnTo>
                  <a:pt x="2321" y="529"/>
                </a:lnTo>
                <a:lnTo>
                  <a:pt x="2515" y="432"/>
                </a:lnTo>
                <a:lnTo>
                  <a:pt x="2709" y="344"/>
                </a:lnTo>
                <a:lnTo>
                  <a:pt x="2912" y="264"/>
                </a:lnTo>
                <a:lnTo>
                  <a:pt x="3124" y="194"/>
                </a:lnTo>
                <a:lnTo>
                  <a:pt x="3327" y="132"/>
                </a:lnTo>
                <a:lnTo>
                  <a:pt x="3547" y="88"/>
                </a:lnTo>
                <a:lnTo>
                  <a:pt x="3759" y="44"/>
                </a:lnTo>
                <a:lnTo>
                  <a:pt x="3989" y="17"/>
                </a:lnTo>
                <a:lnTo>
                  <a:pt x="4209" y="0"/>
                </a:lnTo>
                <a:lnTo>
                  <a:pt x="4439" y="0"/>
                </a:lnTo>
                <a:lnTo>
                  <a:pt x="4439" y="0"/>
                </a:lnTo>
                <a:lnTo>
                  <a:pt x="4668" y="0"/>
                </a:lnTo>
                <a:lnTo>
                  <a:pt x="4898" y="17"/>
                </a:lnTo>
                <a:lnTo>
                  <a:pt x="5118" y="44"/>
                </a:lnTo>
                <a:lnTo>
                  <a:pt x="5348" y="88"/>
                </a:lnTo>
                <a:lnTo>
                  <a:pt x="5559" y="132"/>
                </a:lnTo>
                <a:lnTo>
                  <a:pt x="5771" y="194"/>
                </a:lnTo>
                <a:lnTo>
                  <a:pt x="5983" y="264"/>
                </a:lnTo>
                <a:lnTo>
                  <a:pt x="6186" y="344"/>
                </a:lnTo>
                <a:lnTo>
                  <a:pt x="6389" y="432"/>
                </a:lnTo>
                <a:lnTo>
                  <a:pt x="6574" y="529"/>
                </a:lnTo>
                <a:lnTo>
                  <a:pt x="6768" y="635"/>
                </a:lnTo>
                <a:lnTo>
                  <a:pt x="6944" y="759"/>
                </a:lnTo>
                <a:lnTo>
                  <a:pt x="7121" y="882"/>
                </a:lnTo>
                <a:lnTo>
                  <a:pt x="7288" y="1015"/>
                </a:lnTo>
                <a:lnTo>
                  <a:pt x="7456" y="1147"/>
                </a:lnTo>
                <a:lnTo>
                  <a:pt x="7606" y="1297"/>
                </a:lnTo>
                <a:lnTo>
                  <a:pt x="7756" y="1456"/>
                </a:lnTo>
                <a:lnTo>
                  <a:pt x="7897" y="1615"/>
                </a:lnTo>
                <a:lnTo>
                  <a:pt x="8030" y="1782"/>
                </a:lnTo>
                <a:lnTo>
                  <a:pt x="8153" y="1959"/>
                </a:lnTo>
                <a:lnTo>
                  <a:pt x="8268" y="2135"/>
                </a:lnTo>
                <a:lnTo>
                  <a:pt x="8383" y="2329"/>
                </a:lnTo>
                <a:lnTo>
                  <a:pt x="8480" y="2515"/>
                </a:lnTo>
                <a:lnTo>
                  <a:pt x="8568" y="2718"/>
                </a:lnTo>
                <a:lnTo>
                  <a:pt x="8647" y="2921"/>
                </a:lnTo>
                <a:lnTo>
                  <a:pt x="8718" y="3124"/>
                </a:lnTo>
                <a:lnTo>
                  <a:pt x="8780" y="3336"/>
                </a:lnTo>
                <a:lnTo>
                  <a:pt x="8824" y="3556"/>
                </a:lnTo>
                <a:lnTo>
                  <a:pt x="8868" y="3777"/>
                </a:lnTo>
                <a:lnTo>
                  <a:pt x="8894" y="3997"/>
                </a:lnTo>
                <a:lnTo>
                  <a:pt x="8912" y="4227"/>
                </a:lnTo>
                <a:lnTo>
                  <a:pt x="8921" y="4456"/>
                </a:lnTo>
                <a:lnTo>
                  <a:pt x="8921" y="4456"/>
                </a:lnTo>
                <a:lnTo>
                  <a:pt x="8912" y="4642"/>
                </a:lnTo>
                <a:lnTo>
                  <a:pt x="8903" y="4818"/>
                </a:lnTo>
                <a:lnTo>
                  <a:pt x="8886" y="4986"/>
                </a:lnTo>
                <a:lnTo>
                  <a:pt x="8859" y="5154"/>
                </a:lnTo>
                <a:lnTo>
                  <a:pt x="8833" y="5321"/>
                </a:lnTo>
                <a:lnTo>
                  <a:pt x="8797" y="5480"/>
                </a:lnTo>
                <a:lnTo>
                  <a:pt x="8718" y="5798"/>
                </a:lnTo>
                <a:lnTo>
                  <a:pt x="8718" y="5798"/>
                </a:lnTo>
                <a:lnTo>
                  <a:pt x="13439" y="10456"/>
                </a:lnTo>
                <a:lnTo>
                  <a:pt x="13439" y="10456"/>
                </a:lnTo>
                <a:lnTo>
                  <a:pt x="13439" y="13298"/>
                </a:lnTo>
                <a:lnTo>
                  <a:pt x="13439" y="13298"/>
                </a:lnTo>
                <a:lnTo>
                  <a:pt x="10748" y="13298"/>
                </a:lnTo>
                <a:lnTo>
                  <a:pt x="10748" y="13298"/>
                </a:lnTo>
                <a:lnTo>
                  <a:pt x="10748" y="11471"/>
                </a:lnTo>
                <a:lnTo>
                  <a:pt x="10748" y="11471"/>
                </a:lnTo>
                <a:lnTo>
                  <a:pt x="9000" y="11471"/>
                </a:lnTo>
                <a:lnTo>
                  <a:pt x="9000" y="11471"/>
                </a:lnTo>
                <a:lnTo>
                  <a:pt x="9000" y="9689"/>
                </a:lnTo>
                <a:lnTo>
                  <a:pt x="9000" y="9689"/>
                </a:lnTo>
                <a:lnTo>
                  <a:pt x="7129" y="9689"/>
                </a:lnTo>
                <a:lnTo>
                  <a:pt x="7129" y="8021"/>
                </a:lnTo>
                <a:close/>
              </a:path>
            </a:pathLst>
          </a:custGeom>
          <a:noFill/>
          <a:ln w="28575" cap="flat">
            <a:solidFill>
              <a:srgbClr val="B3B2B4"/>
            </a:solidFill>
            <a:bevel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32597">
              <a:defRPr/>
            </a:pPr>
            <a:endParaRPr lang="en-US" sz="1836">
              <a:solidFill>
                <a:srgbClr val="505050"/>
              </a:solidFill>
              <a:latin typeface="Segoe UI"/>
            </a:endParaRP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C84C52DD-7CD5-479C-AB8B-620A7CDF856A}"/>
              </a:ext>
            </a:extLst>
          </p:cNvPr>
          <p:cNvGrpSpPr/>
          <p:nvPr/>
        </p:nvGrpSpPr>
        <p:grpSpPr>
          <a:xfrm>
            <a:off x="772861" y="2572439"/>
            <a:ext cx="460244" cy="449535"/>
            <a:chOff x="2088630" y="3287843"/>
            <a:chExt cx="429718" cy="419725"/>
          </a:xfrm>
          <a:noFill/>
        </p:grpSpPr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CE566485-19DF-4E32-AF54-102728E70834}"/>
                </a:ext>
              </a:extLst>
            </p:cNvPr>
            <p:cNvSpPr/>
            <p:nvPr/>
          </p:nvSpPr>
          <p:spPr bwMode="auto">
            <a:xfrm>
              <a:off x="2213548" y="3287843"/>
              <a:ext cx="304800" cy="304800"/>
            </a:xfrm>
            <a:prstGeom prst="rect">
              <a:avLst/>
            </a:prstGeom>
            <a:noFill/>
            <a:ln w="28575">
              <a:solidFill>
                <a:srgbClr val="B3B2B4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" pitchFamily="34" charset="0"/>
              </a:endParaRP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B8D46F40-CD1A-4A29-888D-906FB9F95EC5}"/>
                </a:ext>
              </a:extLst>
            </p:cNvPr>
            <p:cNvSpPr/>
            <p:nvPr/>
          </p:nvSpPr>
          <p:spPr bwMode="auto">
            <a:xfrm>
              <a:off x="2088630" y="3402768"/>
              <a:ext cx="304800" cy="304800"/>
            </a:xfrm>
            <a:prstGeom prst="rect">
              <a:avLst/>
            </a:prstGeom>
            <a:noFill/>
            <a:ln w="28575">
              <a:solidFill>
                <a:srgbClr val="B3B2B4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" pitchFamily="34" charset="0"/>
              </a:endParaRPr>
            </a:p>
          </p:txBody>
        </p:sp>
      </p:grpSp>
      <p:sp>
        <p:nvSpPr>
          <p:cNvPr id="68" name="Rectangle 67">
            <a:extLst>
              <a:ext uri="{FF2B5EF4-FFF2-40B4-BE49-F238E27FC236}">
                <a16:creationId xmlns:a16="http://schemas.microsoft.com/office/drawing/2014/main" id="{C434BB8E-D2BD-47A9-B9B1-FAF3D67BA603}"/>
              </a:ext>
            </a:extLst>
          </p:cNvPr>
          <p:cNvSpPr/>
          <p:nvPr/>
        </p:nvSpPr>
        <p:spPr>
          <a:xfrm>
            <a:off x="150473" y="1748570"/>
            <a:ext cx="1730067" cy="4708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2400" kern="0" spc="50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ductive</a:t>
            </a:r>
          </a:p>
        </p:txBody>
      </p:sp>
      <p:sp>
        <p:nvSpPr>
          <p:cNvPr id="69" name="speedometer_2">
            <a:extLst>
              <a:ext uri="{FF2B5EF4-FFF2-40B4-BE49-F238E27FC236}">
                <a16:creationId xmlns:a16="http://schemas.microsoft.com/office/drawing/2014/main" id="{AE99FD3D-3929-40F6-9551-9DF95629146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07751" y="1011218"/>
            <a:ext cx="612023" cy="612021"/>
          </a:xfrm>
          <a:custGeom>
            <a:avLst/>
            <a:gdLst>
              <a:gd name="T0" fmla="*/ 155 w 281"/>
              <a:gd name="T1" fmla="*/ 155 h 281"/>
              <a:gd name="T2" fmla="*/ 126 w 281"/>
              <a:gd name="T3" fmla="*/ 155 h 281"/>
              <a:gd name="T4" fmla="*/ 126 w 281"/>
              <a:gd name="T5" fmla="*/ 126 h 281"/>
              <a:gd name="T6" fmla="*/ 155 w 281"/>
              <a:gd name="T7" fmla="*/ 126 h 281"/>
              <a:gd name="T8" fmla="*/ 155 w 281"/>
              <a:gd name="T9" fmla="*/ 155 h 281"/>
              <a:gd name="T10" fmla="*/ 140 w 281"/>
              <a:gd name="T11" fmla="*/ 0 h 281"/>
              <a:gd name="T12" fmla="*/ 0 w 281"/>
              <a:gd name="T13" fmla="*/ 141 h 281"/>
              <a:gd name="T14" fmla="*/ 140 w 281"/>
              <a:gd name="T15" fmla="*/ 281 h 281"/>
              <a:gd name="T16" fmla="*/ 281 w 281"/>
              <a:gd name="T17" fmla="*/ 141 h 281"/>
              <a:gd name="T18" fmla="*/ 140 w 281"/>
              <a:gd name="T19" fmla="*/ 0 h 281"/>
              <a:gd name="T20" fmla="*/ 214 w 281"/>
              <a:gd name="T21" fmla="*/ 210 h 281"/>
              <a:gd name="T22" fmla="*/ 241 w 281"/>
              <a:gd name="T23" fmla="*/ 141 h 281"/>
              <a:gd name="T24" fmla="*/ 235 w 281"/>
              <a:gd name="T25" fmla="*/ 105 h 281"/>
              <a:gd name="T26" fmla="*/ 174 w 281"/>
              <a:gd name="T27" fmla="*/ 45 h 281"/>
              <a:gd name="T28" fmla="*/ 140 w 281"/>
              <a:gd name="T29" fmla="*/ 40 h 281"/>
              <a:gd name="T30" fmla="*/ 40 w 281"/>
              <a:gd name="T31" fmla="*/ 141 h 281"/>
              <a:gd name="T32" fmla="*/ 67 w 281"/>
              <a:gd name="T33" fmla="*/ 210 h 281"/>
              <a:gd name="T34" fmla="*/ 212 w 281"/>
              <a:gd name="T35" fmla="*/ 69 h 281"/>
              <a:gd name="T36" fmla="*/ 157 w 281"/>
              <a:gd name="T37" fmla="*/ 124 h 2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81" h="281">
                <a:moveTo>
                  <a:pt x="155" y="155"/>
                </a:moveTo>
                <a:cubicBezTo>
                  <a:pt x="147" y="164"/>
                  <a:pt x="134" y="164"/>
                  <a:pt x="126" y="155"/>
                </a:cubicBezTo>
                <a:cubicBezTo>
                  <a:pt x="117" y="147"/>
                  <a:pt x="117" y="134"/>
                  <a:pt x="126" y="126"/>
                </a:cubicBezTo>
                <a:cubicBezTo>
                  <a:pt x="134" y="118"/>
                  <a:pt x="147" y="117"/>
                  <a:pt x="155" y="126"/>
                </a:cubicBezTo>
                <a:cubicBezTo>
                  <a:pt x="164" y="134"/>
                  <a:pt x="164" y="147"/>
                  <a:pt x="155" y="155"/>
                </a:cubicBezTo>
                <a:close/>
                <a:moveTo>
                  <a:pt x="140" y="0"/>
                </a:moveTo>
                <a:cubicBezTo>
                  <a:pt x="63" y="0"/>
                  <a:pt x="0" y="63"/>
                  <a:pt x="0" y="141"/>
                </a:cubicBezTo>
                <a:cubicBezTo>
                  <a:pt x="0" y="218"/>
                  <a:pt x="63" y="281"/>
                  <a:pt x="140" y="281"/>
                </a:cubicBezTo>
                <a:cubicBezTo>
                  <a:pt x="218" y="281"/>
                  <a:pt x="281" y="218"/>
                  <a:pt x="281" y="141"/>
                </a:cubicBezTo>
                <a:cubicBezTo>
                  <a:pt x="281" y="63"/>
                  <a:pt x="218" y="0"/>
                  <a:pt x="140" y="0"/>
                </a:cubicBezTo>
                <a:close/>
                <a:moveTo>
                  <a:pt x="214" y="210"/>
                </a:moveTo>
                <a:cubicBezTo>
                  <a:pt x="231" y="192"/>
                  <a:pt x="241" y="168"/>
                  <a:pt x="241" y="141"/>
                </a:cubicBezTo>
                <a:cubicBezTo>
                  <a:pt x="241" y="128"/>
                  <a:pt x="239" y="116"/>
                  <a:pt x="235" y="105"/>
                </a:cubicBezTo>
                <a:moveTo>
                  <a:pt x="174" y="45"/>
                </a:moveTo>
                <a:cubicBezTo>
                  <a:pt x="163" y="42"/>
                  <a:pt x="152" y="40"/>
                  <a:pt x="140" y="40"/>
                </a:cubicBezTo>
                <a:cubicBezTo>
                  <a:pt x="85" y="40"/>
                  <a:pt x="40" y="85"/>
                  <a:pt x="40" y="141"/>
                </a:cubicBezTo>
                <a:cubicBezTo>
                  <a:pt x="40" y="168"/>
                  <a:pt x="50" y="192"/>
                  <a:pt x="67" y="210"/>
                </a:cubicBezTo>
                <a:moveTo>
                  <a:pt x="212" y="69"/>
                </a:moveTo>
                <a:cubicBezTo>
                  <a:pt x="157" y="124"/>
                  <a:pt x="157" y="124"/>
                  <a:pt x="157" y="124"/>
                </a:cubicBezTo>
              </a:path>
            </a:pathLst>
          </a:custGeom>
          <a:noFill/>
          <a:ln w="28575">
            <a:solidFill>
              <a:srgbClr val="001F50"/>
            </a:solidFill>
            <a:headEnd type="none" w="med" len="med"/>
            <a:tailEnd type="none" w="med" len="med"/>
          </a:ln>
          <a:effectLst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EFD826E-D4DC-4A72-9F2E-54FD4E3656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14468" y="619933"/>
            <a:ext cx="10095603" cy="5779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3128292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6AA8D26F-DD75-4CD0-A6EC-05928B39E37D}"/>
              </a:ext>
            </a:extLst>
          </p:cNvPr>
          <p:cNvCxnSpPr>
            <a:cxnSpLocks/>
          </p:cNvCxnSpPr>
          <p:nvPr/>
        </p:nvCxnSpPr>
        <p:spPr>
          <a:xfrm>
            <a:off x="1994007" y="496"/>
            <a:ext cx="0" cy="7025446"/>
          </a:xfrm>
          <a:prstGeom prst="line">
            <a:avLst/>
          </a:prstGeom>
          <a:noFill/>
          <a:ln w="19050" cap="flat">
            <a:solidFill>
              <a:schemeClr val="bg1">
                <a:lumMod val="75000"/>
                <a:alpha val="70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cxnSp>
      <p:sp>
        <p:nvSpPr>
          <p:cNvPr id="44" name="Rectangle 43">
            <a:extLst>
              <a:ext uri="{FF2B5EF4-FFF2-40B4-BE49-F238E27FC236}">
                <a16:creationId xmlns:a16="http://schemas.microsoft.com/office/drawing/2014/main" id="{CADBD9FC-8825-4F04-8D8B-B835D6C45EE5}"/>
              </a:ext>
            </a:extLst>
          </p:cNvPr>
          <p:cNvSpPr/>
          <p:nvPr/>
        </p:nvSpPr>
        <p:spPr>
          <a:xfrm>
            <a:off x="555210" y="5859328"/>
            <a:ext cx="924053" cy="345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1599" kern="0" spc="50">
                <a:solidFill>
                  <a:srgbClr val="353535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usted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285972A-B9CE-4FF3-BE1E-C9D48BE4CFC5}"/>
              </a:ext>
            </a:extLst>
          </p:cNvPr>
          <p:cNvSpPr/>
          <p:nvPr/>
        </p:nvSpPr>
        <p:spPr>
          <a:xfrm>
            <a:off x="594446" y="3164637"/>
            <a:ext cx="845579" cy="345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1599" kern="0" spc="50">
                <a:solidFill>
                  <a:srgbClr val="353535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ybrid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31F52A4E-9CFA-4820-86CD-B8A72F942549}"/>
              </a:ext>
            </a:extLst>
          </p:cNvPr>
          <p:cNvSpPr/>
          <p:nvPr/>
        </p:nvSpPr>
        <p:spPr>
          <a:xfrm>
            <a:off x="424415" y="4511982"/>
            <a:ext cx="1185640" cy="345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1599" kern="0" spc="50">
                <a:solidFill>
                  <a:srgbClr val="353535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telligent</a:t>
            </a:r>
          </a:p>
        </p:txBody>
      </p:sp>
      <p:sp>
        <p:nvSpPr>
          <p:cNvPr id="52" name="light">
            <a:extLst>
              <a:ext uri="{FF2B5EF4-FFF2-40B4-BE49-F238E27FC236}">
                <a16:creationId xmlns:a16="http://schemas.microsoft.com/office/drawing/2014/main" id="{F5980BDC-19E4-4D49-B671-D253BF187C8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71516" y="3872325"/>
            <a:ext cx="291439" cy="432683"/>
          </a:xfrm>
          <a:custGeom>
            <a:avLst/>
            <a:gdLst>
              <a:gd name="T0" fmla="*/ 156 w 224"/>
              <a:gd name="T1" fmla="*/ 312 h 334"/>
              <a:gd name="T2" fmla="*/ 134 w 224"/>
              <a:gd name="T3" fmla="*/ 334 h 334"/>
              <a:gd name="T4" fmla="*/ 89 w 224"/>
              <a:gd name="T5" fmla="*/ 334 h 334"/>
              <a:gd name="T6" fmla="*/ 67 w 224"/>
              <a:gd name="T7" fmla="*/ 312 h 334"/>
              <a:gd name="T8" fmla="*/ 67 w 224"/>
              <a:gd name="T9" fmla="*/ 261 h 334"/>
              <a:gd name="T10" fmla="*/ 37 w 224"/>
              <a:gd name="T11" fmla="*/ 195 h 334"/>
              <a:gd name="T12" fmla="*/ 27 w 224"/>
              <a:gd name="T13" fmla="*/ 185 h 334"/>
              <a:gd name="T14" fmla="*/ 0 w 224"/>
              <a:gd name="T15" fmla="*/ 112 h 334"/>
              <a:gd name="T16" fmla="*/ 112 w 224"/>
              <a:gd name="T17" fmla="*/ 0 h 334"/>
              <a:gd name="T18" fmla="*/ 224 w 224"/>
              <a:gd name="T19" fmla="*/ 112 h 334"/>
              <a:gd name="T20" fmla="*/ 197 w 224"/>
              <a:gd name="T21" fmla="*/ 185 h 334"/>
              <a:gd name="T22" fmla="*/ 200 w 224"/>
              <a:gd name="T23" fmla="*/ 181 h 334"/>
              <a:gd name="T24" fmla="*/ 197 w 224"/>
              <a:gd name="T25" fmla="*/ 185 h 334"/>
              <a:gd name="T26" fmla="*/ 156 w 224"/>
              <a:gd name="T27" fmla="*/ 265 h 334"/>
              <a:gd name="T28" fmla="*/ 156 w 224"/>
              <a:gd name="T29" fmla="*/ 312 h 334"/>
              <a:gd name="T30" fmla="*/ 156 w 224"/>
              <a:gd name="T31" fmla="*/ 312 h 334"/>
              <a:gd name="T32" fmla="*/ 67 w 224"/>
              <a:gd name="T33" fmla="*/ 269 h 334"/>
              <a:gd name="T34" fmla="*/ 156 w 224"/>
              <a:gd name="T35" fmla="*/ 269 h 3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24" h="334">
                <a:moveTo>
                  <a:pt x="156" y="312"/>
                </a:moveTo>
                <a:cubicBezTo>
                  <a:pt x="156" y="324"/>
                  <a:pt x="146" y="334"/>
                  <a:pt x="134" y="334"/>
                </a:cubicBezTo>
                <a:cubicBezTo>
                  <a:pt x="89" y="334"/>
                  <a:pt x="89" y="334"/>
                  <a:pt x="89" y="334"/>
                </a:cubicBezTo>
                <a:cubicBezTo>
                  <a:pt x="76" y="334"/>
                  <a:pt x="67" y="324"/>
                  <a:pt x="67" y="312"/>
                </a:cubicBezTo>
                <a:cubicBezTo>
                  <a:pt x="67" y="312"/>
                  <a:pt x="67" y="300"/>
                  <a:pt x="67" y="261"/>
                </a:cubicBezTo>
                <a:cubicBezTo>
                  <a:pt x="67" y="221"/>
                  <a:pt x="37" y="195"/>
                  <a:pt x="37" y="195"/>
                </a:cubicBezTo>
                <a:cubicBezTo>
                  <a:pt x="27" y="185"/>
                  <a:pt x="27" y="185"/>
                  <a:pt x="27" y="185"/>
                </a:cubicBezTo>
                <a:cubicBezTo>
                  <a:pt x="10" y="166"/>
                  <a:pt x="0" y="140"/>
                  <a:pt x="0" y="112"/>
                </a:cubicBezTo>
                <a:cubicBezTo>
                  <a:pt x="0" y="50"/>
                  <a:pt x="50" y="0"/>
                  <a:pt x="112" y="0"/>
                </a:cubicBezTo>
                <a:cubicBezTo>
                  <a:pt x="174" y="0"/>
                  <a:pt x="224" y="50"/>
                  <a:pt x="224" y="112"/>
                </a:cubicBezTo>
                <a:cubicBezTo>
                  <a:pt x="224" y="140"/>
                  <a:pt x="214" y="166"/>
                  <a:pt x="197" y="185"/>
                </a:cubicBezTo>
                <a:moveTo>
                  <a:pt x="200" y="181"/>
                </a:moveTo>
                <a:cubicBezTo>
                  <a:pt x="197" y="185"/>
                  <a:pt x="197" y="185"/>
                  <a:pt x="197" y="185"/>
                </a:cubicBezTo>
                <a:cubicBezTo>
                  <a:pt x="197" y="185"/>
                  <a:pt x="156" y="217"/>
                  <a:pt x="156" y="265"/>
                </a:cubicBezTo>
                <a:cubicBezTo>
                  <a:pt x="156" y="312"/>
                  <a:pt x="156" y="312"/>
                  <a:pt x="156" y="312"/>
                </a:cubicBezTo>
                <a:cubicBezTo>
                  <a:pt x="156" y="312"/>
                  <a:pt x="156" y="312"/>
                  <a:pt x="156" y="312"/>
                </a:cubicBezTo>
                <a:moveTo>
                  <a:pt x="67" y="269"/>
                </a:moveTo>
                <a:cubicBezTo>
                  <a:pt x="156" y="269"/>
                  <a:pt x="156" y="269"/>
                  <a:pt x="156" y="269"/>
                </a:cubicBezTo>
              </a:path>
            </a:pathLst>
          </a:custGeom>
          <a:noFill/>
          <a:ln w="28575">
            <a:solidFill>
              <a:srgbClr val="B3B2B4"/>
            </a:solidFill>
            <a:headEnd type="none" w="med" len="med"/>
            <a:tailEnd type="none" w="med" len="med"/>
          </a:ln>
          <a:effectLst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sp>
        <p:nvSpPr>
          <p:cNvPr id="57" name="Freeform 60">
            <a:extLst>
              <a:ext uri="{FF2B5EF4-FFF2-40B4-BE49-F238E27FC236}">
                <a16:creationId xmlns:a16="http://schemas.microsoft.com/office/drawing/2014/main" id="{9C8B8BDC-4887-49C0-9AA2-0E0DAE49BE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6909" y="5192874"/>
            <a:ext cx="480655" cy="475606"/>
          </a:xfrm>
          <a:custGeom>
            <a:avLst/>
            <a:gdLst>
              <a:gd name="T0" fmla="*/ 3212 w 13440"/>
              <a:gd name="T1" fmla="*/ 3671 h 13299"/>
              <a:gd name="T2" fmla="*/ 3433 w 13440"/>
              <a:gd name="T3" fmla="*/ 3583 h 13299"/>
              <a:gd name="T4" fmla="*/ 3600 w 13440"/>
              <a:gd name="T5" fmla="*/ 3415 h 13299"/>
              <a:gd name="T6" fmla="*/ 3689 w 13440"/>
              <a:gd name="T7" fmla="*/ 3194 h 13299"/>
              <a:gd name="T8" fmla="*/ 3697 w 13440"/>
              <a:gd name="T9" fmla="*/ 3009 h 13299"/>
              <a:gd name="T10" fmla="*/ 3627 w 13440"/>
              <a:gd name="T11" fmla="*/ 2762 h 13299"/>
              <a:gd name="T12" fmla="*/ 3477 w 13440"/>
              <a:gd name="T13" fmla="*/ 2577 h 13299"/>
              <a:gd name="T14" fmla="*/ 3274 w 13440"/>
              <a:gd name="T15" fmla="*/ 2462 h 13299"/>
              <a:gd name="T16" fmla="*/ 3088 w 13440"/>
              <a:gd name="T17" fmla="*/ 2427 h 13299"/>
              <a:gd name="T18" fmla="*/ 2833 w 13440"/>
              <a:gd name="T19" fmla="*/ 2480 h 13299"/>
              <a:gd name="T20" fmla="*/ 2630 w 13440"/>
              <a:gd name="T21" fmla="*/ 2621 h 13299"/>
              <a:gd name="T22" fmla="*/ 2488 w 13440"/>
              <a:gd name="T23" fmla="*/ 2824 h 13299"/>
              <a:gd name="T24" fmla="*/ 2444 w 13440"/>
              <a:gd name="T25" fmla="*/ 3080 h 13299"/>
              <a:gd name="T26" fmla="*/ 2471 w 13440"/>
              <a:gd name="T27" fmla="*/ 3256 h 13299"/>
              <a:gd name="T28" fmla="*/ 2585 w 13440"/>
              <a:gd name="T29" fmla="*/ 3459 h 13299"/>
              <a:gd name="T30" fmla="*/ 2780 w 13440"/>
              <a:gd name="T31" fmla="*/ 3609 h 13299"/>
              <a:gd name="T32" fmla="*/ 3027 w 13440"/>
              <a:gd name="T33" fmla="*/ 3680 h 13299"/>
              <a:gd name="T34" fmla="*/ 6988 w 13440"/>
              <a:gd name="T35" fmla="*/ 8127 h 13299"/>
              <a:gd name="T36" fmla="*/ 6380 w 13440"/>
              <a:gd name="T37" fmla="*/ 8480 h 13299"/>
              <a:gd name="T38" fmla="*/ 5718 w 13440"/>
              <a:gd name="T39" fmla="*/ 8736 h 13299"/>
              <a:gd name="T40" fmla="*/ 5004 w 13440"/>
              <a:gd name="T41" fmla="*/ 8886 h 13299"/>
              <a:gd name="T42" fmla="*/ 4439 w 13440"/>
              <a:gd name="T43" fmla="*/ 8921 h 13299"/>
              <a:gd name="T44" fmla="*/ 3547 w 13440"/>
              <a:gd name="T45" fmla="*/ 8824 h 13299"/>
              <a:gd name="T46" fmla="*/ 2709 w 13440"/>
              <a:gd name="T47" fmla="*/ 8568 h 13299"/>
              <a:gd name="T48" fmla="*/ 1959 w 13440"/>
              <a:gd name="T49" fmla="*/ 8153 h 13299"/>
              <a:gd name="T50" fmla="*/ 1297 w 13440"/>
              <a:gd name="T51" fmla="*/ 7615 h 13299"/>
              <a:gd name="T52" fmla="*/ 759 w 13440"/>
              <a:gd name="T53" fmla="*/ 6953 h 13299"/>
              <a:gd name="T54" fmla="*/ 344 w 13440"/>
              <a:gd name="T55" fmla="*/ 6195 h 13299"/>
              <a:gd name="T56" fmla="*/ 88 w 13440"/>
              <a:gd name="T57" fmla="*/ 5357 h 13299"/>
              <a:gd name="T58" fmla="*/ 0 w 13440"/>
              <a:gd name="T59" fmla="*/ 4456 h 13299"/>
              <a:gd name="T60" fmla="*/ 44 w 13440"/>
              <a:gd name="T61" fmla="*/ 3777 h 13299"/>
              <a:gd name="T62" fmla="*/ 264 w 13440"/>
              <a:gd name="T63" fmla="*/ 2921 h 13299"/>
              <a:gd name="T64" fmla="*/ 644 w 13440"/>
              <a:gd name="T65" fmla="*/ 2135 h 13299"/>
              <a:gd name="T66" fmla="*/ 1156 w 13440"/>
              <a:gd name="T67" fmla="*/ 1456 h 13299"/>
              <a:gd name="T68" fmla="*/ 1782 w 13440"/>
              <a:gd name="T69" fmla="*/ 882 h 13299"/>
              <a:gd name="T70" fmla="*/ 2515 w 13440"/>
              <a:gd name="T71" fmla="*/ 432 h 13299"/>
              <a:gd name="T72" fmla="*/ 3327 w 13440"/>
              <a:gd name="T73" fmla="*/ 132 h 13299"/>
              <a:gd name="T74" fmla="*/ 4209 w 13440"/>
              <a:gd name="T75" fmla="*/ 0 h 13299"/>
              <a:gd name="T76" fmla="*/ 4898 w 13440"/>
              <a:gd name="T77" fmla="*/ 17 h 13299"/>
              <a:gd name="T78" fmla="*/ 5771 w 13440"/>
              <a:gd name="T79" fmla="*/ 194 h 13299"/>
              <a:gd name="T80" fmla="*/ 6574 w 13440"/>
              <a:gd name="T81" fmla="*/ 529 h 13299"/>
              <a:gd name="T82" fmla="*/ 7288 w 13440"/>
              <a:gd name="T83" fmla="*/ 1015 h 13299"/>
              <a:gd name="T84" fmla="*/ 7897 w 13440"/>
              <a:gd name="T85" fmla="*/ 1615 h 13299"/>
              <a:gd name="T86" fmla="*/ 8383 w 13440"/>
              <a:gd name="T87" fmla="*/ 2329 h 13299"/>
              <a:gd name="T88" fmla="*/ 8718 w 13440"/>
              <a:gd name="T89" fmla="*/ 3124 h 13299"/>
              <a:gd name="T90" fmla="*/ 8894 w 13440"/>
              <a:gd name="T91" fmla="*/ 3997 h 13299"/>
              <a:gd name="T92" fmla="*/ 8912 w 13440"/>
              <a:gd name="T93" fmla="*/ 4642 h 13299"/>
              <a:gd name="T94" fmla="*/ 8833 w 13440"/>
              <a:gd name="T95" fmla="*/ 5321 h 13299"/>
              <a:gd name="T96" fmla="*/ 13439 w 13440"/>
              <a:gd name="T97" fmla="*/ 10456 h 13299"/>
              <a:gd name="T98" fmla="*/ 10748 w 13440"/>
              <a:gd name="T99" fmla="*/ 13298 h 13299"/>
              <a:gd name="T100" fmla="*/ 9000 w 13440"/>
              <a:gd name="T101" fmla="*/ 11471 h 13299"/>
              <a:gd name="T102" fmla="*/ 7129 w 13440"/>
              <a:gd name="T103" fmla="*/ 9689 h 13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3440" h="13299">
                <a:moveTo>
                  <a:pt x="3088" y="3689"/>
                </a:moveTo>
                <a:lnTo>
                  <a:pt x="3088" y="3689"/>
                </a:lnTo>
                <a:lnTo>
                  <a:pt x="3150" y="3680"/>
                </a:lnTo>
                <a:lnTo>
                  <a:pt x="3212" y="3671"/>
                </a:lnTo>
                <a:lnTo>
                  <a:pt x="3274" y="3662"/>
                </a:lnTo>
                <a:lnTo>
                  <a:pt x="3327" y="3636"/>
                </a:lnTo>
                <a:lnTo>
                  <a:pt x="3380" y="3609"/>
                </a:lnTo>
                <a:lnTo>
                  <a:pt x="3433" y="3583"/>
                </a:lnTo>
                <a:lnTo>
                  <a:pt x="3477" y="3547"/>
                </a:lnTo>
                <a:lnTo>
                  <a:pt x="3521" y="3503"/>
                </a:lnTo>
                <a:lnTo>
                  <a:pt x="3556" y="3459"/>
                </a:lnTo>
                <a:lnTo>
                  <a:pt x="3600" y="3415"/>
                </a:lnTo>
                <a:lnTo>
                  <a:pt x="3627" y="3362"/>
                </a:lnTo>
                <a:lnTo>
                  <a:pt x="3653" y="3309"/>
                </a:lnTo>
                <a:lnTo>
                  <a:pt x="3671" y="3256"/>
                </a:lnTo>
                <a:lnTo>
                  <a:pt x="3689" y="3194"/>
                </a:lnTo>
                <a:lnTo>
                  <a:pt x="3697" y="3141"/>
                </a:lnTo>
                <a:lnTo>
                  <a:pt x="3706" y="3080"/>
                </a:lnTo>
                <a:lnTo>
                  <a:pt x="3706" y="3080"/>
                </a:lnTo>
                <a:lnTo>
                  <a:pt x="3697" y="3009"/>
                </a:lnTo>
                <a:lnTo>
                  <a:pt x="3689" y="2947"/>
                </a:lnTo>
                <a:lnTo>
                  <a:pt x="3671" y="2885"/>
                </a:lnTo>
                <a:lnTo>
                  <a:pt x="3653" y="2824"/>
                </a:lnTo>
                <a:lnTo>
                  <a:pt x="3627" y="2762"/>
                </a:lnTo>
                <a:lnTo>
                  <a:pt x="3600" y="2709"/>
                </a:lnTo>
                <a:lnTo>
                  <a:pt x="3556" y="2665"/>
                </a:lnTo>
                <a:lnTo>
                  <a:pt x="3521" y="2621"/>
                </a:lnTo>
                <a:lnTo>
                  <a:pt x="3477" y="2577"/>
                </a:lnTo>
                <a:lnTo>
                  <a:pt x="3433" y="2541"/>
                </a:lnTo>
                <a:lnTo>
                  <a:pt x="3380" y="2506"/>
                </a:lnTo>
                <a:lnTo>
                  <a:pt x="3327" y="2480"/>
                </a:lnTo>
                <a:lnTo>
                  <a:pt x="3274" y="2462"/>
                </a:lnTo>
                <a:lnTo>
                  <a:pt x="3212" y="2444"/>
                </a:lnTo>
                <a:lnTo>
                  <a:pt x="3150" y="2435"/>
                </a:lnTo>
                <a:lnTo>
                  <a:pt x="3088" y="2427"/>
                </a:lnTo>
                <a:lnTo>
                  <a:pt x="3088" y="2427"/>
                </a:lnTo>
                <a:lnTo>
                  <a:pt x="3027" y="2435"/>
                </a:lnTo>
                <a:lnTo>
                  <a:pt x="2956" y="2444"/>
                </a:lnTo>
                <a:lnTo>
                  <a:pt x="2894" y="2462"/>
                </a:lnTo>
                <a:lnTo>
                  <a:pt x="2833" y="2480"/>
                </a:lnTo>
                <a:lnTo>
                  <a:pt x="2780" y="2506"/>
                </a:lnTo>
                <a:lnTo>
                  <a:pt x="2727" y="2541"/>
                </a:lnTo>
                <a:lnTo>
                  <a:pt x="2674" y="2577"/>
                </a:lnTo>
                <a:lnTo>
                  <a:pt x="2630" y="2621"/>
                </a:lnTo>
                <a:lnTo>
                  <a:pt x="2585" y="2665"/>
                </a:lnTo>
                <a:lnTo>
                  <a:pt x="2550" y="2709"/>
                </a:lnTo>
                <a:lnTo>
                  <a:pt x="2515" y="2762"/>
                </a:lnTo>
                <a:lnTo>
                  <a:pt x="2488" y="2824"/>
                </a:lnTo>
                <a:lnTo>
                  <a:pt x="2471" y="2885"/>
                </a:lnTo>
                <a:lnTo>
                  <a:pt x="2453" y="2947"/>
                </a:lnTo>
                <a:lnTo>
                  <a:pt x="2444" y="3009"/>
                </a:lnTo>
                <a:lnTo>
                  <a:pt x="2444" y="3080"/>
                </a:lnTo>
                <a:lnTo>
                  <a:pt x="2444" y="3080"/>
                </a:lnTo>
                <a:lnTo>
                  <a:pt x="2444" y="3141"/>
                </a:lnTo>
                <a:lnTo>
                  <a:pt x="2453" y="3194"/>
                </a:lnTo>
                <a:lnTo>
                  <a:pt x="2471" y="3256"/>
                </a:lnTo>
                <a:lnTo>
                  <a:pt x="2488" y="3309"/>
                </a:lnTo>
                <a:lnTo>
                  <a:pt x="2515" y="3362"/>
                </a:lnTo>
                <a:lnTo>
                  <a:pt x="2550" y="3415"/>
                </a:lnTo>
                <a:lnTo>
                  <a:pt x="2585" y="3459"/>
                </a:lnTo>
                <a:lnTo>
                  <a:pt x="2630" y="3503"/>
                </a:lnTo>
                <a:lnTo>
                  <a:pt x="2674" y="3547"/>
                </a:lnTo>
                <a:lnTo>
                  <a:pt x="2727" y="3583"/>
                </a:lnTo>
                <a:lnTo>
                  <a:pt x="2780" y="3609"/>
                </a:lnTo>
                <a:lnTo>
                  <a:pt x="2833" y="3636"/>
                </a:lnTo>
                <a:lnTo>
                  <a:pt x="2894" y="3662"/>
                </a:lnTo>
                <a:lnTo>
                  <a:pt x="2956" y="3671"/>
                </a:lnTo>
                <a:lnTo>
                  <a:pt x="3027" y="3680"/>
                </a:lnTo>
                <a:lnTo>
                  <a:pt x="3088" y="3689"/>
                </a:lnTo>
                <a:close/>
                <a:moveTo>
                  <a:pt x="7129" y="8021"/>
                </a:moveTo>
                <a:lnTo>
                  <a:pt x="7129" y="8021"/>
                </a:lnTo>
                <a:lnTo>
                  <a:pt x="6988" y="8127"/>
                </a:lnTo>
                <a:lnTo>
                  <a:pt x="6838" y="8224"/>
                </a:lnTo>
                <a:lnTo>
                  <a:pt x="6689" y="8321"/>
                </a:lnTo>
                <a:lnTo>
                  <a:pt x="6539" y="8400"/>
                </a:lnTo>
                <a:lnTo>
                  <a:pt x="6380" y="8480"/>
                </a:lnTo>
                <a:lnTo>
                  <a:pt x="6221" y="8559"/>
                </a:lnTo>
                <a:lnTo>
                  <a:pt x="6054" y="8621"/>
                </a:lnTo>
                <a:lnTo>
                  <a:pt x="5886" y="8683"/>
                </a:lnTo>
                <a:lnTo>
                  <a:pt x="5718" y="8736"/>
                </a:lnTo>
                <a:lnTo>
                  <a:pt x="5542" y="8789"/>
                </a:lnTo>
                <a:lnTo>
                  <a:pt x="5365" y="8824"/>
                </a:lnTo>
                <a:lnTo>
                  <a:pt x="5180" y="8859"/>
                </a:lnTo>
                <a:lnTo>
                  <a:pt x="5004" y="8886"/>
                </a:lnTo>
                <a:lnTo>
                  <a:pt x="4818" y="8903"/>
                </a:lnTo>
                <a:lnTo>
                  <a:pt x="4624" y="8912"/>
                </a:lnTo>
                <a:lnTo>
                  <a:pt x="4439" y="8921"/>
                </a:lnTo>
                <a:lnTo>
                  <a:pt x="4439" y="8921"/>
                </a:lnTo>
                <a:lnTo>
                  <a:pt x="4209" y="8912"/>
                </a:lnTo>
                <a:lnTo>
                  <a:pt x="3989" y="8894"/>
                </a:lnTo>
                <a:lnTo>
                  <a:pt x="3759" y="8868"/>
                </a:lnTo>
                <a:lnTo>
                  <a:pt x="3547" y="8824"/>
                </a:lnTo>
                <a:lnTo>
                  <a:pt x="3327" y="8780"/>
                </a:lnTo>
                <a:lnTo>
                  <a:pt x="3124" y="8718"/>
                </a:lnTo>
                <a:lnTo>
                  <a:pt x="2912" y="8647"/>
                </a:lnTo>
                <a:lnTo>
                  <a:pt x="2709" y="8568"/>
                </a:lnTo>
                <a:lnTo>
                  <a:pt x="2515" y="8480"/>
                </a:lnTo>
                <a:lnTo>
                  <a:pt x="2321" y="8383"/>
                </a:lnTo>
                <a:lnTo>
                  <a:pt x="2135" y="8277"/>
                </a:lnTo>
                <a:lnTo>
                  <a:pt x="1959" y="8153"/>
                </a:lnTo>
                <a:lnTo>
                  <a:pt x="1782" y="8030"/>
                </a:lnTo>
                <a:lnTo>
                  <a:pt x="1615" y="7897"/>
                </a:lnTo>
                <a:lnTo>
                  <a:pt x="1456" y="7765"/>
                </a:lnTo>
                <a:lnTo>
                  <a:pt x="1297" y="7615"/>
                </a:lnTo>
                <a:lnTo>
                  <a:pt x="1156" y="7456"/>
                </a:lnTo>
                <a:lnTo>
                  <a:pt x="1015" y="7297"/>
                </a:lnTo>
                <a:lnTo>
                  <a:pt x="882" y="7129"/>
                </a:lnTo>
                <a:lnTo>
                  <a:pt x="759" y="6953"/>
                </a:lnTo>
                <a:lnTo>
                  <a:pt x="644" y="6776"/>
                </a:lnTo>
                <a:lnTo>
                  <a:pt x="529" y="6583"/>
                </a:lnTo>
                <a:lnTo>
                  <a:pt x="432" y="6398"/>
                </a:lnTo>
                <a:lnTo>
                  <a:pt x="344" y="6195"/>
                </a:lnTo>
                <a:lnTo>
                  <a:pt x="264" y="5992"/>
                </a:lnTo>
                <a:lnTo>
                  <a:pt x="194" y="5789"/>
                </a:lnTo>
                <a:lnTo>
                  <a:pt x="132" y="5577"/>
                </a:lnTo>
                <a:lnTo>
                  <a:pt x="88" y="5357"/>
                </a:lnTo>
                <a:lnTo>
                  <a:pt x="44" y="5136"/>
                </a:lnTo>
                <a:lnTo>
                  <a:pt x="17" y="4915"/>
                </a:lnTo>
                <a:lnTo>
                  <a:pt x="0" y="4686"/>
                </a:lnTo>
                <a:lnTo>
                  <a:pt x="0" y="4456"/>
                </a:lnTo>
                <a:lnTo>
                  <a:pt x="0" y="4456"/>
                </a:lnTo>
                <a:lnTo>
                  <a:pt x="0" y="4227"/>
                </a:lnTo>
                <a:lnTo>
                  <a:pt x="17" y="3997"/>
                </a:lnTo>
                <a:lnTo>
                  <a:pt x="44" y="3777"/>
                </a:lnTo>
                <a:lnTo>
                  <a:pt x="88" y="3556"/>
                </a:lnTo>
                <a:lnTo>
                  <a:pt x="132" y="3336"/>
                </a:lnTo>
                <a:lnTo>
                  <a:pt x="194" y="3124"/>
                </a:lnTo>
                <a:lnTo>
                  <a:pt x="264" y="2921"/>
                </a:lnTo>
                <a:lnTo>
                  <a:pt x="344" y="2718"/>
                </a:lnTo>
                <a:lnTo>
                  <a:pt x="432" y="2515"/>
                </a:lnTo>
                <a:lnTo>
                  <a:pt x="529" y="2329"/>
                </a:lnTo>
                <a:lnTo>
                  <a:pt x="644" y="2135"/>
                </a:lnTo>
                <a:lnTo>
                  <a:pt x="759" y="1959"/>
                </a:lnTo>
                <a:lnTo>
                  <a:pt x="882" y="1782"/>
                </a:lnTo>
                <a:lnTo>
                  <a:pt x="1015" y="1615"/>
                </a:lnTo>
                <a:lnTo>
                  <a:pt x="1156" y="1456"/>
                </a:lnTo>
                <a:lnTo>
                  <a:pt x="1297" y="1297"/>
                </a:lnTo>
                <a:lnTo>
                  <a:pt x="1456" y="1147"/>
                </a:lnTo>
                <a:lnTo>
                  <a:pt x="1615" y="1015"/>
                </a:lnTo>
                <a:lnTo>
                  <a:pt x="1782" y="882"/>
                </a:lnTo>
                <a:lnTo>
                  <a:pt x="1959" y="759"/>
                </a:lnTo>
                <a:lnTo>
                  <a:pt x="2135" y="635"/>
                </a:lnTo>
                <a:lnTo>
                  <a:pt x="2321" y="529"/>
                </a:lnTo>
                <a:lnTo>
                  <a:pt x="2515" y="432"/>
                </a:lnTo>
                <a:lnTo>
                  <a:pt x="2709" y="344"/>
                </a:lnTo>
                <a:lnTo>
                  <a:pt x="2912" y="264"/>
                </a:lnTo>
                <a:lnTo>
                  <a:pt x="3124" y="194"/>
                </a:lnTo>
                <a:lnTo>
                  <a:pt x="3327" y="132"/>
                </a:lnTo>
                <a:lnTo>
                  <a:pt x="3547" y="88"/>
                </a:lnTo>
                <a:lnTo>
                  <a:pt x="3759" y="44"/>
                </a:lnTo>
                <a:lnTo>
                  <a:pt x="3989" y="17"/>
                </a:lnTo>
                <a:lnTo>
                  <a:pt x="4209" y="0"/>
                </a:lnTo>
                <a:lnTo>
                  <a:pt x="4439" y="0"/>
                </a:lnTo>
                <a:lnTo>
                  <a:pt x="4439" y="0"/>
                </a:lnTo>
                <a:lnTo>
                  <a:pt x="4668" y="0"/>
                </a:lnTo>
                <a:lnTo>
                  <a:pt x="4898" y="17"/>
                </a:lnTo>
                <a:lnTo>
                  <a:pt x="5118" y="44"/>
                </a:lnTo>
                <a:lnTo>
                  <a:pt x="5348" y="88"/>
                </a:lnTo>
                <a:lnTo>
                  <a:pt x="5559" y="132"/>
                </a:lnTo>
                <a:lnTo>
                  <a:pt x="5771" y="194"/>
                </a:lnTo>
                <a:lnTo>
                  <a:pt x="5983" y="264"/>
                </a:lnTo>
                <a:lnTo>
                  <a:pt x="6186" y="344"/>
                </a:lnTo>
                <a:lnTo>
                  <a:pt x="6389" y="432"/>
                </a:lnTo>
                <a:lnTo>
                  <a:pt x="6574" y="529"/>
                </a:lnTo>
                <a:lnTo>
                  <a:pt x="6768" y="635"/>
                </a:lnTo>
                <a:lnTo>
                  <a:pt x="6944" y="759"/>
                </a:lnTo>
                <a:lnTo>
                  <a:pt x="7121" y="882"/>
                </a:lnTo>
                <a:lnTo>
                  <a:pt x="7288" y="1015"/>
                </a:lnTo>
                <a:lnTo>
                  <a:pt x="7456" y="1147"/>
                </a:lnTo>
                <a:lnTo>
                  <a:pt x="7606" y="1297"/>
                </a:lnTo>
                <a:lnTo>
                  <a:pt x="7756" y="1456"/>
                </a:lnTo>
                <a:lnTo>
                  <a:pt x="7897" y="1615"/>
                </a:lnTo>
                <a:lnTo>
                  <a:pt x="8030" y="1782"/>
                </a:lnTo>
                <a:lnTo>
                  <a:pt x="8153" y="1959"/>
                </a:lnTo>
                <a:lnTo>
                  <a:pt x="8268" y="2135"/>
                </a:lnTo>
                <a:lnTo>
                  <a:pt x="8383" y="2329"/>
                </a:lnTo>
                <a:lnTo>
                  <a:pt x="8480" y="2515"/>
                </a:lnTo>
                <a:lnTo>
                  <a:pt x="8568" y="2718"/>
                </a:lnTo>
                <a:lnTo>
                  <a:pt x="8647" y="2921"/>
                </a:lnTo>
                <a:lnTo>
                  <a:pt x="8718" y="3124"/>
                </a:lnTo>
                <a:lnTo>
                  <a:pt x="8780" y="3336"/>
                </a:lnTo>
                <a:lnTo>
                  <a:pt x="8824" y="3556"/>
                </a:lnTo>
                <a:lnTo>
                  <a:pt x="8868" y="3777"/>
                </a:lnTo>
                <a:lnTo>
                  <a:pt x="8894" y="3997"/>
                </a:lnTo>
                <a:lnTo>
                  <a:pt x="8912" y="4227"/>
                </a:lnTo>
                <a:lnTo>
                  <a:pt x="8921" y="4456"/>
                </a:lnTo>
                <a:lnTo>
                  <a:pt x="8921" y="4456"/>
                </a:lnTo>
                <a:lnTo>
                  <a:pt x="8912" y="4642"/>
                </a:lnTo>
                <a:lnTo>
                  <a:pt x="8903" y="4818"/>
                </a:lnTo>
                <a:lnTo>
                  <a:pt x="8886" y="4986"/>
                </a:lnTo>
                <a:lnTo>
                  <a:pt x="8859" y="5154"/>
                </a:lnTo>
                <a:lnTo>
                  <a:pt x="8833" y="5321"/>
                </a:lnTo>
                <a:lnTo>
                  <a:pt x="8797" y="5480"/>
                </a:lnTo>
                <a:lnTo>
                  <a:pt x="8718" y="5798"/>
                </a:lnTo>
                <a:lnTo>
                  <a:pt x="8718" y="5798"/>
                </a:lnTo>
                <a:lnTo>
                  <a:pt x="13439" y="10456"/>
                </a:lnTo>
                <a:lnTo>
                  <a:pt x="13439" y="10456"/>
                </a:lnTo>
                <a:lnTo>
                  <a:pt x="13439" y="13298"/>
                </a:lnTo>
                <a:lnTo>
                  <a:pt x="13439" y="13298"/>
                </a:lnTo>
                <a:lnTo>
                  <a:pt x="10748" y="13298"/>
                </a:lnTo>
                <a:lnTo>
                  <a:pt x="10748" y="13298"/>
                </a:lnTo>
                <a:lnTo>
                  <a:pt x="10748" y="11471"/>
                </a:lnTo>
                <a:lnTo>
                  <a:pt x="10748" y="11471"/>
                </a:lnTo>
                <a:lnTo>
                  <a:pt x="9000" y="11471"/>
                </a:lnTo>
                <a:lnTo>
                  <a:pt x="9000" y="11471"/>
                </a:lnTo>
                <a:lnTo>
                  <a:pt x="9000" y="9689"/>
                </a:lnTo>
                <a:lnTo>
                  <a:pt x="9000" y="9689"/>
                </a:lnTo>
                <a:lnTo>
                  <a:pt x="7129" y="9689"/>
                </a:lnTo>
                <a:lnTo>
                  <a:pt x="7129" y="8021"/>
                </a:lnTo>
                <a:close/>
              </a:path>
            </a:pathLst>
          </a:custGeom>
          <a:noFill/>
          <a:ln w="28575" cap="flat">
            <a:solidFill>
              <a:srgbClr val="B3B2B4"/>
            </a:solidFill>
            <a:bevel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32597">
              <a:defRPr/>
            </a:pPr>
            <a:endParaRPr lang="en-US" sz="1836">
              <a:solidFill>
                <a:srgbClr val="505050"/>
              </a:solidFill>
              <a:latin typeface="Segoe UI"/>
            </a:endParaRP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C84C52DD-7CD5-479C-AB8B-620A7CDF856A}"/>
              </a:ext>
            </a:extLst>
          </p:cNvPr>
          <p:cNvGrpSpPr/>
          <p:nvPr/>
        </p:nvGrpSpPr>
        <p:grpSpPr>
          <a:xfrm>
            <a:off x="772861" y="2572439"/>
            <a:ext cx="460244" cy="449535"/>
            <a:chOff x="2088630" y="3287843"/>
            <a:chExt cx="429718" cy="419725"/>
          </a:xfrm>
          <a:noFill/>
        </p:grpSpPr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CE566485-19DF-4E32-AF54-102728E70834}"/>
                </a:ext>
              </a:extLst>
            </p:cNvPr>
            <p:cNvSpPr/>
            <p:nvPr/>
          </p:nvSpPr>
          <p:spPr bwMode="auto">
            <a:xfrm>
              <a:off x="2213548" y="3287843"/>
              <a:ext cx="304800" cy="304800"/>
            </a:xfrm>
            <a:prstGeom prst="rect">
              <a:avLst/>
            </a:prstGeom>
            <a:noFill/>
            <a:ln w="28575">
              <a:solidFill>
                <a:srgbClr val="B3B2B4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" pitchFamily="34" charset="0"/>
              </a:endParaRP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B8D46F40-CD1A-4A29-888D-906FB9F95EC5}"/>
                </a:ext>
              </a:extLst>
            </p:cNvPr>
            <p:cNvSpPr/>
            <p:nvPr/>
          </p:nvSpPr>
          <p:spPr bwMode="auto">
            <a:xfrm>
              <a:off x="2088630" y="3402768"/>
              <a:ext cx="304800" cy="304800"/>
            </a:xfrm>
            <a:prstGeom prst="rect">
              <a:avLst/>
            </a:prstGeom>
            <a:noFill/>
            <a:ln w="28575">
              <a:solidFill>
                <a:srgbClr val="B3B2B4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" pitchFamily="34" charset="0"/>
              </a:endParaRPr>
            </a:p>
          </p:txBody>
        </p:sp>
      </p:grpSp>
      <p:sp>
        <p:nvSpPr>
          <p:cNvPr id="68" name="Rectangle 67">
            <a:extLst>
              <a:ext uri="{FF2B5EF4-FFF2-40B4-BE49-F238E27FC236}">
                <a16:creationId xmlns:a16="http://schemas.microsoft.com/office/drawing/2014/main" id="{C434BB8E-D2BD-47A9-B9B1-FAF3D67BA603}"/>
              </a:ext>
            </a:extLst>
          </p:cNvPr>
          <p:cNvSpPr/>
          <p:nvPr/>
        </p:nvSpPr>
        <p:spPr>
          <a:xfrm>
            <a:off x="150473" y="1748570"/>
            <a:ext cx="1730067" cy="4708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2400" kern="0" spc="50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ductive</a:t>
            </a:r>
          </a:p>
        </p:txBody>
      </p:sp>
      <p:sp>
        <p:nvSpPr>
          <p:cNvPr id="69" name="speedometer_2">
            <a:extLst>
              <a:ext uri="{FF2B5EF4-FFF2-40B4-BE49-F238E27FC236}">
                <a16:creationId xmlns:a16="http://schemas.microsoft.com/office/drawing/2014/main" id="{AE99FD3D-3929-40F6-9551-9DF95629146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07751" y="1011218"/>
            <a:ext cx="612023" cy="612021"/>
          </a:xfrm>
          <a:custGeom>
            <a:avLst/>
            <a:gdLst>
              <a:gd name="T0" fmla="*/ 155 w 281"/>
              <a:gd name="T1" fmla="*/ 155 h 281"/>
              <a:gd name="T2" fmla="*/ 126 w 281"/>
              <a:gd name="T3" fmla="*/ 155 h 281"/>
              <a:gd name="T4" fmla="*/ 126 w 281"/>
              <a:gd name="T5" fmla="*/ 126 h 281"/>
              <a:gd name="T6" fmla="*/ 155 w 281"/>
              <a:gd name="T7" fmla="*/ 126 h 281"/>
              <a:gd name="T8" fmla="*/ 155 w 281"/>
              <a:gd name="T9" fmla="*/ 155 h 281"/>
              <a:gd name="T10" fmla="*/ 140 w 281"/>
              <a:gd name="T11" fmla="*/ 0 h 281"/>
              <a:gd name="T12" fmla="*/ 0 w 281"/>
              <a:gd name="T13" fmla="*/ 141 h 281"/>
              <a:gd name="T14" fmla="*/ 140 w 281"/>
              <a:gd name="T15" fmla="*/ 281 h 281"/>
              <a:gd name="T16" fmla="*/ 281 w 281"/>
              <a:gd name="T17" fmla="*/ 141 h 281"/>
              <a:gd name="T18" fmla="*/ 140 w 281"/>
              <a:gd name="T19" fmla="*/ 0 h 281"/>
              <a:gd name="T20" fmla="*/ 214 w 281"/>
              <a:gd name="T21" fmla="*/ 210 h 281"/>
              <a:gd name="T22" fmla="*/ 241 w 281"/>
              <a:gd name="T23" fmla="*/ 141 h 281"/>
              <a:gd name="T24" fmla="*/ 235 w 281"/>
              <a:gd name="T25" fmla="*/ 105 h 281"/>
              <a:gd name="T26" fmla="*/ 174 w 281"/>
              <a:gd name="T27" fmla="*/ 45 h 281"/>
              <a:gd name="T28" fmla="*/ 140 w 281"/>
              <a:gd name="T29" fmla="*/ 40 h 281"/>
              <a:gd name="T30" fmla="*/ 40 w 281"/>
              <a:gd name="T31" fmla="*/ 141 h 281"/>
              <a:gd name="T32" fmla="*/ 67 w 281"/>
              <a:gd name="T33" fmla="*/ 210 h 281"/>
              <a:gd name="T34" fmla="*/ 212 w 281"/>
              <a:gd name="T35" fmla="*/ 69 h 281"/>
              <a:gd name="T36" fmla="*/ 157 w 281"/>
              <a:gd name="T37" fmla="*/ 124 h 2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81" h="281">
                <a:moveTo>
                  <a:pt x="155" y="155"/>
                </a:moveTo>
                <a:cubicBezTo>
                  <a:pt x="147" y="164"/>
                  <a:pt x="134" y="164"/>
                  <a:pt x="126" y="155"/>
                </a:cubicBezTo>
                <a:cubicBezTo>
                  <a:pt x="117" y="147"/>
                  <a:pt x="117" y="134"/>
                  <a:pt x="126" y="126"/>
                </a:cubicBezTo>
                <a:cubicBezTo>
                  <a:pt x="134" y="118"/>
                  <a:pt x="147" y="117"/>
                  <a:pt x="155" y="126"/>
                </a:cubicBezTo>
                <a:cubicBezTo>
                  <a:pt x="164" y="134"/>
                  <a:pt x="164" y="147"/>
                  <a:pt x="155" y="155"/>
                </a:cubicBezTo>
                <a:close/>
                <a:moveTo>
                  <a:pt x="140" y="0"/>
                </a:moveTo>
                <a:cubicBezTo>
                  <a:pt x="63" y="0"/>
                  <a:pt x="0" y="63"/>
                  <a:pt x="0" y="141"/>
                </a:cubicBezTo>
                <a:cubicBezTo>
                  <a:pt x="0" y="218"/>
                  <a:pt x="63" y="281"/>
                  <a:pt x="140" y="281"/>
                </a:cubicBezTo>
                <a:cubicBezTo>
                  <a:pt x="218" y="281"/>
                  <a:pt x="281" y="218"/>
                  <a:pt x="281" y="141"/>
                </a:cubicBezTo>
                <a:cubicBezTo>
                  <a:pt x="281" y="63"/>
                  <a:pt x="218" y="0"/>
                  <a:pt x="140" y="0"/>
                </a:cubicBezTo>
                <a:close/>
                <a:moveTo>
                  <a:pt x="214" y="210"/>
                </a:moveTo>
                <a:cubicBezTo>
                  <a:pt x="231" y="192"/>
                  <a:pt x="241" y="168"/>
                  <a:pt x="241" y="141"/>
                </a:cubicBezTo>
                <a:cubicBezTo>
                  <a:pt x="241" y="128"/>
                  <a:pt x="239" y="116"/>
                  <a:pt x="235" y="105"/>
                </a:cubicBezTo>
                <a:moveTo>
                  <a:pt x="174" y="45"/>
                </a:moveTo>
                <a:cubicBezTo>
                  <a:pt x="163" y="42"/>
                  <a:pt x="152" y="40"/>
                  <a:pt x="140" y="40"/>
                </a:cubicBezTo>
                <a:cubicBezTo>
                  <a:pt x="85" y="40"/>
                  <a:pt x="40" y="85"/>
                  <a:pt x="40" y="141"/>
                </a:cubicBezTo>
                <a:cubicBezTo>
                  <a:pt x="40" y="168"/>
                  <a:pt x="50" y="192"/>
                  <a:pt x="67" y="210"/>
                </a:cubicBezTo>
                <a:moveTo>
                  <a:pt x="212" y="69"/>
                </a:moveTo>
                <a:cubicBezTo>
                  <a:pt x="157" y="124"/>
                  <a:pt x="157" y="124"/>
                  <a:pt x="157" y="124"/>
                </a:cubicBezTo>
              </a:path>
            </a:pathLst>
          </a:custGeom>
          <a:noFill/>
          <a:ln w="28575">
            <a:solidFill>
              <a:srgbClr val="001F50"/>
            </a:solidFill>
            <a:headEnd type="none" w="med" len="med"/>
            <a:tailEnd type="none" w="med" len="med"/>
          </a:ln>
          <a:effectLst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D08A58E-F936-4A1E-A96C-E7210030F9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24552" y="235056"/>
            <a:ext cx="9937285" cy="5589723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760E069-2888-4F83-AFA3-193BEE11E73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15706" y="5935662"/>
            <a:ext cx="1841447" cy="686424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4B1AF90E-86C4-4384-A90B-21AA28DA875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27714" b="29428"/>
          <a:stretch/>
        </p:blipFill>
        <p:spPr>
          <a:xfrm>
            <a:off x="4313237" y="5949694"/>
            <a:ext cx="2779220" cy="672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8332068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tangle 44"/>
          <p:cNvSpPr/>
          <p:nvPr/>
        </p:nvSpPr>
        <p:spPr bwMode="auto">
          <a:xfrm>
            <a:off x="881" y="6476"/>
            <a:ext cx="12434712" cy="6994525"/>
          </a:xfrm>
          <a:prstGeom prst="rect">
            <a:avLst/>
          </a:prstGeom>
          <a:solidFill>
            <a:srgbClr val="F2F2F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48" err="1">
              <a:ln>
                <a:solidFill>
                  <a:sysClr val="windowText" lastClr="000000"/>
                </a:solidFill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1" name="arrow">
            <a:extLst>
              <a:ext uri="{FF2B5EF4-FFF2-40B4-BE49-F238E27FC236}">
                <a16:creationId xmlns:a16="http://schemas.microsoft.com/office/drawing/2014/main" id="{FC988526-2733-4AF0-8EA5-8A81FB0B7848}"/>
              </a:ext>
            </a:extLst>
          </p:cNvPr>
          <p:cNvSpPr>
            <a:spLocks noChangeAspect="1" noEditPoints="1"/>
          </p:cNvSpPr>
          <p:nvPr/>
        </p:nvSpPr>
        <p:spPr bwMode="auto">
          <a:xfrm rot="16200000">
            <a:off x="8097344" y="3343038"/>
            <a:ext cx="217929" cy="201098"/>
          </a:xfrm>
          <a:custGeom>
            <a:avLst/>
            <a:gdLst>
              <a:gd name="T0" fmla="*/ 133 w 246"/>
              <a:gd name="T1" fmla="*/ 0 h 227"/>
              <a:gd name="T2" fmla="*/ 246 w 246"/>
              <a:gd name="T3" fmla="*/ 113 h 227"/>
              <a:gd name="T4" fmla="*/ 133 w 246"/>
              <a:gd name="T5" fmla="*/ 227 h 227"/>
              <a:gd name="T6" fmla="*/ 246 w 246"/>
              <a:gd name="T7" fmla="*/ 113 h 227"/>
              <a:gd name="T8" fmla="*/ 0 w 246"/>
              <a:gd name="T9" fmla="*/ 11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46" h="227">
                <a:moveTo>
                  <a:pt x="133" y="0"/>
                </a:moveTo>
                <a:lnTo>
                  <a:pt x="246" y="113"/>
                </a:lnTo>
                <a:lnTo>
                  <a:pt x="133" y="227"/>
                </a:lnTo>
                <a:moveTo>
                  <a:pt x="246" y="113"/>
                </a:moveTo>
                <a:lnTo>
                  <a:pt x="0" y="113"/>
                </a:lnTo>
              </a:path>
            </a:pathLst>
          </a:custGeom>
          <a:noFill/>
          <a:ln w="28575" cap="sq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  <a:noAutofit/>
          </a:bodyPr>
          <a:lstStyle/>
          <a:p>
            <a:pPr defTabSz="932563">
              <a:defRPr/>
            </a:pPr>
            <a:endParaRPr lang="en-US" sz="600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7" name="arrow">
            <a:extLst>
              <a:ext uri="{FF2B5EF4-FFF2-40B4-BE49-F238E27FC236}">
                <a16:creationId xmlns:a16="http://schemas.microsoft.com/office/drawing/2014/main" id="{1DBB0596-4D8E-459D-A1EE-C4D0ABFBC350}"/>
              </a:ext>
            </a:extLst>
          </p:cNvPr>
          <p:cNvSpPr>
            <a:spLocks noChangeAspect="1" noEditPoints="1"/>
          </p:cNvSpPr>
          <p:nvPr/>
        </p:nvSpPr>
        <p:spPr bwMode="auto">
          <a:xfrm rot="5400000" flipV="1">
            <a:off x="8097346" y="4511131"/>
            <a:ext cx="217926" cy="201098"/>
          </a:xfrm>
          <a:custGeom>
            <a:avLst/>
            <a:gdLst>
              <a:gd name="T0" fmla="*/ 133 w 246"/>
              <a:gd name="T1" fmla="*/ 0 h 227"/>
              <a:gd name="T2" fmla="*/ 246 w 246"/>
              <a:gd name="T3" fmla="*/ 113 h 227"/>
              <a:gd name="T4" fmla="*/ 133 w 246"/>
              <a:gd name="T5" fmla="*/ 227 h 227"/>
              <a:gd name="T6" fmla="*/ 246 w 246"/>
              <a:gd name="T7" fmla="*/ 113 h 227"/>
              <a:gd name="T8" fmla="*/ 0 w 246"/>
              <a:gd name="T9" fmla="*/ 11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46" h="227">
                <a:moveTo>
                  <a:pt x="133" y="0"/>
                </a:moveTo>
                <a:lnTo>
                  <a:pt x="246" y="113"/>
                </a:lnTo>
                <a:lnTo>
                  <a:pt x="133" y="227"/>
                </a:lnTo>
                <a:moveTo>
                  <a:pt x="246" y="113"/>
                </a:moveTo>
                <a:lnTo>
                  <a:pt x="0" y="113"/>
                </a:lnTo>
              </a:path>
            </a:pathLst>
          </a:custGeom>
          <a:noFill/>
          <a:ln w="28575" cap="sq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  <a:noAutofit/>
          </a:bodyPr>
          <a:lstStyle/>
          <a:p>
            <a:pPr defTabSz="932563">
              <a:defRPr/>
            </a:pPr>
            <a:endParaRPr lang="en-US" sz="600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9B01308B-FDFE-47FA-9F82-F84EFE2460EA}"/>
              </a:ext>
            </a:extLst>
          </p:cNvPr>
          <p:cNvSpPr/>
          <p:nvPr/>
        </p:nvSpPr>
        <p:spPr>
          <a:xfrm>
            <a:off x="7237182" y="1450166"/>
            <a:ext cx="1938253" cy="535455"/>
          </a:xfrm>
          <a:prstGeom prst="rect">
            <a:avLst/>
          </a:prstGeom>
        </p:spPr>
        <p:txBody>
          <a:bodyPr wrap="none" anchor="t">
            <a:noAutofit/>
          </a:bodyPr>
          <a:lstStyle/>
          <a:p>
            <a:pPr algn="ctr" defTabSz="9317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zure</a:t>
            </a:r>
            <a:b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ata s</a:t>
            </a:r>
            <a:r>
              <a:rPr lang="en-US" sz="1599" dirty="0" err="1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rvices</a:t>
            </a:r>
            <a:endParaRPr lang="en-US" sz="1599" dirty="0">
              <a:solidFill>
                <a:srgbClr val="0078D7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F753D573-9843-480C-AB40-1D281AECAD55}"/>
              </a:ext>
            </a:extLst>
          </p:cNvPr>
          <p:cNvSpPr/>
          <p:nvPr/>
        </p:nvSpPr>
        <p:spPr>
          <a:xfrm>
            <a:off x="7237182" y="5901235"/>
            <a:ext cx="1938253" cy="535455"/>
          </a:xfrm>
          <a:prstGeom prst="rect">
            <a:avLst/>
          </a:prstGeom>
        </p:spPr>
        <p:txBody>
          <a:bodyPr wrap="none" anchor="t">
            <a:noAutofit/>
          </a:bodyPr>
          <a:lstStyle/>
          <a:p>
            <a:pPr algn="ctr" defTabSz="9317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QL </a:t>
            </a:r>
          </a:p>
          <a:p>
            <a:pPr algn="ctr" defTabSz="9317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rver</a:t>
            </a:r>
          </a:p>
        </p:txBody>
      </p:sp>
      <p:sp>
        <p:nvSpPr>
          <p:cNvPr id="88" name="arrow">
            <a:extLst>
              <a:ext uri="{FF2B5EF4-FFF2-40B4-BE49-F238E27FC236}">
                <a16:creationId xmlns:a16="http://schemas.microsoft.com/office/drawing/2014/main" id="{71CF8D0B-E144-4314-ABDE-44666560A9D3}"/>
              </a:ext>
            </a:extLst>
          </p:cNvPr>
          <p:cNvSpPr>
            <a:spLocks noChangeAspect="1" noEditPoints="1"/>
          </p:cNvSpPr>
          <p:nvPr/>
        </p:nvSpPr>
        <p:spPr bwMode="auto">
          <a:xfrm rot="16200000" flipV="1">
            <a:off x="10105298" y="3343040"/>
            <a:ext cx="217924" cy="201093"/>
          </a:xfrm>
          <a:custGeom>
            <a:avLst/>
            <a:gdLst>
              <a:gd name="T0" fmla="*/ 133 w 246"/>
              <a:gd name="T1" fmla="*/ 0 h 227"/>
              <a:gd name="T2" fmla="*/ 246 w 246"/>
              <a:gd name="T3" fmla="*/ 113 h 227"/>
              <a:gd name="T4" fmla="*/ 133 w 246"/>
              <a:gd name="T5" fmla="*/ 227 h 227"/>
              <a:gd name="T6" fmla="*/ 246 w 246"/>
              <a:gd name="T7" fmla="*/ 113 h 227"/>
              <a:gd name="T8" fmla="*/ 0 w 246"/>
              <a:gd name="T9" fmla="*/ 11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46" h="227">
                <a:moveTo>
                  <a:pt x="133" y="0"/>
                </a:moveTo>
                <a:lnTo>
                  <a:pt x="246" y="113"/>
                </a:lnTo>
                <a:lnTo>
                  <a:pt x="133" y="227"/>
                </a:lnTo>
                <a:moveTo>
                  <a:pt x="246" y="113"/>
                </a:moveTo>
                <a:lnTo>
                  <a:pt x="0" y="113"/>
                </a:lnTo>
              </a:path>
            </a:pathLst>
          </a:custGeom>
          <a:noFill/>
          <a:ln w="28575" cap="sq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  <a:noAutofit/>
          </a:bodyPr>
          <a:lstStyle/>
          <a:p>
            <a:pPr defTabSz="932563">
              <a:defRPr/>
            </a:pPr>
            <a:endParaRPr lang="en-US" sz="600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9" name="arrow">
            <a:extLst>
              <a:ext uri="{FF2B5EF4-FFF2-40B4-BE49-F238E27FC236}">
                <a16:creationId xmlns:a16="http://schemas.microsoft.com/office/drawing/2014/main" id="{BC16EF96-5F61-4D14-B739-24C134B72AD6}"/>
              </a:ext>
            </a:extLst>
          </p:cNvPr>
          <p:cNvSpPr>
            <a:spLocks noChangeAspect="1" noEditPoints="1"/>
          </p:cNvSpPr>
          <p:nvPr/>
        </p:nvSpPr>
        <p:spPr bwMode="auto">
          <a:xfrm rot="5400000">
            <a:off x="10105298" y="4511134"/>
            <a:ext cx="217922" cy="201093"/>
          </a:xfrm>
          <a:custGeom>
            <a:avLst/>
            <a:gdLst>
              <a:gd name="T0" fmla="*/ 133 w 246"/>
              <a:gd name="T1" fmla="*/ 0 h 227"/>
              <a:gd name="T2" fmla="*/ 246 w 246"/>
              <a:gd name="T3" fmla="*/ 113 h 227"/>
              <a:gd name="T4" fmla="*/ 133 w 246"/>
              <a:gd name="T5" fmla="*/ 227 h 227"/>
              <a:gd name="T6" fmla="*/ 246 w 246"/>
              <a:gd name="T7" fmla="*/ 113 h 227"/>
              <a:gd name="T8" fmla="*/ 0 w 246"/>
              <a:gd name="T9" fmla="*/ 11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46" h="227">
                <a:moveTo>
                  <a:pt x="133" y="0"/>
                </a:moveTo>
                <a:lnTo>
                  <a:pt x="246" y="113"/>
                </a:lnTo>
                <a:lnTo>
                  <a:pt x="133" y="227"/>
                </a:lnTo>
                <a:moveTo>
                  <a:pt x="246" y="113"/>
                </a:moveTo>
                <a:lnTo>
                  <a:pt x="0" y="113"/>
                </a:lnTo>
              </a:path>
            </a:pathLst>
          </a:custGeom>
          <a:noFill/>
          <a:ln w="28575" cap="sq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  <a:noAutofit/>
          </a:bodyPr>
          <a:lstStyle/>
          <a:p>
            <a:pPr defTabSz="932563">
              <a:defRPr/>
            </a:pPr>
            <a:endParaRPr lang="en-US" sz="600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BA3273FF-7A7C-4CE3-9977-22F7A2C1DD26}"/>
              </a:ext>
            </a:extLst>
          </p:cNvPr>
          <p:cNvSpPr/>
          <p:nvPr/>
        </p:nvSpPr>
        <p:spPr>
          <a:xfrm>
            <a:off x="9245133" y="1450166"/>
            <a:ext cx="1938253" cy="535455"/>
          </a:xfrm>
          <a:prstGeom prst="rect">
            <a:avLst/>
          </a:prstGeom>
        </p:spPr>
        <p:txBody>
          <a:bodyPr wrap="none" anchor="t">
            <a:noAutofit/>
          </a:bodyPr>
          <a:lstStyle/>
          <a:p>
            <a:pPr algn="ctr" defTabSz="9317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zure Security</a:t>
            </a:r>
            <a:b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nd Management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FF7D8C1C-BFD3-48E2-8CE5-963B497E01A0}"/>
              </a:ext>
            </a:extLst>
          </p:cNvPr>
          <p:cNvSpPr/>
          <p:nvPr/>
        </p:nvSpPr>
        <p:spPr>
          <a:xfrm>
            <a:off x="9245133" y="5901235"/>
            <a:ext cx="1938253" cy="535455"/>
          </a:xfrm>
          <a:prstGeom prst="rect">
            <a:avLst/>
          </a:prstGeom>
        </p:spPr>
        <p:txBody>
          <a:bodyPr wrap="none" anchor="t">
            <a:noAutofit/>
          </a:bodyPr>
          <a:lstStyle/>
          <a:p>
            <a:pPr algn="ctr" defTabSz="9317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n-premises</a:t>
            </a:r>
            <a:b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frastructure</a:t>
            </a:r>
          </a:p>
        </p:txBody>
      </p:sp>
      <p:sp>
        <p:nvSpPr>
          <p:cNvPr id="50" name="arrow">
            <a:extLst>
              <a:ext uri="{FF2B5EF4-FFF2-40B4-BE49-F238E27FC236}">
                <a16:creationId xmlns:a16="http://schemas.microsoft.com/office/drawing/2014/main" id="{765BDB65-C8C7-4324-98F0-8CA1E3680AFD}"/>
              </a:ext>
            </a:extLst>
          </p:cNvPr>
          <p:cNvSpPr>
            <a:spLocks noChangeAspect="1" noEditPoints="1"/>
          </p:cNvSpPr>
          <p:nvPr/>
        </p:nvSpPr>
        <p:spPr bwMode="auto">
          <a:xfrm rot="16200000">
            <a:off x="6088852" y="3343038"/>
            <a:ext cx="217929" cy="201098"/>
          </a:xfrm>
          <a:custGeom>
            <a:avLst/>
            <a:gdLst>
              <a:gd name="T0" fmla="*/ 133 w 246"/>
              <a:gd name="T1" fmla="*/ 0 h 227"/>
              <a:gd name="T2" fmla="*/ 246 w 246"/>
              <a:gd name="T3" fmla="*/ 113 h 227"/>
              <a:gd name="T4" fmla="*/ 133 w 246"/>
              <a:gd name="T5" fmla="*/ 227 h 227"/>
              <a:gd name="T6" fmla="*/ 246 w 246"/>
              <a:gd name="T7" fmla="*/ 113 h 227"/>
              <a:gd name="T8" fmla="*/ 0 w 246"/>
              <a:gd name="T9" fmla="*/ 11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46" h="227">
                <a:moveTo>
                  <a:pt x="133" y="0"/>
                </a:moveTo>
                <a:lnTo>
                  <a:pt x="246" y="113"/>
                </a:lnTo>
                <a:lnTo>
                  <a:pt x="133" y="227"/>
                </a:lnTo>
                <a:moveTo>
                  <a:pt x="246" y="113"/>
                </a:moveTo>
                <a:lnTo>
                  <a:pt x="0" y="113"/>
                </a:lnTo>
              </a:path>
            </a:pathLst>
          </a:custGeom>
          <a:noFill/>
          <a:ln w="28575" cap="sq">
            <a:solidFill>
              <a:srgbClr val="A6A6A6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  <a:noAutofit/>
          </a:bodyPr>
          <a:lstStyle/>
          <a:p>
            <a:pPr defTabSz="932563">
              <a:defRPr/>
            </a:pPr>
            <a:endParaRPr lang="en-US" sz="600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6" name="arrow">
            <a:extLst>
              <a:ext uri="{FF2B5EF4-FFF2-40B4-BE49-F238E27FC236}">
                <a16:creationId xmlns:a16="http://schemas.microsoft.com/office/drawing/2014/main" id="{3DE84DC4-7B41-46A5-BB18-2CF33A62A2DF}"/>
              </a:ext>
            </a:extLst>
          </p:cNvPr>
          <p:cNvSpPr>
            <a:spLocks noChangeAspect="1" noEditPoints="1"/>
          </p:cNvSpPr>
          <p:nvPr/>
        </p:nvSpPr>
        <p:spPr bwMode="auto">
          <a:xfrm rot="5400000" flipV="1">
            <a:off x="6088853" y="4511131"/>
            <a:ext cx="217926" cy="201098"/>
          </a:xfrm>
          <a:custGeom>
            <a:avLst/>
            <a:gdLst>
              <a:gd name="T0" fmla="*/ 133 w 246"/>
              <a:gd name="T1" fmla="*/ 0 h 227"/>
              <a:gd name="T2" fmla="*/ 246 w 246"/>
              <a:gd name="T3" fmla="*/ 113 h 227"/>
              <a:gd name="T4" fmla="*/ 133 w 246"/>
              <a:gd name="T5" fmla="*/ 227 h 227"/>
              <a:gd name="T6" fmla="*/ 246 w 246"/>
              <a:gd name="T7" fmla="*/ 113 h 227"/>
              <a:gd name="T8" fmla="*/ 0 w 246"/>
              <a:gd name="T9" fmla="*/ 11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46" h="227">
                <a:moveTo>
                  <a:pt x="133" y="0"/>
                </a:moveTo>
                <a:lnTo>
                  <a:pt x="246" y="113"/>
                </a:lnTo>
                <a:lnTo>
                  <a:pt x="133" y="227"/>
                </a:lnTo>
                <a:moveTo>
                  <a:pt x="246" y="113"/>
                </a:moveTo>
                <a:lnTo>
                  <a:pt x="0" y="113"/>
                </a:lnTo>
              </a:path>
            </a:pathLst>
          </a:custGeom>
          <a:noFill/>
          <a:ln w="28575" cap="sq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  <a:noAutofit/>
          </a:bodyPr>
          <a:lstStyle/>
          <a:p>
            <a:pPr defTabSz="932563">
              <a:defRPr/>
            </a:pPr>
            <a:endParaRPr lang="en-US" sz="600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22B70E63-F851-4EE7-8F23-DD8FD7C9238C}"/>
              </a:ext>
            </a:extLst>
          </p:cNvPr>
          <p:cNvSpPr/>
          <p:nvPr/>
        </p:nvSpPr>
        <p:spPr>
          <a:xfrm>
            <a:off x="5228690" y="1450166"/>
            <a:ext cx="1938253" cy="535455"/>
          </a:xfrm>
          <a:prstGeom prst="rect">
            <a:avLst/>
          </a:prstGeom>
        </p:spPr>
        <p:txBody>
          <a:bodyPr wrap="none" anchor="t">
            <a:noAutofit/>
          </a:bodyPr>
          <a:lstStyle/>
          <a:p>
            <a:pPr algn="ctr" defTabSz="9317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zure</a:t>
            </a:r>
            <a:b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rvices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782A5B2-B029-4677-973A-F7C8359396A9}"/>
              </a:ext>
            </a:extLst>
          </p:cNvPr>
          <p:cNvSpPr/>
          <p:nvPr/>
        </p:nvSpPr>
        <p:spPr>
          <a:xfrm>
            <a:off x="5228690" y="5901235"/>
            <a:ext cx="1938253" cy="535455"/>
          </a:xfrm>
          <a:prstGeom prst="rect">
            <a:avLst/>
          </a:prstGeom>
        </p:spPr>
        <p:txBody>
          <a:bodyPr wrap="none" anchor="t">
            <a:noAutofit/>
          </a:bodyPr>
          <a:lstStyle/>
          <a:p>
            <a:pPr algn="ctr" defTabSz="9317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zure</a:t>
            </a:r>
          </a:p>
          <a:p>
            <a:pPr algn="ctr" defTabSz="9317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ack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016EAAB-971A-4E47-845D-F52F95000239}"/>
              </a:ext>
            </a:extLst>
          </p:cNvPr>
          <p:cNvSpPr/>
          <p:nvPr/>
        </p:nvSpPr>
        <p:spPr bwMode="auto">
          <a:xfrm>
            <a:off x="7237722" y="3604673"/>
            <a:ext cx="1937171" cy="827597"/>
          </a:xfrm>
          <a:prstGeom prst="rect">
            <a:avLst/>
          </a:prstGeom>
          <a:solidFill>
            <a:schemeClr val="bg1">
              <a:lumMod val="85000"/>
              <a:alpha val="72000"/>
            </a:schemeClr>
          </a:solidFill>
          <a:ln w="19050" cap="sq">
            <a:noFill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7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28" b="1" dirty="0">
                <a:solidFill>
                  <a:srgbClr val="002050"/>
                </a:solidFill>
                <a:cs typeface="Segoe UI" panose="020B0502040204020203" pitchFamily="34" charset="0"/>
              </a:rPr>
              <a:t>Data </a:t>
            </a:r>
          </a:p>
          <a:p>
            <a:pPr algn="ctr" defTabSz="9317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28" b="1" dirty="0">
                <a:solidFill>
                  <a:srgbClr val="002050"/>
                </a:solidFill>
                <a:cs typeface="Segoe UI" panose="020B0502040204020203" pitchFamily="34" charset="0"/>
              </a:rPr>
              <a:t>platform</a:t>
            </a: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E77A0E0D-C4C7-41CA-A9E8-1FD859F6D5E2}"/>
              </a:ext>
            </a:extLst>
          </p:cNvPr>
          <p:cNvSpPr/>
          <p:nvPr/>
        </p:nvSpPr>
        <p:spPr bwMode="auto">
          <a:xfrm>
            <a:off x="9245673" y="3604673"/>
            <a:ext cx="1937171" cy="827597"/>
          </a:xfrm>
          <a:prstGeom prst="rect">
            <a:avLst/>
          </a:prstGeom>
          <a:solidFill>
            <a:schemeClr val="bg1">
              <a:lumMod val="85000"/>
              <a:alpha val="72000"/>
            </a:schemeClr>
          </a:solidFill>
          <a:ln w="19050" cap="sq">
            <a:noFill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46220" rIns="0" bIns="1462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7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28" b="1" dirty="0">
                <a:solidFill>
                  <a:srgbClr val="002050"/>
                </a:solidFill>
                <a:cs typeface="Segoe UI" panose="020B0502040204020203" pitchFamily="34" charset="0"/>
              </a:rPr>
              <a:t>Security and managemen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859935E2-CA6E-4FC8-901B-5731161DEBE2}"/>
              </a:ext>
            </a:extLst>
          </p:cNvPr>
          <p:cNvSpPr/>
          <p:nvPr/>
        </p:nvSpPr>
        <p:spPr bwMode="auto">
          <a:xfrm>
            <a:off x="5229230" y="3604673"/>
            <a:ext cx="1937171" cy="827597"/>
          </a:xfrm>
          <a:prstGeom prst="rect">
            <a:avLst/>
          </a:prstGeom>
          <a:solidFill>
            <a:schemeClr val="bg1">
              <a:lumMod val="85000"/>
              <a:alpha val="72000"/>
            </a:schemeClr>
          </a:solidFill>
          <a:ln w="19050" cap="sq">
            <a:noFill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7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28" b="1" dirty="0">
                <a:solidFill>
                  <a:srgbClr val="002050"/>
                </a:solidFill>
                <a:cs typeface="Segoe UI" panose="020B0502040204020203" pitchFamily="34" charset="0"/>
              </a:rPr>
              <a:t>Unified cloud p</a:t>
            </a:r>
            <a:r>
              <a:rPr lang="en-US" sz="1428" b="1" dirty="0" err="1">
                <a:solidFill>
                  <a:srgbClr val="002050"/>
                </a:solidFill>
                <a:cs typeface="Segoe UI" panose="020B0502040204020203" pitchFamily="34" charset="0"/>
              </a:rPr>
              <a:t>latform</a:t>
            </a:r>
            <a:endParaRPr lang="en-US" sz="1428" b="1" dirty="0">
              <a:solidFill>
                <a:srgbClr val="002050"/>
              </a:solidFill>
              <a:cs typeface="Segoe UI" panose="020B0502040204020203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0218B77A-7562-4E5C-A26F-25A46435112C}"/>
              </a:ext>
            </a:extLst>
          </p:cNvPr>
          <p:cNvSpPr/>
          <p:nvPr/>
        </p:nvSpPr>
        <p:spPr bwMode="auto">
          <a:xfrm>
            <a:off x="3220738" y="3604673"/>
            <a:ext cx="1937171" cy="827597"/>
          </a:xfrm>
          <a:prstGeom prst="rect">
            <a:avLst/>
          </a:prstGeom>
          <a:solidFill>
            <a:schemeClr val="bg1">
              <a:lumMod val="85000"/>
              <a:alpha val="72000"/>
            </a:schemeClr>
          </a:solidFill>
          <a:ln w="19050" cap="sq">
            <a:noFill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7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28" b="1" dirty="0">
                <a:solidFill>
                  <a:srgbClr val="002050"/>
                </a:solidFill>
                <a:cs typeface="Segoe UI" panose="020B0502040204020203" pitchFamily="34" charset="0"/>
              </a:rPr>
              <a:t>Common </a:t>
            </a:r>
            <a:br>
              <a:rPr lang="en-US" sz="1428" b="1" dirty="0">
                <a:solidFill>
                  <a:srgbClr val="002050"/>
                </a:solidFill>
                <a:cs typeface="Segoe UI" panose="020B0502040204020203" pitchFamily="34" charset="0"/>
              </a:rPr>
            </a:br>
            <a:r>
              <a:rPr lang="en-US" sz="1428" b="1" dirty="0">
                <a:solidFill>
                  <a:srgbClr val="002050"/>
                </a:solidFill>
                <a:cs typeface="Segoe UI" panose="020B0502040204020203" pitchFamily="34" charset="0"/>
              </a:rPr>
              <a:t>identity</a:t>
            </a:r>
          </a:p>
        </p:txBody>
      </p:sp>
      <p:sp>
        <p:nvSpPr>
          <p:cNvPr id="48" name="arrow">
            <a:extLst>
              <a:ext uri="{FF2B5EF4-FFF2-40B4-BE49-F238E27FC236}">
                <a16:creationId xmlns:a16="http://schemas.microsoft.com/office/drawing/2014/main" id="{BCBC3519-76F0-4B9C-87FA-A1C1444C2958}"/>
              </a:ext>
            </a:extLst>
          </p:cNvPr>
          <p:cNvSpPr>
            <a:spLocks noChangeAspect="1" noEditPoints="1"/>
          </p:cNvSpPr>
          <p:nvPr/>
        </p:nvSpPr>
        <p:spPr bwMode="auto">
          <a:xfrm rot="16200000">
            <a:off x="4080362" y="3343039"/>
            <a:ext cx="217926" cy="201096"/>
          </a:xfrm>
          <a:custGeom>
            <a:avLst/>
            <a:gdLst>
              <a:gd name="T0" fmla="*/ 133 w 246"/>
              <a:gd name="T1" fmla="*/ 0 h 227"/>
              <a:gd name="T2" fmla="*/ 246 w 246"/>
              <a:gd name="T3" fmla="*/ 113 h 227"/>
              <a:gd name="T4" fmla="*/ 133 w 246"/>
              <a:gd name="T5" fmla="*/ 227 h 227"/>
              <a:gd name="T6" fmla="*/ 246 w 246"/>
              <a:gd name="T7" fmla="*/ 113 h 227"/>
              <a:gd name="T8" fmla="*/ 0 w 246"/>
              <a:gd name="T9" fmla="*/ 11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46" h="227">
                <a:moveTo>
                  <a:pt x="133" y="0"/>
                </a:moveTo>
                <a:lnTo>
                  <a:pt x="246" y="113"/>
                </a:lnTo>
                <a:lnTo>
                  <a:pt x="133" y="227"/>
                </a:lnTo>
                <a:moveTo>
                  <a:pt x="246" y="113"/>
                </a:moveTo>
                <a:lnTo>
                  <a:pt x="0" y="113"/>
                </a:lnTo>
              </a:path>
            </a:pathLst>
          </a:custGeom>
          <a:noFill/>
          <a:ln w="28575" cap="sq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  <a:noAutofit/>
          </a:bodyPr>
          <a:lstStyle/>
          <a:p>
            <a:pPr defTabSz="932563">
              <a:defRPr/>
            </a:pPr>
            <a:endParaRPr lang="en-US" sz="600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4" name="arrow">
            <a:extLst>
              <a:ext uri="{FF2B5EF4-FFF2-40B4-BE49-F238E27FC236}">
                <a16:creationId xmlns:a16="http://schemas.microsoft.com/office/drawing/2014/main" id="{58BCA36A-C6F3-4F9D-B9C2-AFA0299B7D8F}"/>
              </a:ext>
            </a:extLst>
          </p:cNvPr>
          <p:cNvSpPr>
            <a:spLocks noChangeAspect="1" noEditPoints="1"/>
          </p:cNvSpPr>
          <p:nvPr/>
        </p:nvSpPr>
        <p:spPr bwMode="auto">
          <a:xfrm rot="5400000" flipV="1">
            <a:off x="4080362" y="4511131"/>
            <a:ext cx="217926" cy="201098"/>
          </a:xfrm>
          <a:custGeom>
            <a:avLst/>
            <a:gdLst>
              <a:gd name="T0" fmla="*/ 133 w 246"/>
              <a:gd name="T1" fmla="*/ 0 h 227"/>
              <a:gd name="T2" fmla="*/ 246 w 246"/>
              <a:gd name="T3" fmla="*/ 113 h 227"/>
              <a:gd name="T4" fmla="*/ 133 w 246"/>
              <a:gd name="T5" fmla="*/ 227 h 227"/>
              <a:gd name="T6" fmla="*/ 246 w 246"/>
              <a:gd name="T7" fmla="*/ 113 h 227"/>
              <a:gd name="T8" fmla="*/ 0 w 246"/>
              <a:gd name="T9" fmla="*/ 11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46" h="227">
                <a:moveTo>
                  <a:pt x="133" y="0"/>
                </a:moveTo>
                <a:lnTo>
                  <a:pt x="246" y="113"/>
                </a:lnTo>
                <a:lnTo>
                  <a:pt x="133" y="227"/>
                </a:lnTo>
                <a:moveTo>
                  <a:pt x="246" y="113"/>
                </a:moveTo>
                <a:lnTo>
                  <a:pt x="0" y="113"/>
                </a:lnTo>
              </a:path>
            </a:pathLst>
          </a:custGeom>
          <a:noFill/>
          <a:ln w="28575" cap="sq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  <a:noAutofit/>
          </a:bodyPr>
          <a:lstStyle/>
          <a:p>
            <a:pPr defTabSz="932563">
              <a:defRPr/>
            </a:pPr>
            <a:endParaRPr lang="en-US" sz="600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FF8F0A52-2ED4-4D2D-BFED-25C4C478A710}"/>
              </a:ext>
            </a:extLst>
          </p:cNvPr>
          <p:cNvSpPr/>
          <p:nvPr/>
        </p:nvSpPr>
        <p:spPr>
          <a:xfrm>
            <a:off x="3220197" y="1450166"/>
            <a:ext cx="1938253" cy="535455"/>
          </a:xfrm>
          <a:prstGeom prst="rect">
            <a:avLst/>
          </a:prstGeom>
        </p:spPr>
        <p:txBody>
          <a:bodyPr wrap="none" anchor="t">
            <a:noAutofit/>
          </a:bodyPr>
          <a:lstStyle/>
          <a:p>
            <a:pPr algn="ctr" defTabSz="9317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zure Active</a:t>
            </a:r>
            <a:b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rectory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27C431E3-45C0-4664-9DC1-64D2CE563C45}"/>
              </a:ext>
            </a:extLst>
          </p:cNvPr>
          <p:cNvSpPr/>
          <p:nvPr/>
        </p:nvSpPr>
        <p:spPr>
          <a:xfrm>
            <a:off x="3220197" y="5901235"/>
            <a:ext cx="1938253" cy="535455"/>
          </a:xfrm>
          <a:prstGeom prst="rect">
            <a:avLst/>
          </a:prstGeom>
        </p:spPr>
        <p:txBody>
          <a:bodyPr wrap="none" anchor="t">
            <a:noAutofit/>
          </a:bodyPr>
          <a:lstStyle/>
          <a:p>
            <a:pPr algn="ctr" defTabSz="9317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ctive</a:t>
            </a:r>
            <a:b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599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rectory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363C846E-432E-4E96-8B4E-9BF8EB00F050}"/>
              </a:ext>
            </a:extLst>
          </p:cNvPr>
          <p:cNvSpPr/>
          <p:nvPr/>
        </p:nvSpPr>
        <p:spPr>
          <a:xfrm>
            <a:off x="444056" y="3199346"/>
            <a:ext cx="1157847" cy="4708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2400" kern="0" spc="50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ybrid</a:t>
            </a:r>
          </a:p>
        </p:txBody>
      </p: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666995A1-F57E-40F9-A7AD-9C95688B5828}"/>
              </a:ext>
            </a:extLst>
          </p:cNvPr>
          <p:cNvCxnSpPr>
            <a:cxnSpLocks/>
          </p:cNvCxnSpPr>
          <p:nvPr/>
        </p:nvCxnSpPr>
        <p:spPr>
          <a:xfrm>
            <a:off x="1994007" y="496"/>
            <a:ext cx="0" cy="7025446"/>
          </a:xfrm>
          <a:prstGeom prst="line">
            <a:avLst/>
          </a:prstGeom>
          <a:noFill/>
          <a:ln w="19050" cap="flat">
            <a:solidFill>
              <a:schemeClr val="bg1">
                <a:lumMod val="75000"/>
                <a:alpha val="70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cxnSp>
      <p:grpSp>
        <p:nvGrpSpPr>
          <p:cNvPr id="66" name="Group 65">
            <a:extLst>
              <a:ext uri="{FF2B5EF4-FFF2-40B4-BE49-F238E27FC236}">
                <a16:creationId xmlns:a16="http://schemas.microsoft.com/office/drawing/2014/main" id="{77AD9DD7-EB86-45CE-9B27-089347C7D079}"/>
              </a:ext>
            </a:extLst>
          </p:cNvPr>
          <p:cNvGrpSpPr/>
          <p:nvPr/>
        </p:nvGrpSpPr>
        <p:grpSpPr>
          <a:xfrm>
            <a:off x="734446" y="2400000"/>
            <a:ext cx="591068" cy="577315"/>
            <a:chOff x="2088630" y="3287843"/>
            <a:chExt cx="429718" cy="419725"/>
          </a:xfrm>
          <a:noFill/>
        </p:grpSpPr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B3CFD5EC-43D5-4B04-B8AE-6E1A4076A14C}"/>
                </a:ext>
              </a:extLst>
            </p:cNvPr>
            <p:cNvSpPr/>
            <p:nvPr/>
          </p:nvSpPr>
          <p:spPr bwMode="auto">
            <a:xfrm>
              <a:off x="2213548" y="3287843"/>
              <a:ext cx="304800" cy="304800"/>
            </a:xfrm>
            <a:prstGeom prst="rect">
              <a:avLst/>
            </a:prstGeom>
            <a:noFill/>
            <a:ln w="28575">
              <a:solidFill>
                <a:srgbClr val="001F5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" pitchFamily="34" charset="0"/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826EBD6F-365E-4445-9391-67AD7B7167B1}"/>
                </a:ext>
              </a:extLst>
            </p:cNvPr>
            <p:cNvSpPr/>
            <p:nvPr/>
          </p:nvSpPr>
          <p:spPr bwMode="auto">
            <a:xfrm>
              <a:off x="2088630" y="3402768"/>
              <a:ext cx="304800" cy="304800"/>
            </a:xfrm>
            <a:prstGeom prst="rect">
              <a:avLst/>
            </a:prstGeom>
            <a:noFill/>
            <a:ln w="28575">
              <a:solidFill>
                <a:srgbClr val="001F5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" pitchFamily="34" charset="0"/>
              </a:endParaRPr>
            </a:p>
          </p:txBody>
        </p:sp>
      </p:grpSp>
      <p:sp>
        <p:nvSpPr>
          <p:cNvPr id="96" name="Rectangle 95">
            <a:extLst>
              <a:ext uri="{FF2B5EF4-FFF2-40B4-BE49-F238E27FC236}">
                <a16:creationId xmlns:a16="http://schemas.microsoft.com/office/drawing/2014/main" id="{49535226-A5A3-44D8-A4FC-5A49A448740E}"/>
              </a:ext>
            </a:extLst>
          </p:cNvPr>
          <p:cNvSpPr/>
          <p:nvPr/>
        </p:nvSpPr>
        <p:spPr>
          <a:xfrm>
            <a:off x="555210" y="5859328"/>
            <a:ext cx="924053" cy="345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1599" kern="0" spc="50">
                <a:solidFill>
                  <a:srgbClr val="353535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usted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5FDFACDC-96D5-4BA5-8D54-B8F95EB3E06F}"/>
              </a:ext>
            </a:extLst>
          </p:cNvPr>
          <p:cNvSpPr/>
          <p:nvPr/>
        </p:nvSpPr>
        <p:spPr>
          <a:xfrm>
            <a:off x="424415" y="4511982"/>
            <a:ext cx="1185640" cy="345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1599" kern="0" spc="50">
                <a:solidFill>
                  <a:srgbClr val="353535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telligent</a:t>
            </a:r>
          </a:p>
        </p:txBody>
      </p:sp>
      <p:sp>
        <p:nvSpPr>
          <p:cNvPr id="99" name="light">
            <a:extLst>
              <a:ext uri="{FF2B5EF4-FFF2-40B4-BE49-F238E27FC236}">
                <a16:creationId xmlns:a16="http://schemas.microsoft.com/office/drawing/2014/main" id="{57991A70-4936-428B-9A9E-2E9E26BB60A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71516" y="3872325"/>
            <a:ext cx="291439" cy="432683"/>
          </a:xfrm>
          <a:custGeom>
            <a:avLst/>
            <a:gdLst>
              <a:gd name="T0" fmla="*/ 156 w 224"/>
              <a:gd name="T1" fmla="*/ 312 h 334"/>
              <a:gd name="T2" fmla="*/ 134 w 224"/>
              <a:gd name="T3" fmla="*/ 334 h 334"/>
              <a:gd name="T4" fmla="*/ 89 w 224"/>
              <a:gd name="T5" fmla="*/ 334 h 334"/>
              <a:gd name="T6" fmla="*/ 67 w 224"/>
              <a:gd name="T7" fmla="*/ 312 h 334"/>
              <a:gd name="T8" fmla="*/ 67 w 224"/>
              <a:gd name="T9" fmla="*/ 261 h 334"/>
              <a:gd name="T10" fmla="*/ 37 w 224"/>
              <a:gd name="T11" fmla="*/ 195 h 334"/>
              <a:gd name="T12" fmla="*/ 27 w 224"/>
              <a:gd name="T13" fmla="*/ 185 h 334"/>
              <a:gd name="T14" fmla="*/ 0 w 224"/>
              <a:gd name="T15" fmla="*/ 112 h 334"/>
              <a:gd name="T16" fmla="*/ 112 w 224"/>
              <a:gd name="T17" fmla="*/ 0 h 334"/>
              <a:gd name="T18" fmla="*/ 224 w 224"/>
              <a:gd name="T19" fmla="*/ 112 h 334"/>
              <a:gd name="T20" fmla="*/ 197 w 224"/>
              <a:gd name="T21" fmla="*/ 185 h 334"/>
              <a:gd name="T22" fmla="*/ 200 w 224"/>
              <a:gd name="T23" fmla="*/ 181 h 334"/>
              <a:gd name="T24" fmla="*/ 197 w 224"/>
              <a:gd name="T25" fmla="*/ 185 h 334"/>
              <a:gd name="T26" fmla="*/ 156 w 224"/>
              <a:gd name="T27" fmla="*/ 265 h 334"/>
              <a:gd name="T28" fmla="*/ 156 w 224"/>
              <a:gd name="T29" fmla="*/ 312 h 334"/>
              <a:gd name="T30" fmla="*/ 156 w 224"/>
              <a:gd name="T31" fmla="*/ 312 h 334"/>
              <a:gd name="T32" fmla="*/ 67 w 224"/>
              <a:gd name="T33" fmla="*/ 269 h 334"/>
              <a:gd name="T34" fmla="*/ 156 w 224"/>
              <a:gd name="T35" fmla="*/ 269 h 3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24" h="334">
                <a:moveTo>
                  <a:pt x="156" y="312"/>
                </a:moveTo>
                <a:cubicBezTo>
                  <a:pt x="156" y="324"/>
                  <a:pt x="146" y="334"/>
                  <a:pt x="134" y="334"/>
                </a:cubicBezTo>
                <a:cubicBezTo>
                  <a:pt x="89" y="334"/>
                  <a:pt x="89" y="334"/>
                  <a:pt x="89" y="334"/>
                </a:cubicBezTo>
                <a:cubicBezTo>
                  <a:pt x="76" y="334"/>
                  <a:pt x="67" y="324"/>
                  <a:pt x="67" y="312"/>
                </a:cubicBezTo>
                <a:cubicBezTo>
                  <a:pt x="67" y="312"/>
                  <a:pt x="67" y="300"/>
                  <a:pt x="67" y="261"/>
                </a:cubicBezTo>
                <a:cubicBezTo>
                  <a:pt x="67" y="221"/>
                  <a:pt x="37" y="195"/>
                  <a:pt x="37" y="195"/>
                </a:cubicBezTo>
                <a:cubicBezTo>
                  <a:pt x="27" y="185"/>
                  <a:pt x="27" y="185"/>
                  <a:pt x="27" y="185"/>
                </a:cubicBezTo>
                <a:cubicBezTo>
                  <a:pt x="10" y="166"/>
                  <a:pt x="0" y="140"/>
                  <a:pt x="0" y="112"/>
                </a:cubicBezTo>
                <a:cubicBezTo>
                  <a:pt x="0" y="50"/>
                  <a:pt x="50" y="0"/>
                  <a:pt x="112" y="0"/>
                </a:cubicBezTo>
                <a:cubicBezTo>
                  <a:pt x="174" y="0"/>
                  <a:pt x="224" y="50"/>
                  <a:pt x="224" y="112"/>
                </a:cubicBezTo>
                <a:cubicBezTo>
                  <a:pt x="224" y="140"/>
                  <a:pt x="214" y="166"/>
                  <a:pt x="197" y="185"/>
                </a:cubicBezTo>
                <a:moveTo>
                  <a:pt x="200" y="181"/>
                </a:moveTo>
                <a:cubicBezTo>
                  <a:pt x="197" y="185"/>
                  <a:pt x="197" y="185"/>
                  <a:pt x="197" y="185"/>
                </a:cubicBezTo>
                <a:cubicBezTo>
                  <a:pt x="197" y="185"/>
                  <a:pt x="156" y="217"/>
                  <a:pt x="156" y="265"/>
                </a:cubicBezTo>
                <a:cubicBezTo>
                  <a:pt x="156" y="312"/>
                  <a:pt x="156" y="312"/>
                  <a:pt x="156" y="312"/>
                </a:cubicBezTo>
                <a:cubicBezTo>
                  <a:pt x="156" y="312"/>
                  <a:pt x="156" y="312"/>
                  <a:pt x="156" y="312"/>
                </a:cubicBezTo>
                <a:moveTo>
                  <a:pt x="67" y="269"/>
                </a:moveTo>
                <a:cubicBezTo>
                  <a:pt x="156" y="269"/>
                  <a:pt x="156" y="269"/>
                  <a:pt x="156" y="269"/>
                </a:cubicBezTo>
              </a:path>
            </a:pathLst>
          </a:custGeom>
          <a:noFill/>
          <a:ln w="28575">
            <a:solidFill>
              <a:srgbClr val="B3B2B4"/>
            </a:solidFill>
            <a:headEnd type="none" w="med" len="med"/>
            <a:tailEnd type="none" w="med" len="med"/>
          </a:ln>
          <a:effectLst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sp>
        <p:nvSpPr>
          <p:cNvPr id="100" name="Freeform 60">
            <a:extLst>
              <a:ext uri="{FF2B5EF4-FFF2-40B4-BE49-F238E27FC236}">
                <a16:creationId xmlns:a16="http://schemas.microsoft.com/office/drawing/2014/main" id="{C2800AB5-2FCF-4153-B424-7375C18C80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6909" y="5192874"/>
            <a:ext cx="480655" cy="475606"/>
          </a:xfrm>
          <a:custGeom>
            <a:avLst/>
            <a:gdLst>
              <a:gd name="T0" fmla="*/ 3212 w 13440"/>
              <a:gd name="T1" fmla="*/ 3671 h 13299"/>
              <a:gd name="T2" fmla="*/ 3433 w 13440"/>
              <a:gd name="T3" fmla="*/ 3583 h 13299"/>
              <a:gd name="T4" fmla="*/ 3600 w 13440"/>
              <a:gd name="T5" fmla="*/ 3415 h 13299"/>
              <a:gd name="T6" fmla="*/ 3689 w 13440"/>
              <a:gd name="T7" fmla="*/ 3194 h 13299"/>
              <a:gd name="T8" fmla="*/ 3697 w 13440"/>
              <a:gd name="T9" fmla="*/ 3009 h 13299"/>
              <a:gd name="T10" fmla="*/ 3627 w 13440"/>
              <a:gd name="T11" fmla="*/ 2762 h 13299"/>
              <a:gd name="T12" fmla="*/ 3477 w 13440"/>
              <a:gd name="T13" fmla="*/ 2577 h 13299"/>
              <a:gd name="T14" fmla="*/ 3274 w 13440"/>
              <a:gd name="T15" fmla="*/ 2462 h 13299"/>
              <a:gd name="T16" fmla="*/ 3088 w 13440"/>
              <a:gd name="T17" fmla="*/ 2427 h 13299"/>
              <a:gd name="T18" fmla="*/ 2833 w 13440"/>
              <a:gd name="T19" fmla="*/ 2480 h 13299"/>
              <a:gd name="T20" fmla="*/ 2630 w 13440"/>
              <a:gd name="T21" fmla="*/ 2621 h 13299"/>
              <a:gd name="T22" fmla="*/ 2488 w 13440"/>
              <a:gd name="T23" fmla="*/ 2824 h 13299"/>
              <a:gd name="T24" fmla="*/ 2444 w 13440"/>
              <a:gd name="T25" fmla="*/ 3080 h 13299"/>
              <a:gd name="T26" fmla="*/ 2471 w 13440"/>
              <a:gd name="T27" fmla="*/ 3256 h 13299"/>
              <a:gd name="T28" fmla="*/ 2585 w 13440"/>
              <a:gd name="T29" fmla="*/ 3459 h 13299"/>
              <a:gd name="T30" fmla="*/ 2780 w 13440"/>
              <a:gd name="T31" fmla="*/ 3609 h 13299"/>
              <a:gd name="T32" fmla="*/ 3027 w 13440"/>
              <a:gd name="T33" fmla="*/ 3680 h 13299"/>
              <a:gd name="T34" fmla="*/ 6988 w 13440"/>
              <a:gd name="T35" fmla="*/ 8127 h 13299"/>
              <a:gd name="T36" fmla="*/ 6380 w 13440"/>
              <a:gd name="T37" fmla="*/ 8480 h 13299"/>
              <a:gd name="T38" fmla="*/ 5718 w 13440"/>
              <a:gd name="T39" fmla="*/ 8736 h 13299"/>
              <a:gd name="T40" fmla="*/ 5004 w 13440"/>
              <a:gd name="T41" fmla="*/ 8886 h 13299"/>
              <a:gd name="T42" fmla="*/ 4439 w 13440"/>
              <a:gd name="T43" fmla="*/ 8921 h 13299"/>
              <a:gd name="T44" fmla="*/ 3547 w 13440"/>
              <a:gd name="T45" fmla="*/ 8824 h 13299"/>
              <a:gd name="T46" fmla="*/ 2709 w 13440"/>
              <a:gd name="T47" fmla="*/ 8568 h 13299"/>
              <a:gd name="T48" fmla="*/ 1959 w 13440"/>
              <a:gd name="T49" fmla="*/ 8153 h 13299"/>
              <a:gd name="T50" fmla="*/ 1297 w 13440"/>
              <a:gd name="T51" fmla="*/ 7615 h 13299"/>
              <a:gd name="T52" fmla="*/ 759 w 13440"/>
              <a:gd name="T53" fmla="*/ 6953 h 13299"/>
              <a:gd name="T54" fmla="*/ 344 w 13440"/>
              <a:gd name="T55" fmla="*/ 6195 h 13299"/>
              <a:gd name="T56" fmla="*/ 88 w 13440"/>
              <a:gd name="T57" fmla="*/ 5357 h 13299"/>
              <a:gd name="T58" fmla="*/ 0 w 13440"/>
              <a:gd name="T59" fmla="*/ 4456 h 13299"/>
              <a:gd name="T60" fmla="*/ 44 w 13440"/>
              <a:gd name="T61" fmla="*/ 3777 h 13299"/>
              <a:gd name="T62" fmla="*/ 264 w 13440"/>
              <a:gd name="T63" fmla="*/ 2921 h 13299"/>
              <a:gd name="T64" fmla="*/ 644 w 13440"/>
              <a:gd name="T65" fmla="*/ 2135 h 13299"/>
              <a:gd name="T66" fmla="*/ 1156 w 13440"/>
              <a:gd name="T67" fmla="*/ 1456 h 13299"/>
              <a:gd name="T68" fmla="*/ 1782 w 13440"/>
              <a:gd name="T69" fmla="*/ 882 h 13299"/>
              <a:gd name="T70" fmla="*/ 2515 w 13440"/>
              <a:gd name="T71" fmla="*/ 432 h 13299"/>
              <a:gd name="T72" fmla="*/ 3327 w 13440"/>
              <a:gd name="T73" fmla="*/ 132 h 13299"/>
              <a:gd name="T74" fmla="*/ 4209 w 13440"/>
              <a:gd name="T75" fmla="*/ 0 h 13299"/>
              <a:gd name="T76" fmla="*/ 4898 w 13440"/>
              <a:gd name="T77" fmla="*/ 17 h 13299"/>
              <a:gd name="T78" fmla="*/ 5771 w 13440"/>
              <a:gd name="T79" fmla="*/ 194 h 13299"/>
              <a:gd name="T80" fmla="*/ 6574 w 13440"/>
              <a:gd name="T81" fmla="*/ 529 h 13299"/>
              <a:gd name="T82" fmla="*/ 7288 w 13440"/>
              <a:gd name="T83" fmla="*/ 1015 h 13299"/>
              <a:gd name="T84" fmla="*/ 7897 w 13440"/>
              <a:gd name="T85" fmla="*/ 1615 h 13299"/>
              <a:gd name="T86" fmla="*/ 8383 w 13440"/>
              <a:gd name="T87" fmla="*/ 2329 h 13299"/>
              <a:gd name="T88" fmla="*/ 8718 w 13440"/>
              <a:gd name="T89" fmla="*/ 3124 h 13299"/>
              <a:gd name="T90" fmla="*/ 8894 w 13440"/>
              <a:gd name="T91" fmla="*/ 3997 h 13299"/>
              <a:gd name="T92" fmla="*/ 8912 w 13440"/>
              <a:gd name="T93" fmla="*/ 4642 h 13299"/>
              <a:gd name="T94" fmla="*/ 8833 w 13440"/>
              <a:gd name="T95" fmla="*/ 5321 h 13299"/>
              <a:gd name="T96" fmla="*/ 13439 w 13440"/>
              <a:gd name="T97" fmla="*/ 10456 h 13299"/>
              <a:gd name="T98" fmla="*/ 10748 w 13440"/>
              <a:gd name="T99" fmla="*/ 13298 h 13299"/>
              <a:gd name="T100" fmla="*/ 9000 w 13440"/>
              <a:gd name="T101" fmla="*/ 11471 h 13299"/>
              <a:gd name="T102" fmla="*/ 7129 w 13440"/>
              <a:gd name="T103" fmla="*/ 9689 h 13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3440" h="13299">
                <a:moveTo>
                  <a:pt x="3088" y="3689"/>
                </a:moveTo>
                <a:lnTo>
                  <a:pt x="3088" y="3689"/>
                </a:lnTo>
                <a:lnTo>
                  <a:pt x="3150" y="3680"/>
                </a:lnTo>
                <a:lnTo>
                  <a:pt x="3212" y="3671"/>
                </a:lnTo>
                <a:lnTo>
                  <a:pt x="3274" y="3662"/>
                </a:lnTo>
                <a:lnTo>
                  <a:pt x="3327" y="3636"/>
                </a:lnTo>
                <a:lnTo>
                  <a:pt x="3380" y="3609"/>
                </a:lnTo>
                <a:lnTo>
                  <a:pt x="3433" y="3583"/>
                </a:lnTo>
                <a:lnTo>
                  <a:pt x="3477" y="3547"/>
                </a:lnTo>
                <a:lnTo>
                  <a:pt x="3521" y="3503"/>
                </a:lnTo>
                <a:lnTo>
                  <a:pt x="3556" y="3459"/>
                </a:lnTo>
                <a:lnTo>
                  <a:pt x="3600" y="3415"/>
                </a:lnTo>
                <a:lnTo>
                  <a:pt x="3627" y="3362"/>
                </a:lnTo>
                <a:lnTo>
                  <a:pt x="3653" y="3309"/>
                </a:lnTo>
                <a:lnTo>
                  <a:pt x="3671" y="3256"/>
                </a:lnTo>
                <a:lnTo>
                  <a:pt x="3689" y="3194"/>
                </a:lnTo>
                <a:lnTo>
                  <a:pt x="3697" y="3141"/>
                </a:lnTo>
                <a:lnTo>
                  <a:pt x="3706" y="3080"/>
                </a:lnTo>
                <a:lnTo>
                  <a:pt x="3706" y="3080"/>
                </a:lnTo>
                <a:lnTo>
                  <a:pt x="3697" y="3009"/>
                </a:lnTo>
                <a:lnTo>
                  <a:pt x="3689" y="2947"/>
                </a:lnTo>
                <a:lnTo>
                  <a:pt x="3671" y="2885"/>
                </a:lnTo>
                <a:lnTo>
                  <a:pt x="3653" y="2824"/>
                </a:lnTo>
                <a:lnTo>
                  <a:pt x="3627" y="2762"/>
                </a:lnTo>
                <a:lnTo>
                  <a:pt x="3600" y="2709"/>
                </a:lnTo>
                <a:lnTo>
                  <a:pt x="3556" y="2665"/>
                </a:lnTo>
                <a:lnTo>
                  <a:pt x="3521" y="2621"/>
                </a:lnTo>
                <a:lnTo>
                  <a:pt x="3477" y="2577"/>
                </a:lnTo>
                <a:lnTo>
                  <a:pt x="3433" y="2541"/>
                </a:lnTo>
                <a:lnTo>
                  <a:pt x="3380" y="2506"/>
                </a:lnTo>
                <a:lnTo>
                  <a:pt x="3327" y="2480"/>
                </a:lnTo>
                <a:lnTo>
                  <a:pt x="3274" y="2462"/>
                </a:lnTo>
                <a:lnTo>
                  <a:pt x="3212" y="2444"/>
                </a:lnTo>
                <a:lnTo>
                  <a:pt x="3150" y="2435"/>
                </a:lnTo>
                <a:lnTo>
                  <a:pt x="3088" y="2427"/>
                </a:lnTo>
                <a:lnTo>
                  <a:pt x="3088" y="2427"/>
                </a:lnTo>
                <a:lnTo>
                  <a:pt x="3027" y="2435"/>
                </a:lnTo>
                <a:lnTo>
                  <a:pt x="2956" y="2444"/>
                </a:lnTo>
                <a:lnTo>
                  <a:pt x="2894" y="2462"/>
                </a:lnTo>
                <a:lnTo>
                  <a:pt x="2833" y="2480"/>
                </a:lnTo>
                <a:lnTo>
                  <a:pt x="2780" y="2506"/>
                </a:lnTo>
                <a:lnTo>
                  <a:pt x="2727" y="2541"/>
                </a:lnTo>
                <a:lnTo>
                  <a:pt x="2674" y="2577"/>
                </a:lnTo>
                <a:lnTo>
                  <a:pt x="2630" y="2621"/>
                </a:lnTo>
                <a:lnTo>
                  <a:pt x="2585" y="2665"/>
                </a:lnTo>
                <a:lnTo>
                  <a:pt x="2550" y="2709"/>
                </a:lnTo>
                <a:lnTo>
                  <a:pt x="2515" y="2762"/>
                </a:lnTo>
                <a:lnTo>
                  <a:pt x="2488" y="2824"/>
                </a:lnTo>
                <a:lnTo>
                  <a:pt x="2471" y="2885"/>
                </a:lnTo>
                <a:lnTo>
                  <a:pt x="2453" y="2947"/>
                </a:lnTo>
                <a:lnTo>
                  <a:pt x="2444" y="3009"/>
                </a:lnTo>
                <a:lnTo>
                  <a:pt x="2444" y="3080"/>
                </a:lnTo>
                <a:lnTo>
                  <a:pt x="2444" y="3080"/>
                </a:lnTo>
                <a:lnTo>
                  <a:pt x="2444" y="3141"/>
                </a:lnTo>
                <a:lnTo>
                  <a:pt x="2453" y="3194"/>
                </a:lnTo>
                <a:lnTo>
                  <a:pt x="2471" y="3256"/>
                </a:lnTo>
                <a:lnTo>
                  <a:pt x="2488" y="3309"/>
                </a:lnTo>
                <a:lnTo>
                  <a:pt x="2515" y="3362"/>
                </a:lnTo>
                <a:lnTo>
                  <a:pt x="2550" y="3415"/>
                </a:lnTo>
                <a:lnTo>
                  <a:pt x="2585" y="3459"/>
                </a:lnTo>
                <a:lnTo>
                  <a:pt x="2630" y="3503"/>
                </a:lnTo>
                <a:lnTo>
                  <a:pt x="2674" y="3547"/>
                </a:lnTo>
                <a:lnTo>
                  <a:pt x="2727" y="3583"/>
                </a:lnTo>
                <a:lnTo>
                  <a:pt x="2780" y="3609"/>
                </a:lnTo>
                <a:lnTo>
                  <a:pt x="2833" y="3636"/>
                </a:lnTo>
                <a:lnTo>
                  <a:pt x="2894" y="3662"/>
                </a:lnTo>
                <a:lnTo>
                  <a:pt x="2956" y="3671"/>
                </a:lnTo>
                <a:lnTo>
                  <a:pt x="3027" y="3680"/>
                </a:lnTo>
                <a:lnTo>
                  <a:pt x="3088" y="3689"/>
                </a:lnTo>
                <a:close/>
                <a:moveTo>
                  <a:pt x="7129" y="8021"/>
                </a:moveTo>
                <a:lnTo>
                  <a:pt x="7129" y="8021"/>
                </a:lnTo>
                <a:lnTo>
                  <a:pt x="6988" y="8127"/>
                </a:lnTo>
                <a:lnTo>
                  <a:pt x="6838" y="8224"/>
                </a:lnTo>
                <a:lnTo>
                  <a:pt x="6689" y="8321"/>
                </a:lnTo>
                <a:lnTo>
                  <a:pt x="6539" y="8400"/>
                </a:lnTo>
                <a:lnTo>
                  <a:pt x="6380" y="8480"/>
                </a:lnTo>
                <a:lnTo>
                  <a:pt x="6221" y="8559"/>
                </a:lnTo>
                <a:lnTo>
                  <a:pt x="6054" y="8621"/>
                </a:lnTo>
                <a:lnTo>
                  <a:pt x="5886" y="8683"/>
                </a:lnTo>
                <a:lnTo>
                  <a:pt x="5718" y="8736"/>
                </a:lnTo>
                <a:lnTo>
                  <a:pt x="5542" y="8789"/>
                </a:lnTo>
                <a:lnTo>
                  <a:pt x="5365" y="8824"/>
                </a:lnTo>
                <a:lnTo>
                  <a:pt x="5180" y="8859"/>
                </a:lnTo>
                <a:lnTo>
                  <a:pt x="5004" y="8886"/>
                </a:lnTo>
                <a:lnTo>
                  <a:pt x="4818" y="8903"/>
                </a:lnTo>
                <a:lnTo>
                  <a:pt x="4624" y="8912"/>
                </a:lnTo>
                <a:lnTo>
                  <a:pt x="4439" y="8921"/>
                </a:lnTo>
                <a:lnTo>
                  <a:pt x="4439" y="8921"/>
                </a:lnTo>
                <a:lnTo>
                  <a:pt x="4209" y="8912"/>
                </a:lnTo>
                <a:lnTo>
                  <a:pt x="3989" y="8894"/>
                </a:lnTo>
                <a:lnTo>
                  <a:pt x="3759" y="8868"/>
                </a:lnTo>
                <a:lnTo>
                  <a:pt x="3547" y="8824"/>
                </a:lnTo>
                <a:lnTo>
                  <a:pt x="3327" y="8780"/>
                </a:lnTo>
                <a:lnTo>
                  <a:pt x="3124" y="8718"/>
                </a:lnTo>
                <a:lnTo>
                  <a:pt x="2912" y="8647"/>
                </a:lnTo>
                <a:lnTo>
                  <a:pt x="2709" y="8568"/>
                </a:lnTo>
                <a:lnTo>
                  <a:pt x="2515" y="8480"/>
                </a:lnTo>
                <a:lnTo>
                  <a:pt x="2321" y="8383"/>
                </a:lnTo>
                <a:lnTo>
                  <a:pt x="2135" y="8277"/>
                </a:lnTo>
                <a:lnTo>
                  <a:pt x="1959" y="8153"/>
                </a:lnTo>
                <a:lnTo>
                  <a:pt x="1782" y="8030"/>
                </a:lnTo>
                <a:lnTo>
                  <a:pt x="1615" y="7897"/>
                </a:lnTo>
                <a:lnTo>
                  <a:pt x="1456" y="7765"/>
                </a:lnTo>
                <a:lnTo>
                  <a:pt x="1297" y="7615"/>
                </a:lnTo>
                <a:lnTo>
                  <a:pt x="1156" y="7456"/>
                </a:lnTo>
                <a:lnTo>
                  <a:pt x="1015" y="7297"/>
                </a:lnTo>
                <a:lnTo>
                  <a:pt x="882" y="7129"/>
                </a:lnTo>
                <a:lnTo>
                  <a:pt x="759" y="6953"/>
                </a:lnTo>
                <a:lnTo>
                  <a:pt x="644" y="6776"/>
                </a:lnTo>
                <a:lnTo>
                  <a:pt x="529" y="6583"/>
                </a:lnTo>
                <a:lnTo>
                  <a:pt x="432" y="6398"/>
                </a:lnTo>
                <a:lnTo>
                  <a:pt x="344" y="6195"/>
                </a:lnTo>
                <a:lnTo>
                  <a:pt x="264" y="5992"/>
                </a:lnTo>
                <a:lnTo>
                  <a:pt x="194" y="5789"/>
                </a:lnTo>
                <a:lnTo>
                  <a:pt x="132" y="5577"/>
                </a:lnTo>
                <a:lnTo>
                  <a:pt x="88" y="5357"/>
                </a:lnTo>
                <a:lnTo>
                  <a:pt x="44" y="5136"/>
                </a:lnTo>
                <a:lnTo>
                  <a:pt x="17" y="4915"/>
                </a:lnTo>
                <a:lnTo>
                  <a:pt x="0" y="4686"/>
                </a:lnTo>
                <a:lnTo>
                  <a:pt x="0" y="4456"/>
                </a:lnTo>
                <a:lnTo>
                  <a:pt x="0" y="4456"/>
                </a:lnTo>
                <a:lnTo>
                  <a:pt x="0" y="4227"/>
                </a:lnTo>
                <a:lnTo>
                  <a:pt x="17" y="3997"/>
                </a:lnTo>
                <a:lnTo>
                  <a:pt x="44" y="3777"/>
                </a:lnTo>
                <a:lnTo>
                  <a:pt x="88" y="3556"/>
                </a:lnTo>
                <a:lnTo>
                  <a:pt x="132" y="3336"/>
                </a:lnTo>
                <a:lnTo>
                  <a:pt x="194" y="3124"/>
                </a:lnTo>
                <a:lnTo>
                  <a:pt x="264" y="2921"/>
                </a:lnTo>
                <a:lnTo>
                  <a:pt x="344" y="2718"/>
                </a:lnTo>
                <a:lnTo>
                  <a:pt x="432" y="2515"/>
                </a:lnTo>
                <a:lnTo>
                  <a:pt x="529" y="2329"/>
                </a:lnTo>
                <a:lnTo>
                  <a:pt x="644" y="2135"/>
                </a:lnTo>
                <a:lnTo>
                  <a:pt x="759" y="1959"/>
                </a:lnTo>
                <a:lnTo>
                  <a:pt x="882" y="1782"/>
                </a:lnTo>
                <a:lnTo>
                  <a:pt x="1015" y="1615"/>
                </a:lnTo>
                <a:lnTo>
                  <a:pt x="1156" y="1456"/>
                </a:lnTo>
                <a:lnTo>
                  <a:pt x="1297" y="1297"/>
                </a:lnTo>
                <a:lnTo>
                  <a:pt x="1456" y="1147"/>
                </a:lnTo>
                <a:lnTo>
                  <a:pt x="1615" y="1015"/>
                </a:lnTo>
                <a:lnTo>
                  <a:pt x="1782" y="882"/>
                </a:lnTo>
                <a:lnTo>
                  <a:pt x="1959" y="759"/>
                </a:lnTo>
                <a:lnTo>
                  <a:pt x="2135" y="635"/>
                </a:lnTo>
                <a:lnTo>
                  <a:pt x="2321" y="529"/>
                </a:lnTo>
                <a:lnTo>
                  <a:pt x="2515" y="432"/>
                </a:lnTo>
                <a:lnTo>
                  <a:pt x="2709" y="344"/>
                </a:lnTo>
                <a:lnTo>
                  <a:pt x="2912" y="264"/>
                </a:lnTo>
                <a:lnTo>
                  <a:pt x="3124" y="194"/>
                </a:lnTo>
                <a:lnTo>
                  <a:pt x="3327" y="132"/>
                </a:lnTo>
                <a:lnTo>
                  <a:pt x="3547" y="88"/>
                </a:lnTo>
                <a:lnTo>
                  <a:pt x="3759" y="44"/>
                </a:lnTo>
                <a:lnTo>
                  <a:pt x="3989" y="17"/>
                </a:lnTo>
                <a:lnTo>
                  <a:pt x="4209" y="0"/>
                </a:lnTo>
                <a:lnTo>
                  <a:pt x="4439" y="0"/>
                </a:lnTo>
                <a:lnTo>
                  <a:pt x="4439" y="0"/>
                </a:lnTo>
                <a:lnTo>
                  <a:pt x="4668" y="0"/>
                </a:lnTo>
                <a:lnTo>
                  <a:pt x="4898" y="17"/>
                </a:lnTo>
                <a:lnTo>
                  <a:pt x="5118" y="44"/>
                </a:lnTo>
                <a:lnTo>
                  <a:pt x="5348" y="88"/>
                </a:lnTo>
                <a:lnTo>
                  <a:pt x="5559" y="132"/>
                </a:lnTo>
                <a:lnTo>
                  <a:pt x="5771" y="194"/>
                </a:lnTo>
                <a:lnTo>
                  <a:pt x="5983" y="264"/>
                </a:lnTo>
                <a:lnTo>
                  <a:pt x="6186" y="344"/>
                </a:lnTo>
                <a:lnTo>
                  <a:pt x="6389" y="432"/>
                </a:lnTo>
                <a:lnTo>
                  <a:pt x="6574" y="529"/>
                </a:lnTo>
                <a:lnTo>
                  <a:pt x="6768" y="635"/>
                </a:lnTo>
                <a:lnTo>
                  <a:pt x="6944" y="759"/>
                </a:lnTo>
                <a:lnTo>
                  <a:pt x="7121" y="882"/>
                </a:lnTo>
                <a:lnTo>
                  <a:pt x="7288" y="1015"/>
                </a:lnTo>
                <a:lnTo>
                  <a:pt x="7456" y="1147"/>
                </a:lnTo>
                <a:lnTo>
                  <a:pt x="7606" y="1297"/>
                </a:lnTo>
                <a:lnTo>
                  <a:pt x="7756" y="1456"/>
                </a:lnTo>
                <a:lnTo>
                  <a:pt x="7897" y="1615"/>
                </a:lnTo>
                <a:lnTo>
                  <a:pt x="8030" y="1782"/>
                </a:lnTo>
                <a:lnTo>
                  <a:pt x="8153" y="1959"/>
                </a:lnTo>
                <a:lnTo>
                  <a:pt x="8268" y="2135"/>
                </a:lnTo>
                <a:lnTo>
                  <a:pt x="8383" y="2329"/>
                </a:lnTo>
                <a:lnTo>
                  <a:pt x="8480" y="2515"/>
                </a:lnTo>
                <a:lnTo>
                  <a:pt x="8568" y="2718"/>
                </a:lnTo>
                <a:lnTo>
                  <a:pt x="8647" y="2921"/>
                </a:lnTo>
                <a:lnTo>
                  <a:pt x="8718" y="3124"/>
                </a:lnTo>
                <a:lnTo>
                  <a:pt x="8780" y="3336"/>
                </a:lnTo>
                <a:lnTo>
                  <a:pt x="8824" y="3556"/>
                </a:lnTo>
                <a:lnTo>
                  <a:pt x="8868" y="3777"/>
                </a:lnTo>
                <a:lnTo>
                  <a:pt x="8894" y="3997"/>
                </a:lnTo>
                <a:lnTo>
                  <a:pt x="8912" y="4227"/>
                </a:lnTo>
                <a:lnTo>
                  <a:pt x="8921" y="4456"/>
                </a:lnTo>
                <a:lnTo>
                  <a:pt x="8921" y="4456"/>
                </a:lnTo>
                <a:lnTo>
                  <a:pt x="8912" y="4642"/>
                </a:lnTo>
                <a:lnTo>
                  <a:pt x="8903" y="4818"/>
                </a:lnTo>
                <a:lnTo>
                  <a:pt x="8886" y="4986"/>
                </a:lnTo>
                <a:lnTo>
                  <a:pt x="8859" y="5154"/>
                </a:lnTo>
                <a:lnTo>
                  <a:pt x="8833" y="5321"/>
                </a:lnTo>
                <a:lnTo>
                  <a:pt x="8797" y="5480"/>
                </a:lnTo>
                <a:lnTo>
                  <a:pt x="8718" y="5798"/>
                </a:lnTo>
                <a:lnTo>
                  <a:pt x="8718" y="5798"/>
                </a:lnTo>
                <a:lnTo>
                  <a:pt x="13439" y="10456"/>
                </a:lnTo>
                <a:lnTo>
                  <a:pt x="13439" y="10456"/>
                </a:lnTo>
                <a:lnTo>
                  <a:pt x="13439" y="13298"/>
                </a:lnTo>
                <a:lnTo>
                  <a:pt x="13439" y="13298"/>
                </a:lnTo>
                <a:lnTo>
                  <a:pt x="10748" y="13298"/>
                </a:lnTo>
                <a:lnTo>
                  <a:pt x="10748" y="13298"/>
                </a:lnTo>
                <a:lnTo>
                  <a:pt x="10748" y="11471"/>
                </a:lnTo>
                <a:lnTo>
                  <a:pt x="10748" y="11471"/>
                </a:lnTo>
                <a:lnTo>
                  <a:pt x="9000" y="11471"/>
                </a:lnTo>
                <a:lnTo>
                  <a:pt x="9000" y="11471"/>
                </a:lnTo>
                <a:lnTo>
                  <a:pt x="9000" y="9689"/>
                </a:lnTo>
                <a:lnTo>
                  <a:pt x="9000" y="9689"/>
                </a:lnTo>
                <a:lnTo>
                  <a:pt x="7129" y="9689"/>
                </a:lnTo>
                <a:lnTo>
                  <a:pt x="7129" y="8021"/>
                </a:lnTo>
                <a:close/>
              </a:path>
            </a:pathLst>
          </a:custGeom>
          <a:noFill/>
          <a:ln w="28575" cap="flat">
            <a:solidFill>
              <a:srgbClr val="B3B2B4"/>
            </a:solidFill>
            <a:bevel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32597">
              <a:defRPr/>
            </a:pPr>
            <a:endParaRPr lang="en-US" sz="1836">
              <a:solidFill>
                <a:srgbClr val="505050"/>
              </a:solidFill>
              <a:latin typeface="Segoe UI"/>
            </a:endParaRPr>
          </a:p>
        </p:txBody>
      </p:sp>
      <p:sp>
        <p:nvSpPr>
          <p:cNvPr id="49" name="Title 1">
            <a:extLst>
              <a:ext uri="{FF2B5EF4-FFF2-40B4-BE49-F238E27FC236}">
                <a16:creationId xmlns:a16="http://schemas.microsoft.com/office/drawing/2014/main" id="{11F68C0C-7BAD-4425-B094-371C47CCFA3B}"/>
              </a:ext>
            </a:extLst>
          </p:cNvPr>
          <p:cNvSpPr txBox="1">
            <a:spLocks/>
          </p:cNvSpPr>
          <p:nvPr/>
        </p:nvSpPr>
        <p:spPr>
          <a:xfrm>
            <a:off x="3083653" y="486570"/>
            <a:ext cx="8078085" cy="917444"/>
          </a:xfrm>
          <a:prstGeom prst="rect">
            <a:avLst/>
          </a:prstGeom>
        </p:spPr>
        <p:txBody>
          <a:bodyPr vert="horz" wrap="square" lIns="146283" tIns="91427" rIns="146283" bIns="91427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 defTabSz="932563">
              <a:spcAft>
                <a:spcPts val="600"/>
              </a:spcAft>
              <a:defRPr/>
            </a:pPr>
            <a:r>
              <a:rPr lang="en-US" sz="3672" dirty="0">
                <a:solidFill>
                  <a:srgbClr val="4F504F"/>
                </a:solidFill>
                <a:latin typeface="Segoe UI Light"/>
              </a:rPr>
              <a:t>The only consistent, hybrid cloud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4015072" y="2199165"/>
            <a:ext cx="7127367" cy="3264784"/>
            <a:chOff x="3935838" y="2156240"/>
            <a:chExt cx="6988249" cy="3201059"/>
          </a:xfrm>
        </p:grpSpPr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4EBD3D5-2647-4E74-851A-909398070D0E}"/>
                </a:ext>
              </a:extLst>
            </p:cNvPr>
            <p:cNvGrpSpPr/>
            <p:nvPr/>
          </p:nvGrpSpPr>
          <p:grpSpPr>
            <a:xfrm>
              <a:off x="3936889" y="2607785"/>
              <a:ext cx="341742" cy="452376"/>
              <a:chOff x="2989197" y="3117304"/>
              <a:chExt cx="172645" cy="220603"/>
            </a:xfrm>
            <a:noFill/>
          </p:grpSpPr>
          <p:sp>
            <p:nvSpPr>
              <p:cNvPr id="85" name="Oval 5">
                <a:extLst>
                  <a:ext uri="{FF2B5EF4-FFF2-40B4-BE49-F238E27FC236}">
                    <a16:creationId xmlns:a16="http://schemas.microsoft.com/office/drawing/2014/main" id="{65A33B52-C49C-4061-8237-C4DF20C584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08379" y="3117304"/>
                <a:ext cx="134280" cy="134280"/>
              </a:xfrm>
              <a:prstGeom prst="ellipse">
                <a:avLst/>
              </a:prstGeom>
              <a:grpFill/>
              <a:ln w="28575" cap="flat" cmpd="sng" algn="ctr">
                <a:solidFill>
                  <a:srgbClr val="001F54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376" tIns="45688" rIns="91376" bIns="45688" numCol="1" anchor="t" anchorCtr="0" compatLnSpc="1">
                <a:prstTxWarp prst="textNoShape">
                  <a:avLst/>
                </a:prstTxWarp>
              </a:bodyPr>
              <a:lstStyle/>
              <a:p>
                <a:pPr defTabSz="913522">
                  <a:defRPr/>
                </a:pPr>
                <a:endParaRPr lang="en-US" kern="0">
                  <a:solidFill>
                    <a:sysClr val="windowText" lastClr="000000"/>
                  </a:solidFill>
                  <a:latin typeface="Segoe UI"/>
                </a:endParaRPr>
              </a:p>
            </p:txBody>
          </p:sp>
          <p:sp>
            <p:nvSpPr>
              <p:cNvPr id="86" name="Freeform 6">
                <a:extLst>
                  <a:ext uri="{FF2B5EF4-FFF2-40B4-BE49-F238E27FC236}">
                    <a16:creationId xmlns:a16="http://schemas.microsoft.com/office/drawing/2014/main" id="{2415DACD-7CD4-4BFC-889A-B8E17D23AD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9197" y="3251584"/>
                <a:ext cx="172645" cy="86323"/>
              </a:xfrm>
              <a:custGeom>
                <a:avLst/>
                <a:gdLst>
                  <a:gd name="T0" fmla="*/ 40 w 40"/>
                  <a:gd name="T1" fmla="*/ 20 h 20"/>
                  <a:gd name="T2" fmla="*/ 20 w 40"/>
                  <a:gd name="T3" fmla="*/ 0 h 20"/>
                  <a:gd name="T4" fmla="*/ 0 w 40"/>
                  <a:gd name="T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0" h="20">
                    <a:moveTo>
                      <a:pt x="40" y="20"/>
                    </a:moveTo>
                    <a:cubicBezTo>
                      <a:pt x="40" y="8"/>
                      <a:pt x="31" y="0"/>
                      <a:pt x="20" y="0"/>
                    </a:cubicBezTo>
                    <a:cubicBezTo>
                      <a:pt x="9" y="0"/>
                      <a:pt x="0" y="8"/>
                      <a:pt x="0" y="20"/>
                    </a:cubicBezTo>
                  </a:path>
                </a:pathLst>
              </a:custGeom>
              <a:grpFill/>
              <a:ln w="28575" cap="flat" cmpd="sng" algn="ctr">
                <a:solidFill>
                  <a:srgbClr val="001F54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376" tIns="45688" rIns="91376" bIns="45688" numCol="1" anchor="t" anchorCtr="0" compatLnSpc="1">
                <a:prstTxWarp prst="textNoShape">
                  <a:avLst/>
                </a:prstTxWarp>
              </a:bodyPr>
              <a:lstStyle/>
              <a:p>
                <a:pPr defTabSz="913522">
                  <a:defRPr/>
                </a:pPr>
                <a:endParaRPr lang="en-US" kern="0">
                  <a:solidFill>
                    <a:sysClr val="windowText" lastClr="000000"/>
                  </a:solidFill>
                  <a:latin typeface="Segoe UI"/>
                </a:endParaRPr>
              </a:p>
            </p:txBody>
          </p: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6CFB70BF-4B5C-48E3-B5F1-0DDE8D21A1F2}"/>
                </a:ext>
              </a:extLst>
            </p:cNvPr>
            <p:cNvGrpSpPr/>
            <p:nvPr/>
          </p:nvGrpSpPr>
          <p:grpSpPr>
            <a:xfrm>
              <a:off x="9740572" y="2156240"/>
              <a:ext cx="1183515" cy="930006"/>
              <a:chOff x="9854443" y="1455869"/>
              <a:chExt cx="1521253" cy="1195403"/>
            </a:xfrm>
          </p:grpSpPr>
          <p:grpSp>
            <p:nvGrpSpPr>
              <p:cNvPr id="58" name="Group 57">
                <a:extLst>
                  <a:ext uri="{FF2B5EF4-FFF2-40B4-BE49-F238E27FC236}">
                    <a16:creationId xmlns:a16="http://schemas.microsoft.com/office/drawing/2014/main" id="{CE1970A8-2FE3-4FAB-A253-1CDD7F4B3A3B}"/>
                  </a:ext>
                </a:extLst>
              </p:cNvPr>
              <p:cNvGrpSpPr/>
              <p:nvPr/>
            </p:nvGrpSpPr>
            <p:grpSpPr>
              <a:xfrm>
                <a:off x="9854443" y="2083447"/>
                <a:ext cx="675016" cy="567825"/>
                <a:chOff x="1453655" y="2514411"/>
                <a:chExt cx="489783" cy="412007"/>
              </a:xfrm>
            </p:grpSpPr>
            <p:sp>
              <p:nvSpPr>
                <p:cNvPr id="73" name="Rectangle 72">
                  <a:extLst>
                    <a:ext uri="{FF2B5EF4-FFF2-40B4-BE49-F238E27FC236}">
                      <a16:creationId xmlns:a16="http://schemas.microsoft.com/office/drawing/2014/main" id="{F3C4D888-55B2-4BAD-87E1-717E09F96E9A}"/>
                    </a:ext>
                  </a:extLst>
                </p:cNvPr>
                <p:cNvSpPr/>
                <p:nvPr/>
              </p:nvSpPr>
              <p:spPr bwMode="auto">
                <a:xfrm>
                  <a:off x="1453655" y="2514411"/>
                  <a:ext cx="489783" cy="412007"/>
                </a:xfrm>
                <a:prstGeom prst="rect">
                  <a:avLst/>
                </a:prstGeom>
                <a:noFill/>
                <a:ln w="28575" cap="flat" cmpd="sng" algn="ctr">
                  <a:solidFill>
                    <a:srgbClr val="001F54"/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1935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2400" kern="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grpSp>
              <p:nvGrpSpPr>
                <p:cNvPr id="74" name="Group 73">
                  <a:extLst>
                    <a:ext uri="{FF2B5EF4-FFF2-40B4-BE49-F238E27FC236}">
                      <a16:creationId xmlns:a16="http://schemas.microsoft.com/office/drawing/2014/main" id="{829D994D-4C7F-46FA-8B4F-60DEA00629CA}"/>
                    </a:ext>
                  </a:extLst>
                </p:cNvPr>
                <p:cNvGrpSpPr/>
                <p:nvPr/>
              </p:nvGrpSpPr>
              <p:grpSpPr>
                <a:xfrm>
                  <a:off x="1602163" y="2574920"/>
                  <a:ext cx="208797" cy="296154"/>
                  <a:chOff x="6141433" y="2184400"/>
                  <a:chExt cx="1838910" cy="2608262"/>
                </a:xfrm>
                <a:solidFill>
                  <a:srgbClr val="002060"/>
                </a:solidFill>
              </p:grpSpPr>
              <p:sp>
                <p:nvSpPr>
                  <p:cNvPr id="75" name="Freeform 95">
                    <a:extLst>
                      <a:ext uri="{FF2B5EF4-FFF2-40B4-BE49-F238E27FC236}">
                        <a16:creationId xmlns:a16="http://schemas.microsoft.com/office/drawing/2014/main" id="{F425D9E1-43BF-4F1E-A2D0-B153174C37D2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7107219" y="2184400"/>
                    <a:ext cx="873124" cy="2608262"/>
                  </a:xfrm>
                  <a:custGeom>
                    <a:avLst/>
                    <a:gdLst>
                      <a:gd name="connsiteX0" fmla="*/ 436562 w 873124"/>
                      <a:gd name="connsiteY0" fmla="*/ 0 h 2608262"/>
                      <a:gd name="connsiteX1" fmla="*/ 873124 w 873124"/>
                      <a:gd name="connsiteY1" fmla="*/ 436562 h 2608262"/>
                      <a:gd name="connsiteX2" fmla="*/ 680648 w 873124"/>
                      <a:gd name="connsiteY2" fmla="*/ 798566 h 2608262"/>
                      <a:gd name="connsiteX3" fmla="*/ 627062 w 873124"/>
                      <a:gd name="connsiteY3" fmla="*/ 827652 h 2608262"/>
                      <a:gd name="connsiteX4" fmla="*/ 627062 w 873124"/>
                      <a:gd name="connsiteY4" fmla="*/ 2417762 h 2608262"/>
                      <a:gd name="connsiteX5" fmla="*/ 436562 w 873124"/>
                      <a:gd name="connsiteY5" fmla="*/ 2608262 h 2608262"/>
                      <a:gd name="connsiteX6" fmla="*/ 246062 w 873124"/>
                      <a:gd name="connsiteY6" fmla="*/ 2417762 h 2608262"/>
                      <a:gd name="connsiteX7" fmla="*/ 246062 w 873124"/>
                      <a:gd name="connsiteY7" fmla="*/ 827652 h 2608262"/>
                      <a:gd name="connsiteX8" fmla="*/ 192476 w 873124"/>
                      <a:gd name="connsiteY8" fmla="*/ 798566 h 2608262"/>
                      <a:gd name="connsiteX9" fmla="*/ 0 w 873124"/>
                      <a:gd name="connsiteY9" fmla="*/ 436562 h 2608262"/>
                      <a:gd name="connsiteX10" fmla="*/ 436562 w 873124"/>
                      <a:gd name="connsiteY10" fmla="*/ 0 h 26082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873124" h="2608262">
                        <a:moveTo>
                          <a:pt x="436562" y="0"/>
                        </a:moveTo>
                        <a:cubicBezTo>
                          <a:pt x="677669" y="0"/>
                          <a:pt x="873124" y="195455"/>
                          <a:pt x="873124" y="436562"/>
                        </a:cubicBezTo>
                        <a:cubicBezTo>
                          <a:pt x="873124" y="587254"/>
                          <a:pt x="796775" y="720113"/>
                          <a:pt x="680648" y="798566"/>
                        </a:cubicBezTo>
                        <a:lnTo>
                          <a:pt x="627062" y="827652"/>
                        </a:lnTo>
                        <a:lnTo>
                          <a:pt x="627062" y="2417762"/>
                        </a:lnTo>
                        <a:cubicBezTo>
                          <a:pt x="627062" y="2522972"/>
                          <a:pt x="541772" y="2608262"/>
                          <a:pt x="436562" y="2608262"/>
                        </a:cubicBezTo>
                        <a:cubicBezTo>
                          <a:pt x="331352" y="2608262"/>
                          <a:pt x="246062" y="2522972"/>
                          <a:pt x="246062" y="2417762"/>
                        </a:cubicBezTo>
                        <a:lnTo>
                          <a:pt x="246062" y="827652"/>
                        </a:lnTo>
                        <a:lnTo>
                          <a:pt x="192476" y="798566"/>
                        </a:lnTo>
                        <a:cubicBezTo>
                          <a:pt x="76349" y="720113"/>
                          <a:pt x="0" y="587254"/>
                          <a:pt x="0" y="436562"/>
                        </a:cubicBezTo>
                        <a:cubicBezTo>
                          <a:pt x="0" y="195455"/>
                          <a:pt x="195455" y="0"/>
                          <a:pt x="436562" y="0"/>
                        </a:cubicBezTo>
                        <a:close/>
                      </a:path>
                    </a:pathLst>
                  </a:custGeom>
                  <a:noFill/>
                  <a:ln w="28575" cap="flat" cmpd="sng" algn="ctr">
                    <a:solidFill>
                      <a:srgbClr val="001F54"/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Overflow="overflow" horzOverflow="overflow" vert="horz" wrap="square" lIns="182750" tIns="146200" rIns="182750" bIns="14620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31577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US" sz="2400" kern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81" name="Freeform 96">
                    <a:extLst>
                      <a:ext uri="{FF2B5EF4-FFF2-40B4-BE49-F238E27FC236}">
                        <a16:creationId xmlns:a16="http://schemas.microsoft.com/office/drawing/2014/main" id="{5B8C65CD-B349-4B13-AD8E-EF975AAD0CD5}"/>
                      </a:ext>
                    </a:extLst>
                  </p:cNvPr>
                  <p:cNvSpPr/>
                  <p:nvPr/>
                </p:nvSpPr>
                <p:spPr bwMode="auto">
                  <a:xfrm rot="10800000">
                    <a:off x="6141433" y="3573462"/>
                    <a:ext cx="381000" cy="1219200"/>
                  </a:xfrm>
                  <a:custGeom>
                    <a:avLst/>
                    <a:gdLst>
                      <a:gd name="connsiteX0" fmla="*/ 381000 w 381000"/>
                      <a:gd name="connsiteY0" fmla="*/ 1219200 h 1219200"/>
                      <a:gd name="connsiteX1" fmla="*/ 190500 w 381000"/>
                      <a:gd name="connsiteY1" fmla="*/ 1219200 h 1219200"/>
                      <a:gd name="connsiteX2" fmla="*/ 0 w 381000"/>
                      <a:gd name="connsiteY2" fmla="*/ 1219200 h 1219200"/>
                      <a:gd name="connsiteX3" fmla="*/ 0 w 381000"/>
                      <a:gd name="connsiteY3" fmla="*/ 1028700 h 1219200"/>
                      <a:gd name="connsiteX4" fmla="*/ 0 w 381000"/>
                      <a:gd name="connsiteY4" fmla="*/ 533400 h 1219200"/>
                      <a:gd name="connsiteX5" fmla="*/ 0 w 381000"/>
                      <a:gd name="connsiteY5" fmla="*/ 190500 h 1219200"/>
                      <a:gd name="connsiteX6" fmla="*/ 190500 w 381000"/>
                      <a:gd name="connsiteY6" fmla="*/ 0 h 1219200"/>
                      <a:gd name="connsiteX7" fmla="*/ 381000 w 381000"/>
                      <a:gd name="connsiteY7" fmla="*/ 190500 h 1219200"/>
                      <a:gd name="connsiteX8" fmla="*/ 381000 w 381000"/>
                      <a:gd name="connsiteY8" fmla="*/ 533400 h 1219200"/>
                      <a:gd name="connsiteX9" fmla="*/ 381000 w 381000"/>
                      <a:gd name="connsiteY9" fmla="*/ 1028700 h 1219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381000" h="1219200">
                        <a:moveTo>
                          <a:pt x="381000" y="1219200"/>
                        </a:moveTo>
                        <a:lnTo>
                          <a:pt x="190500" y="1219200"/>
                        </a:lnTo>
                        <a:lnTo>
                          <a:pt x="0" y="1219200"/>
                        </a:lnTo>
                        <a:lnTo>
                          <a:pt x="0" y="1028700"/>
                        </a:lnTo>
                        <a:lnTo>
                          <a:pt x="0" y="533400"/>
                        </a:lnTo>
                        <a:lnTo>
                          <a:pt x="0" y="190500"/>
                        </a:lnTo>
                        <a:cubicBezTo>
                          <a:pt x="0" y="85290"/>
                          <a:pt x="85290" y="0"/>
                          <a:pt x="190500" y="0"/>
                        </a:cubicBezTo>
                        <a:cubicBezTo>
                          <a:pt x="295710" y="0"/>
                          <a:pt x="381000" y="85290"/>
                          <a:pt x="381000" y="190500"/>
                        </a:cubicBezTo>
                        <a:lnTo>
                          <a:pt x="381000" y="533400"/>
                        </a:lnTo>
                        <a:lnTo>
                          <a:pt x="381000" y="1028700"/>
                        </a:lnTo>
                        <a:close/>
                      </a:path>
                    </a:pathLst>
                  </a:custGeom>
                  <a:noFill/>
                  <a:ln w="28575" cap="flat" cmpd="sng" algn="ctr">
                    <a:solidFill>
                      <a:srgbClr val="001F54"/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Overflow="overflow" horzOverflow="overflow" vert="horz" wrap="square" lIns="182750" tIns="146200" rIns="182750" bIns="14620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31577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US" sz="2400" kern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82" name="Pentagon 97">
                    <a:extLst>
                      <a:ext uri="{FF2B5EF4-FFF2-40B4-BE49-F238E27FC236}">
                        <a16:creationId xmlns:a16="http://schemas.microsoft.com/office/drawing/2014/main" id="{AB1C35E4-7C0E-42B0-895A-D126719FFA54}"/>
                      </a:ext>
                    </a:extLst>
                  </p:cNvPr>
                  <p:cNvSpPr/>
                  <p:nvPr/>
                </p:nvSpPr>
                <p:spPr bwMode="auto">
                  <a:xfrm rot="5400000">
                    <a:off x="6089640" y="2251076"/>
                    <a:ext cx="496887" cy="363541"/>
                  </a:xfrm>
                  <a:prstGeom prst="homePlate">
                    <a:avLst/>
                  </a:prstGeom>
                  <a:noFill/>
                  <a:ln w="28575" cap="flat" cmpd="sng" algn="ctr">
                    <a:solidFill>
                      <a:srgbClr val="001F54"/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Overflow="overflow" horzOverflow="overflow" vert="horz" wrap="square" lIns="182750" tIns="146200" rIns="182750" bIns="14620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31577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US" sz="2400" kern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cxnSp>
                <p:nvCxnSpPr>
                  <p:cNvPr id="83" name="Straight Connector 82">
                    <a:extLst>
                      <a:ext uri="{FF2B5EF4-FFF2-40B4-BE49-F238E27FC236}">
                        <a16:creationId xmlns:a16="http://schemas.microsoft.com/office/drawing/2014/main" id="{28ABB7C2-8303-4A2C-B3AD-9CD7FAADC908}"/>
                      </a:ext>
                    </a:extLst>
                  </p:cNvPr>
                  <p:cNvCxnSpPr/>
                  <p:nvPr/>
                </p:nvCxnSpPr>
                <p:spPr>
                  <a:xfrm flipH="1">
                    <a:off x="6331930" y="2681294"/>
                    <a:ext cx="6154" cy="892168"/>
                  </a:xfrm>
                  <a:prstGeom prst="line">
                    <a:avLst/>
                  </a:prstGeom>
                  <a:grpFill/>
                  <a:ln w="28575" cap="flat" cmpd="sng" algn="ctr">
                    <a:solidFill>
                      <a:srgbClr val="001F54"/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84" name="Straight Connector 83">
                    <a:extLst>
                      <a:ext uri="{FF2B5EF4-FFF2-40B4-BE49-F238E27FC236}">
                        <a16:creationId xmlns:a16="http://schemas.microsoft.com/office/drawing/2014/main" id="{A66B89DC-DBB4-4A63-905F-1E652C37B3E6}"/>
                      </a:ext>
                    </a:extLst>
                  </p:cNvPr>
                  <p:cNvCxnSpPr/>
                  <p:nvPr/>
                </p:nvCxnSpPr>
                <p:spPr>
                  <a:xfrm>
                    <a:off x="7543781" y="2184400"/>
                    <a:ext cx="1" cy="418531"/>
                  </a:xfrm>
                  <a:prstGeom prst="line">
                    <a:avLst/>
                  </a:prstGeom>
                  <a:grpFill/>
                  <a:ln w="28575" cap="flat" cmpd="sng" algn="ctr">
                    <a:solidFill>
                      <a:srgbClr val="001F54"/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</p:grpSp>
          </p:grpSp>
          <p:sp>
            <p:nvSpPr>
              <p:cNvPr id="60" name="Freeform 5">
                <a:extLst>
                  <a:ext uri="{FF2B5EF4-FFF2-40B4-BE49-F238E27FC236}">
                    <a16:creationId xmlns:a16="http://schemas.microsoft.com/office/drawing/2014/main" id="{8A6E20D0-80F3-4E20-9AA0-8F8A92AF69CB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0549864" y="1455869"/>
                <a:ext cx="825832" cy="574096"/>
              </a:xfrm>
              <a:custGeom>
                <a:avLst/>
                <a:gdLst>
                  <a:gd name="T0" fmla="*/ 148 w 678"/>
                  <a:gd name="T1" fmla="*/ 470 h 470"/>
                  <a:gd name="T2" fmla="*/ 498 w 678"/>
                  <a:gd name="T3" fmla="*/ 470 h 470"/>
                  <a:gd name="T4" fmla="*/ 678 w 678"/>
                  <a:gd name="T5" fmla="*/ 288 h 470"/>
                  <a:gd name="T6" fmla="*/ 509 w 678"/>
                  <a:gd name="T7" fmla="*/ 107 h 470"/>
                  <a:gd name="T8" fmla="*/ 339 w 678"/>
                  <a:gd name="T9" fmla="*/ 0 h 470"/>
                  <a:gd name="T10" fmla="*/ 148 w 678"/>
                  <a:gd name="T11" fmla="*/ 171 h 470"/>
                  <a:gd name="T12" fmla="*/ 148 w 678"/>
                  <a:gd name="T13" fmla="*/ 171 h 470"/>
                  <a:gd name="T14" fmla="*/ 0 w 678"/>
                  <a:gd name="T15" fmla="*/ 320 h 470"/>
                  <a:gd name="T16" fmla="*/ 148 w 678"/>
                  <a:gd name="T17" fmla="*/ 470 h 4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78" h="470">
                    <a:moveTo>
                      <a:pt x="148" y="470"/>
                    </a:moveTo>
                    <a:cubicBezTo>
                      <a:pt x="498" y="470"/>
                      <a:pt x="498" y="470"/>
                      <a:pt x="498" y="470"/>
                    </a:cubicBezTo>
                    <a:cubicBezTo>
                      <a:pt x="599" y="470"/>
                      <a:pt x="678" y="390"/>
                      <a:pt x="678" y="288"/>
                    </a:cubicBezTo>
                    <a:cubicBezTo>
                      <a:pt x="678" y="192"/>
                      <a:pt x="604" y="112"/>
                      <a:pt x="509" y="107"/>
                    </a:cubicBezTo>
                    <a:cubicBezTo>
                      <a:pt x="477" y="42"/>
                      <a:pt x="413" y="0"/>
                      <a:pt x="339" y="0"/>
                    </a:cubicBezTo>
                    <a:cubicBezTo>
                      <a:pt x="244" y="0"/>
                      <a:pt x="159" y="74"/>
                      <a:pt x="148" y="171"/>
                    </a:cubicBezTo>
                    <a:cubicBezTo>
                      <a:pt x="148" y="171"/>
                      <a:pt x="148" y="171"/>
                      <a:pt x="148" y="171"/>
                    </a:cubicBezTo>
                    <a:cubicBezTo>
                      <a:pt x="69" y="171"/>
                      <a:pt x="0" y="240"/>
                      <a:pt x="0" y="320"/>
                    </a:cubicBezTo>
                    <a:cubicBezTo>
                      <a:pt x="0" y="401"/>
                      <a:pt x="69" y="470"/>
                      <a:pt x="148" y="470"/>
                    </a:cubicBezTo>
                    <a:close/>
                  </a:path>
                </a:pathLst>
              </a:custGeom>
              <a:noFill/>
              <a:ln w="28575">
                <a:solidFill>
                  <a:srgbClr val="001F54"/>
                </a:solidFill>
              </a:ln>
            </p:spPr>
            <p:txBody>
              <a:bodyPr vert="horz" wrap="square" lIns="87843" tIns="43920" rIns="87843" bIns="439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878232">
                  <a:defRPr/>
                </a:pPr>
                <a:endParaRPr lang="en-US" sz="2800" kern="0" dirty="0">
                  <a:solidFill>
                    <a:srgbClr val="75787B"/>
                  </a:solidFill>
                  <a:latin typeface="Segoe UI Light"/>
                </a:endParaRPr>
              </a:p>
            </p:txBody>
          </p:sp>
          <p:cxnSp>
            <p:nvCxnSpPr>
              <p:cNvPr id="61" name="Straight Arrow Connector 60">
                <a:extLst>
                  <a:ext uri="{FF2B5EF4-FFF2-40B4-BE49-F238E27FC236}">
                    <a16:creationId xmlns:a16="http://schemas.microsoft.com/office/drawing/2014/main" id="{28E8BE69-6C68-46CF-AD74-2D5B00DC6D3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955337" y="2058254"/>
                <a:ext cx="0" cy="307483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001F54"/>
                </a:solidFill>
                <a:prstDash val="solid"/>
                <a:headEnd type="none" w="med" len="med"/>
                <a:tailEnd type="triangle" w="lg" len="sm"/>
              </a:ln>
              <a:effectLst/>
            </p:spPr>
          </p:cxnSp>
          <p:cxnSp>
            <p:nvCxnSpPr>
              <p:cNvPr id="72" name="Straight Arrow Connector 71">
                <a:extLst>
                  <a:ext uri="{FF2B5EF4-FFF2-40B4-BE49-F238E27FC236}">
                    <a16:creationId xmlns:a16="http://schemas.microsoft.com/office/drawing/2014/main" id="{FE556F7A-0EE7-4C14-850B-A81A147E35E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41494" y="2365737"/>
                <a:ext cx="420013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001F54"/>
                </a:solidFill>
                <a:prstDash val="solid"/>
                <a:headEnd type="none" w="med" len="med"/>
                <a:tailEnd type="none" w="lg" len="sm"/>
              </a:ln>
              <a:effectLst/>
            </p:spPr>
          </p:cxnSp>
        </p:grpSp>
        <p:sp>
          <p:nvSpPr>
            <p:cNvPr id="56" name="Freeform 5">
              <a:extLst>
                <a:ext uri="{FF2B5EF4-FFF2-40B4-BE49-F238E27FC236}">
                  <a16:creationId xmlns:a16="http://schemas.microsoft.com/office/drawing/2014/main" id="{B036FA4C-D57F-4500-800C-9972597820D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749143" y="2633953"/>
              <a:ext cx="642487" cy="446638"/>
            </a:xfrm>
            <a:custGeom>
              <a:avLst/>
              <a:gdLst>
                <a:gd name="T0" fmla="*/ 148 w 678"/>
                <a:gd name="T1" fmla="*/ 470 h 470"/>
                <a:gd name="T2" fmla="*/ 498 w 678"/>
                <a:gd name="T3" fmla="*/ 470 h 470"/>
                <a:gd name="T4" fmla="*/ 678 w 678"/>
                <a:gd name="T5" fmla="*/ 288 h 470"/>
                <a:gd name="T6" fmla="*/ 509 w 678"/>
                <a:gd name="T7" fmla="*/ 107 h 470"/>
                <a:gd name="T8" fmla="*/ 339 w 678"/>
                <a:gd name="T9" fmla="*/ 0 h 470"/>
                <a:gd name="T10" fmla="*/ 148 w 678"/>
                <a:gd name="T11" fmla="*/ 171 h 470"/>
                <a:gd name="T12" fmla="*/ 148 w 678"/>
                <a:gd name="T13" fmla="*/ 171 h 470"/>
                <a:gd name="T14" fmla="*/ 0 w 678"/>
                <a:gd name="T15" fmla="*/ 320 h 470"/>
                <a:gd name="T16" fmla="*/ 148 w 678"/>
                <a:gd name="T17" fmla="*/ 470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78" h="470">
                  <a:moveTo>
                    <a:pt x="148" y="470"/>
                  </a:moveTo>
                  <a:cubicBezTo>
                    <a:pt x="498" y="470"/>
                    <a:pt x="498" y="470"/>
                    <a:pt x="498" y="470"/>
                  </a:cubicBezTo>
                  <a:cubicBezTo>
                    <a:pt x="599" y="470"/>
                    <a:pt x="678" y="390"/>
                    <a:pt x="678" y="288"/>
                  </a:cubicBezTo>
                  <a:cubicBezTo>
                    <a:pt x="678" y="192"/>
                    <a:pt x="604" y="112"/>
                    <a:pt x="509" y="107"/>
                  </a:cubicBezTo>
                  <a:cubicBezTo>
                    <a:pt x="477" y="42"/>
                    <a:pt x="413" y="0"/>
                    <a:pt x="339" y="0"/>
                  </a:cubicBezTo>
                  <a:cubicBezTo>
                    <a:pt x="244" y="0"/>
                    <a:pt x="159" y="74"/>
                    <a:pt x="148" y="171"/>
                  </a:cubicBezTo>
                  <a:cubicBezTo>
                    <a:pt x="148" y="171"/>
                    <a:pt x="148" y="171"/>
                    <a:pt x="148" y="171"/>
                  </a:cubicBezTo>
                  <a:cubicBezTo>
                    <a:pt x="69" y="171"/>
                    <a:pt x="0" y="240"/>
                    <a:pt x="0" y="320"/>
                  </a:cubicBezTo>
                  <a:cubicBezTo>
                    <a:pt x="0" y="401"/>
                    <a:pt x="69" y="470"/>
                    <a:pt x="148" y="470"/>
                  </a:cubicBezTo>
                  <a:close/>
                </a:path>
              </a:pathLst>
            </a:custGeom>
            <a:noFill/>
            <a:ln w="28575">
              <a:solidFill>
                <a:srgbClr val="001F54"/>
              </a:solidFill>
            </a:ln>
          </p:spPr>
          <p:txBody>
            <a:bodyPr vert="horz" wrap="square" lIns="87843" tIns="43920" rIns="87843" bIns="43920" numCol="1" anchor="t" anchorCtr="0" compatLnSpc="1">
              <a:prstTxWarp prst="textNoShape">
                <a:avLst/>
              </a:prstTxWarp>
            </a:bodyPr>
            <a:lstStyle/>
            <a:p>
              <a:pPr algn="ctr" defTabSz="878232">
                <a:defRPr/>
              </a:pPr>
              <a:endParaRPr lang="en-US" sz="2800" kern="0" dirty="0">
                <a:gradFill>
                  <a:gsLst>
                    <a:gs pos="17699">
                      <a:srgbClr val="B4009E"/>
                    </a:gs>
                    <a:gs pos="100000">
                      <a:srgbClr val="B4009E"/>
                    </a:gs>
                  </a:gsLst>
                  <a:lin ang="5400000" scaled="1"/>
                </a:gradFill>
                <a:latin typeface="Segoe UI Light"/>
              </a:endParaRPr>
            </a:p>
          </p:txBody>
        </p:sp>
        <p:sp>
          <p:nvSpPr>
            <p:cNvPr id="57" name="Cylinder 120">
              <a:extLst>
                <a:ext uri="{FF2B5EF4-FFF2-40B4-BE49-F238E27FC236}">
                  <a16:creationId xmlns:a16="http://schemas.microsoft.com/office/drawing/2014/main" id="{CB2E82CD-3A74-490E-A3D8-F0194F88005A}"/>
                </a:ext>
              </a:extLst>
            </p:cNvPr>
            <p:cNvSpPr/>
            <p:nvPr/>
          </p:nvSpPr>
          <p:spPr bwMode="auto">
            <a:xfrm>
              <a:off x="7820910" y="2605954"/>
              <a:ext cx="480560" cy="499030"/>
            </a:xfrm>
            <a:prstGeom prst="can">
              <a:avLst/>
            </a:prstGeom>
            <a:noFill/>
            <a:ln w="28575" cap="flat" cmpd="sng" algn="ctr">
              <a:solidFill>
                <a:srgbClr val="001F54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1935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87E6D6D5-8AE0-4BAF-89D4-9DE357A89F5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935838" y="4816285"/>
              <a:ext cx="343845" cy="455163"/>
              <a:chOff x="2989197" y="3117304"/>
              <a:chExt cx="172645" cy="220603"/>
            </a:xfrm>
            <a:noFill/>
          </p:grpSpPr>
          <p:sp>
            <p:nvSpPr>
              <p:cNvPr id="135" name="Oval 5">
                <a:extLst>
                  <a:ext uri="{FF2B5EF4-FFF2-40B4-BE49-F238E27FC236}">
                    <a16:creationId xmlns:a16="http://schemas.microsoft.com/office/drawing/2014/main" id="{C270AFFF-CAD4-462E-8E24-AA5FF469AD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08379" y="3117304"/>
                <a:ext cx="134280" cy="134280"/>
              </a:xfrm>
              <a:prstGeom prst="ellipse">
                <a:avLst/>
              </a:prstGeom>
              <a:grpFill/>
              <a:ln w="28575" cap="flat" cmpd="sng" algn="ctr">
                <a:solidFill>
                  <a:srgbClr val="001F54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376" tIns="45688" rIns="91376" bIns="45688" numCol="1" anchor="t" anchorCtr="0" compatLnSpc="1">
                <a:prstTxWarp prst="textNoShape">
                  <a:avLst/>
                </a:prstTxWarp>
              </a:bodyPr>
              <a:lstStyle/>
              <a:p>
                <a:pPr defTabSz="913522">
                  <a:defRPr/>
                </a:pPr>
                <a:endParaRPr lang="en-US" kern="0">
                  <a:solidFill>
                    <a:sysClr val="windowText" lastClr="000000"/>
                  </a:solidFill>
                  <a:latin typeface="Segoe UI"/>
                </a:endParaRPr>
              </a:p>
            </p:txBody>
          </p:sp>
          <p:sp>
            <p:nvSpPr>
              <p:cNvPr id="136" name="Freeform 6">
                <a:extLst>
                  <a:ext uri="{FF2B5EF4-FFF2-40B4-BE49-F238E27FC236}">
                    <a16:creationId xmlns:a16="http://schemas.microsoft.com/office/drawing/2014/main" id="{EE2E6859-F3D4-4387-9411-84227E3695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9197" y="3251584"/>
                <a:ext cx="172645" cy="86323"/>
              </a:xfrm>
              <a:custGeom>
                <a:avLst/>
                <a:gdLst>
                  <a:gd name="T0" fmla="*/ 40 w 40"/>
                  <a:gd name="T1" fmla="*/ 20 h 20"/>
                  <a:gd name="T2" fmla="*/ 20 w 40"/>
                  <a:gd name="T3" fmla="*/ 0 h 20"/>
                  <a:gd name="T4" fmla="*/ 0 w 40"/>
                  <a:gd name="T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0" h="20">
                    <a:moveTo>
                      <a:pt x="40" y="20"/>
                    </a:moveTo>
                    <a:cubicBezTo>
                      <a:pt x="40" y="8"/>
                      <a:pt x="31" y="0"/>
                      <a:pt x="20" y="0"/>
                    </a:cubicBezTo>
                    <a:cubicBezTo>
                      <a:pt x="9" y="0"/>
                      <a:pt x="0" y="8"/>
                      <a:pt x="0" y="20"/>
                    </a:cubicBezTo>
                  </a:path>
                </a:pathLst>
              </a:custGeom>
              <a:grpFill/>
              <a:ln w="28575" cap="flat" cmpd="sng" algn="ctr">
                <a:solidFill>
                  <a:srgbClr val="001F54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376" tIns="45688" rIns="91376" bIns="45688" numCol="1" anchor="t" anchorCtr="0" compatLnSpc="1">
                <a:prstTxWarp prst="textNoShape">
                  <a:avLst/>
                </a:prstTxWarp>
              </a:bodyPr>
              <a:lstStyle/>
              <a:p>
                <a:pPr defTabSz="913522">
                  <a:defRPr/>
                </a:pPr>
                <a:endParaRPr lang="en-US" kern="0">
                  <a:solidFill>
                    <a:sysClr val="windowText" lastClr="000000"/>
                  </a:solidFill>
                  <a:latin typeface="Segoe UI"/>
                </a:endParaRPr>
              </a:p>
            </p:txBody>
          </p:sp>
        </p:grpSp>
        <p:grpSp>
          <p:nvGrpSpPr>
            <p:cNvPr id="97" name="Group 96">
              <a:extLst>
                <a:ext uri="{FF2B5EF4-FFF2-40B4-BE49-F238E27FC236}">
                  <a16:creationId xmlns:a16="http://schemas.microsoft.com/office/drawing/2014/main" id="{2B6D3D7D-D992-40FA-A290-67A0E6BCE78E}"/>
                </a:ext>
              </a:extLst>
            </p:cNvPr>
            <p:cNvGrpSpPr/>
            <p:nvPr/>
          </p:nvGrpSpPr>
          <p:grpSpPr>
            <a:xfrm>
              <a:off x="5749143" y="4816835"/>
              <a:ext cx="642487" cy="540464"/>
              <a:chOff x="4328280" y="5634327"/>
              <a:chExt cx="825832" cy="694694"/>
            </a:xfrm>
          </p:grpSpPr>
          <p:sp>
            <p:nvSpPr>
              <p:cNvPr id="133" name="Rectangle 132">
                <a:extLst>
                  <a:ext uri="{FF2B5EF4-FFF2-40B4-BE49-F238E27FC236}">
                    <a16:creationId xmlns:a16="http://schemas.microsoft.com/office/drawing/2014/main" id="{FBEC8CA7-7FDF-451E-AEB3-B9EB8A4DD170}"/>
                  </a:ext>
                </a:extLst>
              </p:cNvPr>
              <p:cNvSpPr/>
              <p:nvPr/>
            </p:nvSpPr>
            <p:spPr bwMode="auto">
              <a:xfrm>
                <a:off x="4328280" y="5634327"/>
                <a:ext cx="825832" cy="694694"/>
              </a:xfrm>
              <a:prstGeom prst="rect">
                <a:avLst/>
              </a:prstGeom>
              <a:noFill/>
              <a:ln w="28575" cap="flat" cmpd="sng" algn="ctr">
                <a:solidFill>
                  <a:srgbClr val="001F54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193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kern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34" name="Freeform 5">
                <a:extLst>
                  <a:ext uri="{FF2B5EF4-FFF2-40B4-BE49-F238E27FC236}">
                    <a16:creationId xmlns:a16="http://schemas.microsoft.com/office/drawing/2014/main" id="{3D0607F6-5209-4C6B-A05F-91334894935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447810" y="5767682"/>
                <a:ext cx="586773" cy="407908"/>
              </a:xfrm>
              <a:custGeom>
                <a:avLst/>
                <a:gdLst>
                  <a:gd name="T0" fmla="*/ 148 w 678"/>
                  <a:gd name="T1" fmla="*/ 470 h 470"/>
                  <a:gd name="T2" fmla="*/ 498 w 678"/>
                  <a:gd name="T3" fmla="*/ 470 h 470"/>
                  <a:gd name="T4" fmla="*/ 678 w 678"/>
                  <a:gd name="T5" fmla="*/ 288 h 470"/>
                  <a:gd name="T6" fmla="*/ 509 w 678"/>
                  <a:gd name="T7" fmla="*/ 107 h 470"/>
                  <a:gd name="T8" fmla="*/ 339 w 678"/>
                  <a:gd name="T9" fmla="*/ 0 h 470"/>
                  <a:gd name="T10" fmla="*/ 148 w 678"/>
                  <a:gd name="T11" fmla="*/ 171 h 470"/>
                  <a:gd name="T12" fmla="*/ 148 w 678"/>
                  <a:gd name="T13" fmla="*/ 171 h 470"/>
                  <a:gd name="T14" fmla="*/ 0 w 678"/>
                  <a:gd name="T15" fmla="*/ 320 h 470"/>
                  <a:gd name="T16" fmla="*/ 148 w 678"/>
                  <a:gd name="T17" fmla="*/ 470 h 4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78" h="470">
                    <a:moveTo>
                      <a:pt x="148" y="470"/>
                    </a:moveTo>
                    <a:cubicBezTo>
                      <a:pt x="498" y="470"/>
                      <a:pt x="498" y="470"/>
                      <a:pt x="498" y="470"/>
                    </a:cubicBezTo>
                    <a:cubicBezTo>
                      <a:pt x="599" y="470"/>
                      <a:pt x="678" y="390"/>
                      <a:pt x="678" y="288"/>
                    </a:cubicBezTo>
                    <a:cubicBezTo>
                      <a:pt x="678" y="192"/>
                      <a:pt x="604" y="112"/>
                      <a:pt x="509" y="107"/>
                    </a:cubicBezTo>
                    <a:cubicBezTo>
                      <a:pt x="477" y="42"/>
                      <a:pt x="413" y="0"/>
                      <a:pt x="339" y="0"/>
                    </a:cubicBezTo>
                    <a:cubicBezTo>
                      <a:pt x="244" y="0"/>
                      <a:pt x="159" y="74"/>
                      <a:pt x="148" y="171"/>
                    </a:cubicBezTo>
                    <a:cubicBezTo>
                      <a:pt x="148" y="171"/>
                      <a:pt x="148" y="171"/>
                      <a:pt x="148" y="171"/>
                    </a:cubicBezTo>
                    <a:cubicBezTo>
                      <a:pt x="69" y="171"/>
                      <a:pt x="0" y="240"/>
                      <a:pt x="0" y="320"/>
                    </a:cubicBezTo>
                    <a:cubicBezTo>
                      <a:pt x="0" y="401"/>
                      <a:pt x="69" y="470"/>
                      <a:pt x="148" y="470"/>
                    </a:cubicBezTo>
                    <a:close/>
                  </a:path>
                </a:pathLst>
              </a:custGeom>
              <a:noFill/>
              <a:ln w="28575">
                <a:solidFill>
                  <a:srgbClr val="001F54"/>
                </a:solidFill>
              </a:ln>
            </p:spPr>
            <p:txBody>
              <a:bodyPr vert="horz" wrap="square" lIns="87843" tIns="43920" rIns="87843" bIns="439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878232">
                  <a:defRPr/>
                </a:pPr>
                <a:endParaRPr lang="en-US" sz="2800" kern="0">
                  <a:gradFill>
                    <a:gsLst>
                      <a:gs pos="17699">
                        <a:srgbClr val="B4009E"/>
                      </a:gs>
                      <a:gs pos="100000">
                        <a:srgbClr val="B4009E"/>
                      </a:gs>
                    </a:gsLst>
                    <a:lin ang="5400000" scaled="1"/>
                  </a:gradFill>
                  <a:latin typeface="Segoe UI Light"/>
                </a:endParaRPr>
              </a:p>
            </p:txBody>
          </p:sp>
        </p:grpSp>
        <p:sp>
          <p:nvSpPr>
            <p:cNvPr id="103" name="Cylinder 167">
              <a:extLst>
                <a:ext uri="{FF2B5EF4-FFF2-40B4-BE49-F238E27FC236}">
                  <a16:creationId xmlns:a16="http://schemas.microsoft.com/office/drawing/2014/main" id="{3E6455FB-B3F1-4D72-B4E8-7F0CCF4FE79F}"/>
                </a:ext>
              </a:extLst>
            </p:cNvPr>
            <p:cNvSpPr/>
            <p:nvPr/>
          </p:nvSpPr>
          <p:spPr bwMode="auto">
            <a:xfrm>
              <a:off x="7825600" y="4806204"/>
              <a:ext cx="480560" cy="499032"/>
            </a:xfrm>
            <a:prstGeom prst="can">
              <a:avLst/>
            </a:prstGeom>
            <a:noFill/>
            <a:ln w="28575" cap="flat" cmpd="sng" algn="ctr">
              <a:solidFill>
                <a:srgbClr val="001F54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1935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2" name="Group 1"/>
            <p:cNvGrpSpPr/>
            <p:nvPr/>
          </p:nvGrpSpPr>
          <p:grpSpPr>
            <a:xfrm>
              <a:off x="9659688" y="4785481"/>
              <a:ext cx="737514" cy="540463"/>
              <a:chOff x="9659688" y="4785481"/>
              <a:chExt cx="737514" cy="540463"/>
            </a:xfrm>
          </p:grpSpPr>
          <p:sp>
            <p:nvSpPr>
              <p:cNvPr id="120" name="Rectangle 119">
                <a:extLst>
                  <a:ext uri="{FF2B5EF4-FFF2-40B4-BE49-F238E27FC236}">
                    <a16:creationId xmlns:a16="http://schemas.microsoft.com/office/drawing/2014/main" id="{D37BD02E-8FE0-43C3-8189-243CE8EAB2BA}"/>
                  </a:ext>
                </a:extLst>
              </p:cNvPr>
              <p:cNvSpPr/>
              <p:nvPr/>
            </p:nvSpPr>
            <p:spPr bwMode="auto">
              <a:xfrm>
                <a:off x="9659688" y="4785481"/>
                <a:ext cx="316607" cy="540463"/>
              </a:xfrm>
              <a:prstGeom prst="rect">
                <a:avLst/>
              </a:prstGeom>
              <a:noFill/>
              <a:ln w="28575" cap="flat" cmpd="sng" algn="ctr">
                <a:solidFill>
                  <a:srgbClr val="001F54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193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kern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121" name="Straight Connector 120">
                <a:extLst>
                  <a:ext uri="{FF2B5EF4-FFF2-40B4-BE49-F238E27FC236}">
                    <a16:creationId xmlns:a16="http://schemas.microsoft.com/office/drawing/2014/main" id="{860904F6-2643-485F-8761-B7BACF72EE8E}"/>
                  </a:ext>
                </a:extLst>
              </p:cNvPr>
              <p:cNvCxnSpPr/>
              <p:nvPr/>
            </p:nvCxnSpPr>
            <p:spPr>
              <a:xfrm>
                <a:off x="9659688" y="4884323"/>
                <a:ext cx="316607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001F54"/>
                </a:solidFill>
                <a:prstDash val="solid"/>
                <a:headEnd type="none"/>
                <a:tailEnd type="none"/>
              </a:ln>
              <a:effectLst/>
            </p:spPr>
          </p:cxnSp>
          <p:cxnSp>
            <p:nvCxnSpPr>
              <p:cNvPr id="122" name="Straight Connector 121">
                <a:extLst>
                  <a:ext uri="{FF2B5EF4-FFF2-40B4-BE49-F238E27FC236}">
                    <a16:creationId xmlns:a16="http://schemas.microsoft.com/office/drawing/2014/main" id="{0DABDDF1-BB4A-4F8A-9DE5-058322107D40}"/>
                  </a:ext>
                </a:extLst>
              </p:cNvPr>
              <p:cNvCxnSpPr/>
              <p:nvPr/>
            </p:nvCxnSpPr>
            <p:spPr>
              <a:xfrm>
                <a:off x="9659688" y="4970681"/>
                <a:ext cx="316607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001F54"/>
                </a:solidFill>
                <a:prstDash val="solid"/>
                <a:headEnd type="none"/>
                <a:tailEnd type="none"/>
              </a:ln>
              <a:effectLst/>
            </p:spPr>
          </p:cxnSp>
          <p:cxnSp>
            <p:nvCxnSpPr>
              <p:cNvPr id="123" name="Straight Connector 122">
                <a:extLst>
                  <a:ext uri="{FF2B5EF4-FFF2-40B4-BE49-F238E27FC236}">
                    <a16:creationId xmlns:a16="http://schemas.microsoft.com/office/drawing/2014/main" id="{0BC90513-CDF2-422C-A653-69135FA80C23}"/>
                  </a:ext>
                </a:extLst>
              </p:cNvPr>
              <p:cNvCxnSpPr/>
              <p:nvPr/>
            </p:nvCxnSpPr>
            <p:spPr>
              <a:xfrm>
                <a:off x="9659688" y="5057040"/>
                <a:ext cx="316607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001F54"/>
                </a:solidFill>
                <a:prstDash val="solid"/>
                <a:headEnd type="none"/>
                <a:tailEnd type="none"/>
              </a:ln>
              <a:effectLst/>
            </p:spPr>
          </p:cxnSp>
          <p:cxnSp>
            <p:nvCxnSpPr>
              <p:cNvPr id="124" name="Straight Connector 123">
                <a:extLst>
                  <a:ext uri="{FF2B5EF4-FFF2-40B4-BE49-F238E27FC236}">
                    <a16:creationId xmlns:a16="http://schemas.microsoft.com/office/drawing/2014/main" id="{959EE230-AB57-4F9F-A665-7300719C41BD}"/>
                  </a:ext>
                </a:extLst>
              </p:cNvPr>
              <p:cNvCxnSpPr/>
              <p:nvPr/>
            </p:nvCxnSpPr>
            <p:spPr>
              <a:xfrm>
                <a:off x="9659688" y="5143399"/>
                <a:ext cx="316607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001F54"/>
                </a:solidFill>
                <a:prstDash val="solid"/>
                <a:headEnd type="none"/>
                <a:tailEnd type="none"/>
              </a:ln>
              <a:effectLst/>
            </p:spPr>
          </p:cxnSp>
          <p:cxnSp>
            <p:nvCxnSpPr>
              <p:cNvPr id="126" name="Straight Connector 125">
                <a:extLst>
                  <a:ext uri="{FF2B5EF4-FFF2-40B4-BE49-F238E27FC236}">
                    <a16:creationId xmlns:a16="http://schemas.microsoft.com/office/drawing/2014/main" id="{CB0A31A6-DD61-4B2C-83AD-ABCE3936D561}"/>
                  </a:ext>
                </a:extLst>
              </p:cNvPr>
              <p:cNvCxnSpPr/>
              <p:nvPr/>
            </p:nvCxnSpPr>
            <p:spPr>
              <a:xfrm>
                <a:off x="9659688" y="5229757"/>
                <a:ext cx="316607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001F54"/>
                </a:solidFill>
                <a:prstDash val="solid"/>
                <a:headEnd type="none"/>
                <a:tailEnd type="none"/>
              </a:ln>
              <a:effectLst/>
            </p:spPr>
          </p:cxnSp>
          <p:sp>
            <p:nvSpPr>
              <p:cNvPr id="127" name="Oval 126">
                <a:extLst>
                  <a:ext uri="{FF2B5EF4-FFF2-40B4-BE49-F238E27FC236}">
                    <a16:creationId xmlns:a16="http://schemas.microsoft.com/office/drawing/2014/main" id="{48CF2CB0-C6CA-4A1C-AEA7-487A0AE8FC6F}"/>
                  </a:ext>
                </a:extLst>
              </p:cNvPr>
              <p:cNvSpPr/>
              <p:nvPr/>
            </p:nvSpPr>
            <p:spPr bwMode="auto">
              <a:xfrm>
                <a:off x="9884544" y="4821638"/>
                <a:ext cx="35559" cy="35559"/>
              </a:xfrm>
              <a:prstGeom prst="ellipse">
                <a:avLst/>
              </a:prstGeom>
              <a:solidFill>
                <a:srgbClr val="001F54"/>
              </a:solidFill>
              <a:ln w="2857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193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kern="0" err="1">
                  <a:solidFill>
                    <a:srgbClr val="FFFFFF"/>
                  </a:soli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28" name="Oval 127">
                <a:extLst>
                  <a:ext uri="{FF2B5EF4-FFF2-40B4-BE49-F238E27FC236}">
                    <a16:creationId xmlns:a16="http://schemas.microsoft.com/office/drawing/2014/main" id="{8B4E6C8D-ACD0-462E-9897-C7CF2BD21F69}"/>
                  </a:ext>
                </a:extLst>
              </p:cNvPr>
              <p:cNvSpPr/>
              <p:nvPr/>
            </p:nvSpPr>
            <p:spPr bwMode="auto">
              <a:xfrm>
                <a:off x="9884544" y="4908014"/>
                <a:ext cx="35559" cy="35559"/>
              </a:xfrm>
              <a:prstGeom prst="ellipse">
                <a:avLst/>
              </a:prstGeom>
              <a:solidFill>
                <a:srgbClr val="001F54"/>
              </a:solidFill>
              <a:ln w="2857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193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kern="0" err="1">
                  <a:solidFill>
                    <a:srgbClr val="FFFFFF"/>
                  </a:soli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29" name="Oval 128">
                <a:extLst>
                  <a:ext uri="{FF2B5EF4-FFF2-40B4-BE49-F238E27FC236}">
                    <a16:creationId xmlns:a16="http://schemas.microsoft.com/office/drawing/2014/main" id="{B03968A8-A6AA-44E8-A9BC-694091323BFB}"/>
                  </a:ext>
                </a:extLst>
              </p:cNvPr>
              <p:cNvSpPr/>
              <p:nvPr/>
            </p:nvSpPr>
            <p:spPr bwMode="auto">
              <a:xfrm>
                <a:off x="9884544" y="4994391"/>
                <a:ext cx="35559" cy="35559"/>
              </a:xfrm>
              <a:prstGeom prst="ellipse">
                <a:avLst/>
              </a:prstGeom>
              <a:solidFill>
                <a:srgbClr val="001F54"/>
              </a:solidFill>
              <a:ln w="2857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193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kern="0" err="1">
                  <a:solidFill>
                    <a:srgbClr val="FFFFFF"/>
                  </a:soli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30" name="Oval 129">
                <a:extLst>
                  <a:ext uri="{FF2B5EF4-FFF2-40B4-BE49-F238E27FC236}">
                    <a16:creationId xmlns:a16="http://schemas.microsoft.com/office/drawing/2014/main" id="{C8F14B1E-AD86-45D1-913D-E9FF80B569DA}"/>
                  </a:ext>
                </a:extLst>
              </p:cNvPr>
              <p:cNvSpPr/>
              <p:nvPr/>
            </p:nvSpPr>
            <p:spPr bwMode="auto">
              <a:xfrm>
                <a:off x="9884544" y="5080767"/>
                <a:ext cx="35559" cy="35559"/>
              </a:xfrm>
              <a:prstGeom prst="ellipse">
                <a:avLst/>
              </a:prstGeom>
              <a:solidFill>
                <a:srgbClr val="001F54"/>
              </a:solidFill>
              <a:ln w="2857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193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kern="0" err="1">
                  <a:solidFill>
                    <a:srgbClr val="FFFFFF"/>
                  </a:soli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31" name="Oval 130">
                <a:extLst>
                  <a:ext uri="{FF2B5EF4-FFF2-40B4-BE49-F238E27FC236}">
                    <a16:creationId xmlns:a16="http://schemas.microsoft.com/office/drawing/2014/main" id="{8756938E-E91B-43FA-B0D0-F4487D6E004E}"/>
                  </a:ext>
                </a:extLst>
              </p:cNvPr>
              <p:cNvSpPr/>
              <p:nvPr/>
            </p:nvSpPr>
            <p:spPr bwMode="auto">
              <a:xfrm>
                <a:off x="9884544" y="5167144"/>
                <a:ext cx="35559" cy="35559"/>
              </a:xfrm>
              <a:prstGeom prst="ellipse">
                <a:avLst/>
              </a:prstGeom>
              <a:solidFill>
                <a:srgbClr val="001F54"/>
              </a:solidFill>
              <a:ln w="2857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193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kern="0" err="1">
                  <a:solidFill>
                    <a:srgbClr val="FFFFFF"/>
                  </a:soli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32" name="Oval 131">
                <a:extLst>
                  <a:ext uri="{FF2B5EF4-FFF2-40B4-BE49-F238E27FC236}">
                    <a16:creationId xmlns:a16="http://schemas.microsoft.com/office/drawing/2014/main" id="{7135AA4B-BAAB-40E9-962A-3DC44457F90E}"/>
                  </a:ext>
                </a:extLst>
              </p:cNvPr>
              <p:cNvSpPr/>
              <p:nvPr/>
            </p:nvSpPr>
            <p:spPr bwMode="auto">
              <a:xfrm>
                <a:off x="9884544" y="5253520"/>
                <a:ext cx="35559" cy="35559"/>
              </a:xfrm>
              <a:prstGeom prst="ellipse">
                <a:avLst/>
              </a:prstGeom>
              <a:solidFill>
                <a:srgbClr val="001F54"/>
              </a:solidFill>
              <a:ln w="2857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193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kern="0" err="1">
                  <a:solidFill>
                    <a:srgbClr val="FFFFFF"/>
                  </a:soli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07" name="Rectangle 106">
                <a:extLst>
                  <a:ext uri="{FF2B5EF4-FFF2-40B4-BE49-F238E27FC236}">
                    <a16:creationId xmlns:a16="http://schemas.microsoft.com/office/drawing/2014/main" id="{674F4ABF-15B5-4C0F-958F-13B5DD1C6AD8}"/>
                  </a:ext>
                </a:extLst>
              </p:cNvPr>
              <p:cNvSpPr/>
              <p:nvPr/>
            </p:nvSpPr>
            <p:spPr bwMode="auto">
              <a:xfrm>
                <a:off x="10080595" y="4785481"/>
                <a:ext cx="316607" cy="540463"/>
              </a:xfrm>
              <a:prstGeom prst="rect">
                <a:avLst/>
              </a:prstGeom>
              <a:noFill/>
              <a:ln w="28575" cap="flat" cmpd="sng" algn="ctr">
                <a:solidFill>
                  <a:srgbClr val="001F54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193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kern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108" name="Straight Connector 107">
                <a:extLst>
                  <a:ext uri="{FF2B5EF4-FFF2-40B4-BE49-F238E27FC236}">
                    <a16:creationId xmlns:a16="http://schemas.microsoft.com/office/drawing/2014/main" id="{B974FE53-F91C-4E87-BF12-730B996C91A6}"/>
                  </a:ext>
                </a:extLst>
              </p:cNvPr>
              <p:cNvCxnSpPr/>
              <p:nvPr/>
            </p:nvCxnSpPr>
            <p:spPr>
              <a:xfrm>
                <a:off x="10080595" y="4884323"/>
                <a:ext cx="316607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001F54"/>
                </a:solidFill>
                <a:prstDash val="solid"/>
                <a:headEnd type="none"/>
                <a:tailEnd type="none"/>
              </a:ln>
              <a:effectLst/>
            </p:spPr>
          </p:cxnSp>
          <p:cxnSp>
            <p:nvCxnSpPr>
              <p:cNvPr id="109" name="Straight Connector 108">
                <a:extLst>
                  <a:ext uri="{FF2B5EF4-FFF2-40B4-BE49-F238E27FC236}">
                    <a16:creationId xmlns:a16="http://schemas.microsoft.com/office/drawing/2014/main" id="{94ADD0AB-2414-460D-A5CC-2FA5870A9961}"/>
                  </a:ext>
                </a:extLst>
              </p:cNvPr>
              <p:cNvCxnSpPr/>
              <p:nvPr/>
            </p:nvCxnSpPr>
            <p:spPr>
              <a:xfrm>
                <a:off x="10080595" y="4970681"/>
                <a:ext cx="316607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001F54"/>
                </a:solidFill>
                <a:prstDash val="solid"/>
                <a:headEnd type="none"/>
                <a:tailEnd type="none"/>
              </a:ln>
              <a:effectLst/>
            </p:spPr>
          </p:cxnSp>
          <p:cxnSp>
            <p:nvCxnSpPr>
              <p:cNvPr id="110" name="Straight Connector 109">
                <a:extLst>
                  <a:ext uri="{FF2B5EF4-FFF2-40B4-BE49-F238E27FC236}">
                    <a16:creationId xmlns:a16="http://schemas.microsoft.com/office/drawing/2014/main" id="{99E87FA1-2B06-4748-BA58-26491E0680FD}"/>
                  </a:ext>
                </a:extLst>
              </p:cNvPr>
              <p:cNvCxnSpPr/>
              <p:nvPr/>
            </p:nvCxnSpPr>
            <p:spPr>
              <a:xfrm>
                <a:off x="10080595" y="5057040"/>
                <a:ext cx="316607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001F54"/>
                </a:solidFill>
                <a:prstDash val="solid"/>
                <a:headEnd type="none"/>
                <a:tailEnd type="none"/>
              </a:ln>
              <a:effectLst/>
            </p:spPr>
          </p:cxnSp>
          <p:cxnSp>
            <p:nvCxnSpPr>
              <p:cNvPr id="111" name="Straight Connector 110">
                <a:extLst>
                  <a:ext uri="{FF2B5EF4-FFF2-40B4-BE49-F238E27FC236}">
                    <a16:creationId xmlns:a16="http://schemas.microsoft.com/office/drawing/2014/main" id="{CC69AB13-E667-4C4B-B24D-A3EB6F1EBB39}"/>
                  </a:ext>
                </a:extLst>
              </p:cNvPr>
              <p:cNvCxnSpPr/>
              <p:nvPr/>
            </p:nvCxnSpPr>
            <p:spPr>
              <a:xfrm>
                <a:off x="10080595" y="5143399"/>
                <a:ext cx="316607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001F54"/>
                </a:solidFill>
                <a:prstDash val="solid"/>
                <a:headEnd type="none"/>
                <a:tailEnd type="none"/>
              </a:ln>
              <a:effectLst/>
            </p:spPr>
          </p:cxnSp>
          <p:cxnSp>
            <p:nvCxnSpPr>
              <p:cNvPr id="112" name="Straight Connector 111">
                <a:extLst>
                  <a:ext uri="{FF2B5EF4-FFF2-40B4-BE49-F238E27FC236}">
                    <a16:creationId xmlns:a16="http://schemas.microsoft.com/office/drawing/2014/main" id="{BE522286-BE9B-4207-AAE0-35FF4696A934}"/>
                  </a:ext>
                </a:extLst>
              </p:cNvPr>
              <p:cNvCxnSpPr/>
              <p:nvPr/>
            </p:nvCxnSpPr>
            <p:spPr>
              <a:xfrm>
                <a:off x="10080595" y="5229757"/>
                <a:ext cx="316607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001F54"/>
                </a:solidFill>
                <a:prstDash val="solid"/>
                <a:headEnd type="none"/>
                <a:tailEnd type="none"/>
              </a:ln>
              <a:effectLst/>
            </p:spPr>
          </p:cxnSp>
          <p:sp>
            <p:nvSpPr>
              <p:cNvPr id="113" name="Oval 112">
                <a:extLst>
                  <a:ext uri="{FF2B5EF4-FFF2-40B4-BE49-F238E27FC236}">
                    <a16:creationId xmlns:a16="http://schemas.microsoft.com/office/drawing/2014/main" id="{BF00AA11-7209-4782-8D72-BAE204B3C427}"/>
                  </a:ext>
                </a:extLst>
              </p:cNvPr>
              <p:cNvSpPr/>
              <p:nvPr/>
            </p:nvSpPr>
            <p:spPr bwMode="auto">
              <a:xfrm>
                <a:off x="10305451" y="4821638"/>
                <a:ext cx="35559" cy="35559"/>
              </a:xfrm>
              <a:prstGeom prst="ellipse">
                <a:avLst/>
              </a:prstGeom>
              <a:solidFill>
                <a:srgbClr val="001F54"/>
              </a:solidFill>
              <a:ln w="2857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193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kern="0" err="1">
                  <a:solidFill>
                    <a:srgbClr val="FFFFFF"/>
                  </a:soli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14" name="Oval 113">
                <a:extLst>
                  <a:ext uri="{FF2B5EF4-FFF2-40B4-BE49-F238E27FC236}">
                    <a16:creationId xmlns:a16="http://schemas.microsoft.com/office/drawing/2014/main" id="{BE454473-567D-4306-BA89-E67DE531D812}"/>
                  </a:ext>
                </a:extLst>
              </p:cNvPr>
              <p:cNvSpPr/>
              <p:nvPr/>
            </p:nvSpPr>
            <p:spPr bwMode="auto">
              <a:xfrm>
                <a:off x="10305451" y="4908014"/>
                <a:ext cx="35559" cy="35559"/>
              </a:xfrm>
              <a:prstGeom prst="ellipse">
                <a:avLst/>
              </a:prstGeom>
              <a:solidFill>
                <a:srgbClr val="001F54"/>
              </a:solidFill>
              <a:ln w="2857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193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kern="0" err="1">
                  <a:solidFill>
                    <a:srgbClr val="FFFFFF"/>
                  </a:soli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15" name="Oval 114">
                <a:extLst>
                  <a:ext uri="{FF2B5EF4-FFF2-40B4-BE49-F238E27FC236}">
                    <a16:creationId xmlns:a16="http://schemas.microsoft.com/office/drawing/2014/main" id="{EDB75672-C178-4928-9128-B731394EBB1E}"/>
                  </a:ext>
                </a:extLst>
              </p:cNvPr>
              <p:cNvSpPr/>
              <p:nvPr/>
            </p:nvSpPr>
            <p:spPr bwMode="auto">
              <a:xfrm>
                <a:off x="10305451" y="4994391"/>
                <a:ext cx="35559" cy="35559"/>
              </a:xfrm>
              <a:prstGeom prst="ellipse">
                <a:avLst/>
              </a:prstGeom>
              <a:solidFill>
                <a:srgbClr val="001F54"/>
              </a:solidFill>
              <a:ln w="2857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193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kern="0" err="1">
                  <a:solidFill>
                    <a:srgbClr val="FFFFFF"/>
                  </a:soli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16" name="Oval 115">
                <a:extLst>
                  <a:ext uri="{FF2B5EF4-FFF2-40B4-BE49-F238E27FC236}">
                    <a16:creationId xmlns:a16="http://schemas.microsoft.com/office/drawing/2014/main" id="{16DABEDB-C694-4FA2-94C6-AF318C5FA659}"/>
                  </a:ext>
                </a:extLst>
              </p:cNvPr>
              <p:cNvSpPr/>
              <p:nvPr/>
            </p:nvSpPr>
            <p:spPr bwMode="auto">
              <a:xfrm>
                <a:off x="10305451" y="5080767"/>
                <a:ext cx="35559" cy="35559"/>
              </a:xfrm>
              <a:prstGeom prst="ellipse">
                <a:avLst/>
              </a:prstGeom>
              <a:solidFill>
                <a:srgbClr val="001F54"/>
              </a:solidFill>
              <a:ln w="2857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193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kern="0" err="1">
                  <a:solidFill>
                    <a:srgbClr val="FFFFFF"/>
                  </a:soli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17" name="Oval 116">
                <a:extLst>
                  <a:ext uri="{FF2B5EF4-FFF2-40B4-BE49-F238E27FC236}">
                    <a16:creationId xmlns:a16="http://schemas.microsoft.com/office/drawing/2014/main" id="{BF1D8CDD-E0D9-411D-A6BB-5D122213B101}"/>
                  </a:ext>
                </a:extLst>
              </p:cNvPr>
              <p:cNvSpPr/>
              <p:nvPr/>
            </p:nvSpPr>
            <p:spPr bwMode="auto">
              <a:xfrm>
                <a:off x="10305451" y="5167144"/>
                <a:ext cx="35559" cy="35559"/>
              </a:xfrm>
              <a:prstGeom prst="ellipse">
                <a:avLst/>
              </a:prstGeom>
              <a:solidFill>
                <a:srgbClr val="001F54"/>
              </a:solidFill>
              <a:ln w="2857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193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kern="0" err="1">
                  <a:solidFill>
                    <a:srgbClr val="FFFFFF"/>
                  </a:soli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19" name="Oval 118">
                <a:extLst>
                  <a:ext uri="{FF2B5EF4-FFF2-40B4-BE49-F238E27FC236}">
                    <a16:creationId xmlns:a16="http://schemas.microsoft.com/office/drawing/2014/main" id="{79990126-B141-4278-ACBE-57BDFC759E8A}"/>
                  </a:ext>
                </a:extLst>
              </p:cNvPr>
              <p:cNvSpPr/>
              <p:nvPr/>
            </p:nvSpPr>
            <p:spPr bwMode="auto">
              <a:xfrm>
                <a:off x="10305451" y="5253520"/>
                <a:ext cx="35559" cy="35559"/>
              </a:xfrm>
              <a:prstGeom prst="ellipse">
                <a:avLst/>
              </a:prstGeom>
              <a:solidFill>
                <a:srgbClr val="001F54"/>
              </a:solidFill>
              <a:ln w="2857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193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kern="0" err="1">
                  <a:solidFill>
                    <a:srgbClr val="FFFFFF"/>
                  </a:soli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sp>
        <p:nvSpPr>
          <p:cNvPr id="91" name="Rectangle 90">
            <a:extLst>
              <a:ext uri="{FF2B5EF4-FFF2-40B4-BE49-F238E27FC236}">
                <a16:creationId xmlns:a16="http://schemas.microsoft.com/office/drawing/2014/main" id="{6ACC106D-0B3A-451A-97C3-CBECB9DA5404}"/>
              </a:ext>
            </a:extLst>
          </p:cNvPr>
          <p:cNvSpPr/>
          <p:nvPr/>
        </p:nvSpPr>
        <p:spPr>
          <a:xfrm>
            <a:off x="413806" y="1826914"/>
            <a:ext cx="1233053" cy="345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1599" kern="0" spc="50">
                <a:solidFill>
                  <a:srgbClr val="353535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ductive</a:t>
            </a:r>
          </a:p>
        </p:txBody>
      </p:sp>
      <p:sp>
        <p:nvSpPr>
          <p:cNvPr id="93" name="speedometer_2">
            <a:extLst>
              <a:ext uri="{FF2B5EF4-FFF2-40B4-BE49-F238E27FC236}">
                <a16:creationId xmlns:a16="http://schemas.microsoft.com/office/drawing/2014/main" id="{96511714-CFA8-4E88-B24C-FF03D2B0D71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17775" y="1183560"/>
            <a:ext cx="439680" cy="439678"/>
          </a:xfrm>
          <a:custGeom>
            <a:avLst/>
            <a:gdLst>
              <a:gd name="T0" fmla="*/ 155 w 281"/>
              <a:gd name="T1" fmla="*/ 155 h 281"/>
              <a:gd name="T2" fmla="*/ 126 w 281"/>
              <a:gd name="T3" fmla="*/ 155 h 281"/>
              <a:gd name="T4" fmla="*/ 126 w 281"/>
              <a:gd name="T5" fmla="*/ 126 h 281"/>
              <a:gd name="T6" fmla="*/ 155 w 281"/>
              <a:gd name="T7" fmla="*/ 126 h 281"/>
              <a:gd name="T8" fmla="*/ 155 w 281"/>
              <a:gd name="T9" fmla="*/ 155 h 281"/>
              <a:gd name="T10" fmla="*/ 140 w 281"/>
              <a:gd name="T11" fmla="*/ 0 h 281"/>
              <a:gd name="T12" fmla="*/ 0 w 281"/>
              <a:gd name="T13" fmla="*/ 141 h 281"/>
              <a:gd name="T14" fmla="*/ 140 w 281"/>
              <a:gd name="T15" fmla="*/ 281 h 281"/>
              <a:gd name="T16" fmla="*/ 281 w 281"/>
              <a:gd name="T17" fmla="*/ 141 h 281"/>
              <a:gd name="T18" fmla="*/ 140 w 281"/>
              <a:gd name="T19" fmla="*/ 0 h 281"/>
              <a:gd name="T20" fmla="*/ 214 w 281"/>
              <a:gd name="T21" fmla="*/ 210 h 281"/>
              <a:gd name="T22" fmla="*/ 241 w 281"/>
              <a:gd name="T23" fmla="*/ 141 h 281"/>
              <a:gd name="T24" fmla="*/ 235 w 281"/>
              <a:gd name="T25" fmla="*/ 105 h 281"/>
              <a:gd name="T26" fmla="*/ 174 w 281"/>
              <a:gd name="T27" fmla="*/ 45 h 281"/>
              <a:gd name="T28" fmla="*/ 140 w 281"/>
              <a:gd name="T29" fmla="*/ 40 h 281"/>
              <a:gd name="T30" fmla="*/ 40 w 281"/>
              <a:gd name="T31" fmla="*/ 141 h 281"/>
              <a:gd name="T32" fmla="*/ 67 w 281"/>
              <a:gd name="T33" fmla="*/ 210 h 281"/>
              <a:gd name="T34" fmla="*/ 212 w 281"/>
              <a:gd name="T35" fmla="*/ 69 h 281"/>
              <a:gd name="T36" fmla="*/ 157 w 281"/>
              <a:gd name="T37" fmla="*/ 124 h 2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81" h="281">
                <a:moveTo>
                  <a:pt x="155" y="155"/>
                </a:moveTo>
                <a:cubicBezTo>
                  <a:pt x="147" y="164"/>
                  <a:pt x="134" y="164"/>
                  <a:pt x="126" y="155"/>
                </a:cubicBezTo>
                <a:cubicBezTo>
                  <a:pt x="117" y="147"/>
                  <a:pt x="117" y="134"/>
                  <a:pt x="126" y="126"/>
                </a:cubicBezTo>
                <a:cubicBezTo>
                  <a:pt x="134" y="118"/>
                  <a:pt x="147" y="117"/>
                  <a:pt x="155" y="126"/>
                </a:cubicBezTo>
                <a:cubicBezTo>
                  <a:pt x="164" y="134"/>
                  <a:pt x="164" y="147"/>
                  <a:pt x="155" y="155"/>
                </a:cubicBezTo>
                <a:close/>
                <a:moveTo>
                  <a:pt x="140" y="0"/>
                </a:moveTo>
                <a:cubicBezTo>
                  <a:pt x="63" y="0"/>
                  <a:pt x="0" y="63"/>
                  <a:pt x="0" y="141"/>
                </a:cubicBezTo>
                <a:cubicBezTo>
                  <a:pt x="0" y="218"/>
                  <a:pt x="63" y="281"/>
                  <a:pt x="140" y="281"/>
                </a:cubicBezTo>
                <a:cubicBezTo>
                  <a:pt x="218" y="281"/>
                  <a:pt x="281" y="218"/>
                  <a:pt x="281" y="141"/>
                </a:cubicBezTo>
                <a:cubicBezTo>
                  <a:pt x="281" y="63"/>
                  <a:pt x="218" y="0"/>
                  <a:pt x="140" y="0"/>
                </a:cubicBezTo>
                <a:close/>
                <a:moveTo>
                  <a:pt x="214" y="210"/>
                </a:moveTo>
                <a:cubicBezTo>
                  <a:pt x="231" y="192"/>
                  <a:pt x="241" y="168"/>
                  <a:pt x="241" y="141"/>
                </a:cubicBezTo>
                <a:cubicBezTo>
                  <a:pt x="241" y="128"/>
                  <a:pt x="239" y="116"/>
                  <a:pt x="235" y="105"/>
                </a:cubicBezTo>
                <a:moveTo>
                  <a:pt x="174" y="45"/>
                </a:moveTo>
                <a:cubicBezTo>
                  <a:pt x="163" y="42"/>
                  <a:pt x="152" y="40"/>
                  <a:pt x="140" y="40"/>
                </a:cubicBezTo>
                <a:cubicBezTo>
                  <a:pt x="85" y="40"/>
                  <a:pt x="40" y="85"/>
                  <a:pt x="40" y="141"/>
                </a:cubicBezTo>
                <a:cubicBezTo>
                  <a:pt x="40" y="168"/>
                  <a:pt x="50" y="192"/>
                  <a:pt x="67" y="210"/>
                </a:cubicBezTo>
                <a:moveTo>
                  <a:pt x="212" y="69"/>
                </a:moveTo>
                <a:cubicBezTo>
                  <a:pt x="157" y="124"/>
                  <a:pt x="157" y="124"/>
                  <a:pt x="157" y="124"/>
                </a:cubicBezTo>
              </a:path>
            </a:pathLst>
          </a:custGeom>
          <a:noFill/>
          <a:ln w="28575">
            <a:solidFill>
              <a:srgbClr val="B3B2B4"/>
            </a:solidFill>
            <a:headEnd type="none" w="med" len="med"/>
            <a:tailEnd type="none" w="med" len="med"/>
          </a:ln>
          <a:effectLst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8240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accel="10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" dur="500" fill="hold"/>
                                        <p:tgtEl>
                                          <p:spTgt spid="38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" presetClass="emph" presetSubtype="0" accel="10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" dur="500" fill="hold"/>
                                        <p:tgtEl>
                                          <p:spTgt spid="40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6" presetClass="emph" presetSubtype="0" accel="10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9" dur="500" fill="hold"/>
                                        <p:tgtEl>
                                          <p:spTgt spid="41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" presetClass="emph" presetSubtype="0" accel="10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4" dur="500" fill="hold"/>
                                        <p:tgtEl>
                                          <p:spTgt spid="87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6" presetClass="emph" presetSubtype="0" accel="10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28" dur="250" fill="hold"/>
                                        <p:tgtEl>
                                          <p:spTgt spid="48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29" presetID="35" presetClass="path" presetSubtype="0" decel="100000" fill="hold" grpId="2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1.04167E-6 -1.11111E-6 L 1.04167E-6 0.11667 " pathEditMode="relative" rAng="0" ptsTypes="AA">
                                      <p:cBhvr>
                                        <p:cTn id="30" dur="600" spd="-10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833"/>
                                    </p:animMotion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6" presetClass="emph" presetSubtype="0" accel="10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34" dur="250" fill="hold"/>
                                        <p:tgtEl>
                                          <p:spTgt spid="50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35" presetID="35" presetClass="path" presetSubtype="0" decel="100000" fill="hold" grpId="2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2.70833E-6 -1.11111E-6 L 2.70833E-6 0.11667 " pathEditMode="relative" rAng="0" ptsTypes="AA">
                                      <p:cBhvr>
                                        <p:cTn id="36" dur="600" spd="-100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833"/>
                                    </p:animMotion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6" presetClass="emph" presetSubtype="0" accel="10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40" dur="250" fill="hold"/>
                                        <p:tgtEl>
                                          <p:spTgt spid="51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41" presetID="35" presetClass="path" presetSubtype="0" decel="100000" fill="hold" grpId="2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4.16667E-6 -1.11111E-6 L 4.16667E-6 0.11667 " pathEditMode="relative" rAng="0" ptsTypes="AA">
                                      <p:cBhvr>
                                        <p:cTn id="42" dur="600" spd="-100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833"/>
                                    </p:animMotion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6" presetClass="emph" presetSubtype="0" accel="10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46" dur="250" fill="hold"/>
                                        <p:tgtEl>
                                          <p:spTgt spid="88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47" presetID="35" presetClass="path" presetSubtype="0" decel="100000" fill="hold" grpId="2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4.16667E-6 -1.11111E-6 L -4.16667E-6 0.11667 " pathEditMode="relative" rAng="0" ptsTypes="AA">
                                      <p:cBhvr>
                                        <p:cTn id="48" dur="600" spd="-1000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833"/>
                                    </p:animMotion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6" presetClass="emph" presetSubtype="0" accel="10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52" dur="250" fill="hold"/>
                                        <p:tgtEl>
                                          <p:spTgt spid="44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53" presetID="35" presetClass="path" presetSubtype="0" decel="100000" fill="hold" grpId="2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1.04167E-6 7.40741E-7 L 1.04167E-6 -0.12431 " pathEditMode="relative" rAng="0" ptsTypes="AA">
                                      <p:cBhvr>
                                        <p:cTn id="54" dur="600" spd="-100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227"/>
                                    </p:animMotion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6" presetClass="emph" presetSubtype="0" accel="10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58" dur="250" fill="hold"/>
                                        <p:tgtEl>
                                          <p:spTgt spid="46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59" presetID="35" presetClass="path" presetSubtype="0" decel="100000" fill="hold" grpId="2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2.70833E-6 7.40741E-7 L 2.70833E-6 -0.12431 " pathEditMode="relative" rAng="0" ptsTypes="AA">
                                      <p:cBhvr>
                                        <p:cTn id="60" dur="600" spd="-100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227"/>
                                    </p:animMotion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6" presetClass="emph" presetSubtype="0" accel="10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64" dur="250" fill="hold"/>
                                        <p:tgtEl>
                                          <p:spTgt spid="47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65" presetID="35" presetClass="path" presetSubtype="0" decel="100000" fill="hold" grpId="2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4.16667E-6 7.40741E-7 L 4.16667E-6 -0.12431 " pathEditMode="relative" rAng="0" ptsTypes="AA">
                                      <p:cBhvr>
                                        <p:cTn id="66" dur="600" spd="-100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227"/>
                                    </p:animMotion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6" presetClass="emph" presetSubtype="0" accel="10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70" dur="250" fill="hold"/>
                                        <p:tgtEl>
                                          <p:spTgt spid="89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71" presetID="35" presetClass="path" presetSubtype="0" decel="100000" fill="hold" grpId="2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4.16667E-6 7.40741E-7 L -4.16667E-6 -0.12431 " pathEditMode="relative" rAng="0" ptsTypes="AA">
                                      <p:cBhvr>
                                        <p:cTn id="72" dur="600" spd="-100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227"/>
                                    </p:animMotion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4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1.25E-6 -1.85185E-6 L 1.25E-6 0.0963 " pathEditMode="relative" rAng="0" ptsTypes="AA">
                                      <p:cBhvr>
                                        <p:cTn id="80" dur="700" spd="-100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815"/>
                                    </p:animMotion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4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2.70833E-6 -1.85185E-6 L 2.70833E-6 0.0963 " pathEditMode="relative" rAng="0" ptsTypes="AA">
                                      <p:cBhvr>
                                        <p:cTn id="85" dur="700" spd="-100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815"/>
                                    </p:animMotion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4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4.375E-6 -1.85185E-6 L 4.375E-6 0.0963 " pathEditMode="relative" rAng="0" ptsTypes="AA">
                                      <p:cBhvr>
                                        <p:cTn id="90" dur="700" spd="-100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815"/>
                                    </p:animMotion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4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4.16667E-6 -1.85185E-6 L -4.16667E-6 0.0963 " pathEditMode="relative" rAng="0" ptsTypes="AA">
                                      <p:cBhvr>
                                        <p:cTn id="95" dur="700" spd="-100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815"/>
                                    </p:animMotion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4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1.25E-6 1.11111E-6 L 1.25E-6 -0.09537 " pathEditMode="relative" rAng="0" ptsTypes="AA">
                                      <p:cBhvr>
                                        <p:cTn id="100" dur="700" spd="-100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769"/>
                                    </p:animMotion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4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2.70833E-6 1.11111E-6 L 2.70833E-6 -0.09537 " pathEditMode="relative" rAng="0" ptsTypes="AA">
                                      <p:cBhvr>
                                        <p:cTn id="105" dur="700" spd="-100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769"/>
                                    </p:animMotion>
                                  </p:childTnLst>
                                </p:cTn>
                              </p:par>
                              <p:par>
                                <p:cTn id="106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4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4.375E-6 1.11111E-6 L 4.375E-6 -0.09537 " pathEditMode="relative" rAng="0" ptsTypes="AA">
                                      <p:cBhvr>
                                        <p:cTn id="110" dur="700" spd="-100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769"/>
                                    </p:animMotion>
                                  </p:childTnLst>
                                </p:cTn>
                              </p:par>
                              <p:par>
                                <p:cTn id="111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4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4.16667E-6 1.11111E-6 L -4.16667E-6 -0.09537 " pathEditMode="relative" rAng="0" ptsTypes="AA">
                                      <p:cBhvr>
                                        <p:cTn id="115" dur="700" spd="-100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769"/>
                                    </p:animMotion>
                                  </p:childTnLst>
                                </p:cTn>
                              </p:par>
                              <p:par>
                                <p:cTn id="1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75E-6 4.81481E-6 L 3.75E-6 0.04583 " pathEditMode="relative" rAng="0" ptsTypes="AA">
                                      <p:cBhvr>
                                        <p:cTn id="120" dur="500" spd="-100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29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1" grpId="0" animBg="1"/>
      <p:bldP spid="51" grpId="1" animBg="1"/>
      <p:bldP spid="51" grpId="2" animBg="1"/>
      <p:bldP spid="47" grpId="0" animBg="1"/>
      <p:bldP spid="47" grpId="1" animBg="1"/>
      <p:bldP spid="47" grpId="2" animBg="1"/>
      <p:bldP spid="62" grpId="0"/>
      <p:bldP spid="62" grpId="1"/>
      <p:bldP spid="76" grpId="0"/>
      <p:bldP spid="76" grpId="1"/>
      <p:bldP spid="88" grpId="0" animBg="1"/>
      <p:bldP spid="88" grpId="1" animBg="1"/>
      <p:bldP spid="88" grpId="2" animBg="1"/>
      <p:bldP spid="89" grpId="0" animBg="1"/>
      <p:bldP spid="89" grpId="1" animBg="1"/>
      <p:bldP spid="89" grpId="2" animBg="1"/>
      <p:bldP spid="90" grpId="0"/>
      <p:bldP spid="90" grpId="1"/>
      <p:bldP spid="92" grpId="0"/>
      <p:bldP spid="92" grpId="1"/>
      <p:bldP spid="50" grpId="0" animBg="1"/>
      <p:bldP spid="50" grpId="1" animBg="1"/>
      <p:bldP spid="50" grpId="2" animBg="1"/>
      <p:bldP spid="46" grpId="0" animBg="1"/>
      <p:bldP spid="46" grpId="1" animBg="1"/>
      <p:bldP spid="46" grpId="2" animBg="1"/>
      <p:bldP spid="59" grpId="0"/>
      <p:bldP spid="59" grpId="1"/>
      <p:bldP spid="70" grpId="0"/>
      <p:bldP spid="70" grpId="1"/>
      <p:bldP spid="41" grpId="0" animBg="1"/>
      <p:bldP spid="41" grpId="1" animBg="1"/>
      <p:bldP spid="87" grpId="0" animBg="1"/>
      <p:bldP spid="87" grpId="1" animBg="1"/>
      <p:bldP spid="40" grpId="0" animBg="1"/>
      <p:bldP spid="40" grpId="1" animBg="1"/>
      <p:bldP spid="38" grpId="0" animBg="1"/>
      <p:bldP spid="38" grpId="1" animBg="1"/>
      <p:bldP spid="48" grpId="0" animBg="1"/>
      <p:bldP spid="48" grpId="1" animBg="1"/>
      <p:bldP spid="48" grpId="2" animBg="1"/>
      <p:bldP spid="44" grpId="0" animBg="1"/>
      <p:bldP spid="44" grpId="1" animBg="1"/>
      <p:bldP spid="44" grpId="2" animBg="1"/>
      <p:bldP spid="53" grpId="0"/>
      <p:bldP spid="53" grpId="1"/>
      <p:bldP spid="67" grpId="0"/>
      <p:bldP spid="67" grpId="1"/>
      <p:bldP spid="49" grpId="0"/>
      <p:bldP spid="49" grpId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 bwMode="auto">
          <a:xfrm>
            <a:off x="881" y="-6477"/>
            <a:ext cx="12434712" cy="6994525"/>
          </a:xfrm>
          <a:prstGeom prst="rect">
            <a:avLst/>
          </a:prstGeom>
          <a:solidFill>
            <a:srgbClr val="F2F2F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48" err="1">
              <a:ln>
                <a:solidFill>
                  <a:sysClr val="windowText" lastClr="000000"/>
                </a:solidFill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998038-252F-4A79-BEF3-C5734235F8A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730310" y="1588414"/>
            <a:ext cx="8693786" cy="917444"/>
          </a:xfrm>
        </p:spPr>
        <p:txBody>
          <a:bodyPr/>
          <a:lstStyle/>
          <a:p>
            <a:pPr algn="ctr">
              <a:spcAft>
                <a:spcPts val="600"/>
              </a:spcAft>
              <a:defRPr/>
            </a:pPr>
            <a:r>
              <a:rPr lang="en-US" sz="4399" dirty="0">
                <a:gradFill>
                  <a:gsLst>
                    <a:gs pos="6952">
                      <a:srgbClr val="353535"/>
                    </a:gs>
                    <a:gs pos="18182">
                      <a:srgbClr val="353535"/>
                    </a:gs>
                  </a:gsLst>
                  <a:lin ang="0" scaled="0"/>
                </a:gradFill>
                <a:latin typeface="Segoe UI Light"/>
              </a:rPr>
              <a:t>Azure Stack: an extension of Azur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878BACA-665C-43E8-B79F-5D1734674749}"/>
              </a:ext>
            </a:extLst>
          </p:cNvPr>
          <p:cNvSpPr/>
          <p:nvPr/>
        </p:nvSpPr>
        <p:spPr>
          <a:xfrm>
            <a:off x="2353973" y="4439436"/>
            <a:ext cx="3006920" cy="884833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32418">
              <a:defRPr/>
            </a:pPr>
            <a:r>
              <a:rPr lang="en-US" sz="2040" b="1" dirty="0">
                <a:solidFill>
                  <a:srgbClr val="0078D7"/>
                </a:solidFill>
                <a:ea typeface="Segoe UI Light" charset="0"/>
                <a:cs typeface="Segoe UI Light" charset="0"/>
              </a:rPr>
              <a:t>At the edge and disconnected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B850DE3-4FE1-48DD-AF58-DEC1AFF52AD2}"/>
              </a:ext>
            </a:extLst>
          </p:cNvPr>
          <p:cNvSpPr/>
          <p:nvPr/>
        </p:nvSpPr>
        <p:spPr>
          <a:xfrm>
            <a:off x="8900531" y="4439436"/>
            <a:ext cx="3006920" cy="884833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32418">
              <a:defRPr/>
            </a:pPr>
            <a:r>
              <a:rPr lang="en-US" sz="2040" b="1" dirty="0">
                <a:solidFill>
                  <a:srgbClr val="0078D7"/>
                </a:solidFill>
                <a:ea typeface="Segoe UI Light" charset="0"/>
                <a:cs typeface="Segoe UI Light" charset="0"/>
              </a:rPr>
              <a:t>Cloud application </a:t>
            </a:r>
            <a:br>
              <a:rPr lang="en-US" sz="2040" b="1" dirty="0">
                <a:solidFill>
                  <a:srgbClr val="0078D7"/>
                </a:solidFill>
                <a:ea typeface="Segoe UI Light" charset="0"/>
                <a:cs typeface="Segoe UI Light" charset="0"/>
              </a:rPr>
            </a:br>
            <a:r>
              <a:rPr lang="en-US" sz="2040" b="1" dirty="0">
                <a:solidFill>
                  <a:srgbClr val="0078D7"/>
                </a:solidFill>
                <a:ea typeface="Segoe UI Light" charset="0"/>
                <a:cs typeface="Segoe UI Light" charset="0"/>
              </a:rPr>
              <a:t>model on-premis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1C07C58-0548-44EC-A326-ED3073E59F48}"/>
              </a:ext>
            </a:extLst>
          </p:cNvPr>
          <p:cNvSpPr/>
          <p:nvPr/>
        </p:nvSpPr>
        <p:spPr>
          <a:xfrm>
            <a:off x="5543903" y="4439436"/>
            <a:ext cx="3006920" cy="884833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32418">
              <a:defRPr/>
            </a:pPr>
            <a:r>
              <a:rPr lang="en-US" sz="2040" b="1" dirty="0">
                <a:solidFill>
                  <a:srgbClr val="0078D7"/>
                </a:solidFill>
                <a:ea typeface="Segoe UI Light" charset="0"/>
                <a:cs typeface="Segoe UI Light" charset="0"/>
              </a:rPr>
              <a:t>Meet every regulatory requirement</a:t>
            </a:r>
          </a:p>
        </p:txBody>
      </p:sp>
      <p:sp>
        <p:nvSpPr>
          <p:cNvPr id="6" name="Manufacturing_E99C">
            <a:extLst>
              <a:ext uri="{FF2B5EF4-FFF2-40B4-BE49-F238E27FC236}">
                <a16:creationId xmlns:a16="http://schemas.microsoft.com/office/drawing/2014/main" id="{FF976AA6-6ADE-4E21-80F4-4F6241EF04E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433928" y="3289119"/>
            <a:ext cx="858062" cy="838796"/>
          </a:xfrm>
          <a:custGeom>
            <a:avLst/>
            <a:gdLst>
              <a:gd name="T0" fmla="*/ 3549 w 3875"/>
              <a:gd name="T1" fmla="*/ 2212 h 3788"/>
              <a:gd name="T2" fmla="*/ 3875 w 3875"/>
              <a:gd name="T3" fmla="*/ 2538 h 3788"/>
              <a:gd name="T4" fmla="*/ 3875 w 3875"/>
              <a:gd name="T5" fmla="*/ 2913 h 3788"/>
              <a:gd name="T6" fmla="*/ 3195 w 3875"/>
              <a:gd name="T7" fmla="*/ 2218 h 3788"/>
              <a:gd name="T8" fmla="*/ 2875 w 3875"/>
              <a:gd name="T9" fmla="*/ 2538 h 3788"/>
              <a:gd name="T10" fmla="*/ 2875 w 3875"/>
              <a:gd name="T11" fmla="*/ 2913 h 3788"/>
              <a:gd name="T12" fmla="*/ 1000 w 3875"/>
              <a:gd name="T13" fmla="*/ 1413 h 3788"/>
              <a:gd name="T14" fmla="*/ 375 w 3875"/>
              <a:gd name="T15" fmla="*/ 2038 h 3788"/>
              <a:gd name="T16" fmla="*/ 375 w 3875"/>
              <a:gd name="T17" fmla="*/ 3788 h 3788"/>
              <a:gd name="T18" fmla="*/ 1625 w 3875"/>
              <a:gd name="T19" fmla="*/ 3788 h 3788"/>
              <a:gd name="T20" fmla="*/ 1625 w 3875"/>
              <a:gd name="T21" fmla="*/ 2038 h 3788"/>
              <a:gd name="T22" fmla="*/ 1000 w 3875"/>
              <a:gd name="T23" fmla="*/ 1413 h 3788"/>
              <a:gd name="T24" fmla="*/ 0 w 3875"/>
              <a:gd name="T25" fmla="*/ 3788 h 3788"/>
              <a:gd name="T26" fmla="*/ 2000 w 3875"/>
              <a:gd name="T27" fmla="*/ 3788 h 3788"/>
              <a:gd name="T28" fmla="*/ 1000 w 3875"/>
              <a:gd name="T29" fmla="*/ 2038 h 3788"/>
              <a:gd name="T30" fmla="*/ 875 w 3875"/>
              <a:gd name="T31" fmla="*/ 2163 h 3788"/>
              <a:gd name="T32" fmla="*/ 1000 w 3875"/>
              <a:gd name="T33" fmla="*/ 2288 h 3788"/>
              <a:gd name="T34" fmla="*/ 1125 w 3875"/>
              <a:gd name="T35" fmla="*/ 2163 h 3788"/>
              <a:gd name="T36" fmla="*/ 1000 w 3875"/>
              <a:gd name="T37" fmla="*/ 2038 h 3788"/>
              <a:gd name="T38" fmla="*/ 3054 w 3875"/>
              <a:gd name="T39" fmla="*/ 1920 h 3788"/>
              <a:gd name="T40" fmla="*/ 3518 w 3875"/>
              <a:gd name="T41" fmla="*/ 1722 h 3788"/>
              <a:gd name="T42" fmla="*/ 1604 w 3875"/>
              <a:gd name="T43" fmla="*/ 1875 h 3788"/>
              <a:gd name="T44" fmla="*/ 2769 w 3875"/>
              <a:gd name="T45" fmla="*/ 674 h 3788"/>
              <a:gd name="T46" fmla="*/ 2761 w 3875"/>
              <a:gd name="T47" fmla="*/ 144 h 3788"/>
              <a:gd name="T48" fmla="*/ 2231 w 3875"/>
              <a:gd name="T49" fmla="*/ 152 h 3788"/>
              <a:gd name="T50" fmla="*/ 1007 w 3875"/>
              <a:gd name="T51" fmla="*/ 1413 h 3788"/>
              <a:gd name="T52" fmla="*/ 3141 w 3875"/>
              <a:gd name="T53" fmla="*/ 2139 h 3788"/>
              <a:gd name="T54" fmla="*/ 3508 w 3875"/>
              <a:gd name="T55" fmla="*/ 2246 h 3788"/>
              <a:gd name="T56" fmla="*/ 3592 w 3875"/>
              <a:gd name="T57" fmla="*/ 1924 h 3788"/>
              <a:gd name="T58" fmla="*/ 2846 w 3875"/>
              <a:gd name="T59" fmla="*/ 268 h 3788"/>
              <a:gd name="T60" fmla="*/ 3141 w 3875"/>
              <a:gd name="T61" fmla="*/ 2139 h 3788"/>
              <a:gd name="T62" fmla="*/ 2575 w 3875"/>
              <a:gd name="T63" fmla="*/ 874 h 3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875" h="3788">
                <a:moveTo>
                  <a:pt x="3549" y="2212"/>
                </a:moveTo>
                <a:cubicBezTo>
                  <a:pt x="3875" y="2538"/>
                  <a:pt x="3875" y="2538"/>
                  <a:pt x="3875" y="2538"/>
                </a:cubicBezTo>
                <a:cubicBezTo>
                  <a:pt x="3875" y="2913"/>
                  <a:pt x="3875" y="2913"/>
                  <a:pt x="3875" y="2913"/>
                </a:cubicBezTo>
                <a:moveTo>
                  <a:pt x="3195" y="2218"/>
                </a:moveTo>
                <a:cubicBezTo>
                  <a:pt x="2875" y="2538"/>
                  <a:pt x="2875" y="2538"/>
                  <a:pt x="2875" y="2538"/>
                </a:cubicBezTo>
                <a:cubicBezTo>
                  <a:pt x="2875" y="2913"/>
                  <a:pt x="2875" y="2913"/>
                  <a:pt x="2875" y="2913"/>
                </a:cubicBezTo>
                <a:moveTo>
                  <a:pt x="1000" y="1413"/>
                </a:moveTo>
                <a:cubicBezTo>
                  <a:pt x="655" y="1413"/>
                  <a:pt x="375" y="1693"/>
                  <a:pt x="375" y="2038"/>
                </a:cubicBezTo>
                <a:cubicBezTo>
                  <a:pt x="375" y="3788"/>
                  <a:pt x="375" y="3788"/>
                  <a:pt x="375" y="3788"/>
                </a:cubicBezTo>
                <a:cubicBezTo>
                  <a:pt x="1625" y="3788"/>
                  <a:pt x="1625" y="3788"/>
                  <a:pt x="1625" y="3788"/>
                </a:cubicBezTo>
                <a:cubicBezTo>
                  <a:pt x="1625" y="2038"/>
                  <a:pt x="1625" y="2038"/>
                  <a:pt x="1625" y="2038"/>
                </a:cubicBezTo>
                <a:cubicBezTo>
                  <a:pt x="1625" y="1693"/>
                  <a:pt x="1345" y="1413"/>
                  <a:pt x="1000" y="1413"/>
                </a:cubicBezTo>
                <a:close/>
                <a:moveTo>
                  <a:pt x="0" y="3788"/>
                </a:moveTo>
                <a:cubicBezTo>
                  <a:pt x="2000" y="3788"/>
                  <a:pt x="2000" y="3788"/>
                  <a:pt x="2000" y="3788"/>
                </a:cubicBezTo>
                <a:moveTo>
                  <a:pt x="1000" y="2038"/>
                </a:moveTo>
                <a:cubicBezTo>
                  <a:pt x="931" y="2038"/>
                  <a:pt x="875" y="2094"/>
                  <a:pt x="875" y="2163"/>
                </a:cubicBezTo>
                <a:cubicBezTo>
                  <a:pt x="875" y="2232"/>
                  <a:pt x="931" y="2288"/>
                  <a:pt x="1000" y="2288"/>
                </a:cubicBezTo>
                <a:cubicBezTo>
                  <a:pt x="1069" y="2288"/>
                  <a:pt x="1125" y="2232"/>
                  <a:pt x="1125" y="2163"/>
                </a:cubicBezTo>
                <a:cubicBezTo>
                  <a:pt x="1125" y="2094"/>
                  <a:pt x="1069" y="2038"/>
                  <a:pt x="1000" y="2038"/>
                </a:cubicBezTo>
                <a:close/>
                <a:moveTo>
                  <a:pt x="3054" y="1920"/>
                </a:moveTo>
                <a:cubicBezTo>
                  <a:pt x="3518" y="1722"/>
                  <a:pt x="3518" y="1722"/>
                  <a:pt x="3518" y="1722"/>
                </a:cubicBezTo>
                <a:moveTo>
                  <a:pt x="1604" y="1875"/>
                </a:moveTo>
                <a:cubicBezTo>
                  <a:pt x="2769" y="674"/>
                  <a:pt x="2769" y="674"/>
                  <a:pt x="2769" y="674"/>
                </a:cubicBezTo>
                <a:cubicBezTo>
                  <a:pt x="2913" y="526"/>
                  <a:pt x="2910" y="288"/>
                  <a:pt x="2761" y="144"/>
                </a:cubicBezTo>
                <a:cubicBezTo>
                  <a:pt x="2613" y="0"/>
                  <a:pt x="2375" y="3"/>
                  <a:pt x="2231" y="152"/>
                </a:cubicBezTo>
                <a:cubicBezTo>
                  <a:pt x="1007" y="1413"/>
                  <a:pt x="1007" y="1413"/>
                  <a:pt x="1007" y="1413"/>
                </a:cubicBezTo>
                <a:moveTo>
                  <a:pt x="3141" y="2139"/>
                </a:moveTo>
                <a:cubicBezTo>
                  <a:pt x="3202" y="2278"/>
                  <a:pt x="3375" y="2333"/>
                  <a:pt x="3508" y="2246"/>
                </a:cubicBezTo>
                <a:cubicBezTo>
                  <a:pt x="3612" y="2178"/>
                  <a:pt x="3643" y="2038"/>
                  <a:pt x="3592" y="1924"/>
                </a:cubicBezTo>
                <a:cubicBezTo>
                  <a:pt x="2846" y="268"/>
                  <a:pt x="2846" y="268"/>
                  <a:pt x="2846" y="268"/>
                </a:cubicBezTo>
                <a:moveTo>
                  <a:pt x="3141" y="2139"/>
                </a:moveTo>
                <a:cubicBezTo>
                  <a:pt x="2575" y="874"/>
                  <a:pt x="2575" y="874"/>
                  <a:pt x="2575" y="874"/>
                </a:cubicBezTo>
              </a:path>
            </a:pathLst>
          </a:custGeom>
          <a:noFill/>
          <a:ln w="31750">
            <a:solidFill>
              <a:srgbClr val="001F50"/>
            </a:solidFill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sp>
        <p:nvSpPr>
          <p:cNvPr id="8" name="building_4">
            <a:extLst>
              <a:ext uri="{FF2B5EF4-FFF2-40B4-BE49-F238E27FC236}">
                <a16:creationId xmlns:a16="http://schemas.microsoft.com/office/drawing/2014/main" id="{0E605066-4202-4501-930B-BC4E2D3C9F9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996625" y="3289119"/>
            <a:ext cx="825786" cy="838796"/>
          </a:xfrm>
          <a:custGeom>
            <a:avLst/>
            <a:gdLst>
              <a:gd name="T0" fmla="*/ 200 w 254"/>
              <a:gd name="T1" fmla="*/ 258 h 258"/>
              <a:gd name="T2" fmla="*/ 55 w 254"/>
              <a:gd name="T3" fmla="*/ 44 h 258"/>
              <a:gd name="T4" fmla="*/ 200 w 254"/>
              <a:gd name="T5" fmla="*/ 44 h 258"/>
              <a:gd name="T6" fmla="*/ 55 w 254"/>
              <a:gd name="T7" fmla="*/ 72 h 258"/>
              <a:gd name="T8" fmla="*/ 0 w 254"/>
              <a:gd name="T9" fmla="*/ 258 h 258"/>
              <a:gd name="T10" fmla="*/ 21 w 254"/>
              <a:gd name="T11" fmla="*/ 102 h 258"/>
              <a:gd name="T12" fmla="*/ 21 w 254"/>
              <a:gd name="T13" fmla="*/ 128 h 258"/>
              <a:gd name="T14" fmla="*/ 21 w 254"/>
              <a:gd name="T15" fmla="*/ 155 h 258"/>
              <a:gd name="T16" fmla="*/ 21 w 254"/>
              <a:gd name="T17" fmla="*/ 182 h 258"/>
              <a:gd name="T18" fmla="*/ 21 w 254"/>
              <a:gd name="T19" fmla="*/ 209 h 258"/>
              <a:gd name="T20" fmla="*/ 200 w 254"/>
              <a:gd name="T21" fmla="*/ 258 h 258"/>
              <a:gd name="T22" fmla="*/ 254 w 254"/>
              <a:gd name="T23" fmla="*/ 72 h 258"/>
              <a:gd name="T24" fmla="*/ 234 w 254"/>
              <a:gd name="T25" fmla="*/ 102 h 258"/>
              <a:gd name="T26" fmla="*/ 234 w 254"/>
              <a:gd name="T27" fmla="*/ 128 h 258"/>
              <a:gd name="T28" fmla="*/ 234 w 254"/>
              <a:gd name="T29" fmla="*/ 155 h 258"/>
              <a:gd name="T30" fmla="*/ 234 w 254"/>
              <a:gd name="T31" fmla="*/ 182 h 258"/>
              <a:gd name="T32" fmla="*/ 234 w 254"/>
              <a:gd name="T33" fmla="*/ 209 h 258"/>
              <a:gd name="T34" fmla="*/ 96 w 254"/>
              <a:gd name="T35" fmla="*/ 71 h 258"/>
              <a:gd name="T36" fmla="*/ 87 w 254"/>
              <a:gd name="T37" fmla="*/ 66 h 258"/>
              <a:gd name="T38" fmla="*/ 96 w 254"/>
              <a:gd name="T39" fmla="*/ 76 h 258"/>
              <a:gd name="T40" fmla="*/ 132 w 254"/>
              <a:gd name="T41" fmla="*/ 71 h 258"/>
              <a:gd name="T42" fmla="*/ 122 w 254"/>
              <a:gd name="T43" fmla="*/ 66 h 258"/>
              <a:gd name="T44" fmla="*/ 132 w 254"/>
              <a:gd name="T45" fmla="*/ 76 h 258"/>
              <a:gd name="T46" fmla="*/ 168 w 254"/>
              <a:gd name="T47" fmla="*/ 71 h 258"/>
              <a:gd name="T48" fmla="*/ 158 w 254"/>
              <a:gd name="T49" fmla="*/ 66 h 258"/>
              <a:gd name="T50" fmla="*/ 168 w 254"/>
              <a:gd name="T51" fmla="*/ 76 h 258"/>
              <a:gd name="T52" fmla="*/ 96 w 254"/>
              <a:gd name="T53" fmla="*/ 109 h 258"/>
              <a:gd name="T54" fmla="*/ 87 w 254"/>
              <a:gd name="T55" fmla="*/ 104 h 258"/>
              <a:gd name="T56" fmla="*/ 96 w 254"/>
              <a:gd name="T57" fmla="*/ 114 h 258"/>
              <a:gd name="T58" fmla="*/ 132 w 254"/>
              <a:gd name="T59" fmla="*/ 109 h 258"/>
              <a:gd name="T60" fmla="*/ 122 w 254"/>
              <a:gd name="T61" fmla="*/ 104 h 258"/>
              <a:gd name="T62" fmla="*/ 132 w 254"/>
              <a:gd name="T63" fmla="*/ 114 h 258"/>
              <a:gd name="T64" fmla="*/ 168 w 254"/>
              <a:gd name="T65" fmla="*/ 109 h 258"/>
              <a:gd name="T66" fmla="*/ 158 w 254"/>
              <a:gd name="T67" fmla="*/ 104 h 258"/>
              <a:gd name="T68" fmla="*/ 168 w 254"/>
              <a:gd name="T69" fmla="*/ 114 h 258"/>
              <a:gd name="T70" fmla="*/ 96 w 254"/>
              <a:gd name="T71" fmla="*/ 147 h 258"/>
              <a:gd name="T72" fmla="*/ 87 w 254"/>
              <a:gd name="T73" fmla="*/ 142 h 258"/>
              <a:gd name="T74" fmla="*/ 96 w 254"/>
              <a:gd name="T75" fmla="*/ 152 h 258"/>
              <a:gd name="T76" fmla="*/ 132 w 254"/>
              <a:gd name="T77" fmla="*/ 147 h 258"/>
              <a:gd name="T78" fmla="*/ 122 w 254"/>
              <a:gd name="T79" fmla="*/ 142 h 258"/>
              <a:gd name="T80" fmla="*/ 132 w 254"/>
              <a:gd name="T81" fmla="*/ 152 h 258"/>
              <a:gd name="T82" fmla="*/ 168 w 254"/>
              <a:gd name="T83" fmla="*/ 147 h 258"/>
              <a:gd name="T84" fmla="*/ 158 w 254"/>
              <a:gd name="T85" fmla="*/ 142 h 258"/>
              <a:gd name="T86" fmla="*/ 168 w 254"/>
              <a:gd name="T87" fmla="*/ 152 h 258"/>
              <a:gd name="T88" fmla="*/ 96 w 254"/>
              <a:gd name="T89" fmla="*/ 185 h 258"/>
              <a:gd name="T90" fmla="*/ 87 w 254"/>
              <a:gd name="T91" fmla="*/ 180 h 258"/>
              <a:gd name="T92" fmla="*/ 96 w 254"/>
              <a:gd name="T93" fmla="*/ 190 h 258"/>
              <a:gd name="T94" fmla="*/ 132 w 254"/>
              <a:gd name="T95" fmla="*/ 186 h 258"/>
              <a:gd name="T96" fmla="*/ 122 w 254"/>
              <a:gd name="T97" fmla="*/ 180 h 258"/>
              <a:gd name="T98" fmla="*/ 132 w 254"/>
              <a:gd name="T99" fmla="*/ 190 h 258"/>
              <a:gd name="T100" fmla="*/ 168 w 254"/>
              <a:gd name="T101" fmla="*/ 184 h 258"/>
              <a:gd name="T102" fmla="*/ 158 w 254"/>
              <a:gd name="T103" fmla="*/ 180 h 258"/>
              <a:gd name="T104" fmla="*/ 168 w 254"/>
              <a:gd name="T105" fmla="*/ 190 h 258"/>
              <a:gd name="T106" fmla="*/ 163 w 254"/>
              <a:gd name="T107" fmla="*/ 258 h 258"/>
              <a:gd name="T108" fmla="*/ 92 w 254"/>
              <a:gd name="T109" fmla="*/ 217 h 2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54" h="258">
                <a:moveTo>
                  <a:pt x="200" y="146"/>
                </a:moveTo>
                <a:lnTo>
                  <a:pt x="200" y="258"/>
                </a:lnTo>
                <a:lnTo>
                  <a:pt x="55" y="258"/>
                </a:lnTo>
                <a:lnTo>
                  <a:pt x="55" y="44"/>
                </a:lnTo>
                <a:lnTo>
                  <a:pt x="127" y="0"/>
                </a:lnTo>
                <a:lnTo>
                  <a:pt x="200" y="44"/>
                </a:lnTo>
                <a:lnTo>
                  <a:pt x="200" y="146"/>
                </a:lnTo>
                <a:moveTo>
                  <a:pt x="55" y="72"/>
                </a:moveTo>
                <a:lnTo>
                  <a:pt x="0" y="72"/>
                </a:lnTo>
                <a:lnTo>
                  <a:pt x="0" y="258"/>
                </a:lnTo>
                <a:lnTo>
                  <a:pt x="55" y="258"/>
                </a:lnTo>
                <a:moveTo>
                  <a:pt x="21" y="102"/>
                </a:moveTo>
                <a:lnTo>
                  <a:pt x="55" y="102"/>
                </a:lnTo>
                <a:moveTo>
                  <a:pt x="21" y="128"/>
                </a:moveTo>
                <a:lnTo>
                  <a:pt x="55" y="128"/>
                </a:lnTo>
                <a:moveTo>
                  <a:pt x="21" y="155"/>
                </a:moveTo>
                <a:lnTo>
                  <a:pt x="55" y="155"/>
                </a:lnTo>
                <a:moveTo>
                  <a:pt x="21" y="182"/>
                </a:moveTo>
                <a:lnTo>
                  <a:pt x="55" y="182"/>
                </a:lnTo>
                <a:moveTo>
                  <a:pt x="21" y="209"/>
                </a:moveTo>
                <a:lnTo>
                  <a:pt x="55" y="209"/>
                </a:lnTo>
                <a:moveTo>
                  <a:pt x="200" y="258"/>
                </a:moveTo>
                <a:lnTo>
                  <a:pt x="254" y="258"/>
                </a:lnTo>
                <a:lnTo>
                  <a:pt x="254" y="72"/>
                </a:lnTo>
                <a:lnTo>
                  <a:pt x="200" y="72"/>
                </a:lnTo>
                <a:moveTo>
                  <a:pt x="234" y="102"/>
                </a:moveTo>
                <a:lnTo>
                  <a:pt x="200" y="102"/>
                </a:lnTo>
                <a:moveTo>
                  <a:pt x="234" y="128"/>
                </a:moveTo>
                <a:lnTo>
                  <a:pt x="200" y="128"/>
                </a:lnTo>
                <a:moveTo>
                  <a:pt x="234" y="155"/>
                </a:moveTo>
                <a:lnTo>
                  <a:pt x="200" y="155"/>
                </a:lnTo>
                <a:moveTo>
                  <a:pt x="234" y="182"/>
                </a:moveTo>
                <a:lnTo>
                  <a:pt x="200" y="182"/>
                </a:lnTo>
                <a:moveTo>
                  <a:pt x="234" y="209"/>
                </a:moveTo>
                <a:lnTo>
                  <a:pt x="200" y="209"/>
                </a:lnTo>
                <a:moveTo>
                  <a:pt x="96" y="71"/>
                </a:moveTo>
                <a:lnTo>
                  <a:pt x="96" y="66"/>
                </a:lnTo>
                <a:lnTo>
                  <a:pt x="87" y="66"/>
                </a:lnTo>
                <a:lnTo>
                  <a:pt x="87" y="76"/>
                </a:lnTo>
                <a:lnTo>
                  <a:pt x="96" y="76"/>
                </a:lnTo>
                <a:lnTo>
                  <a:pt x="96" y="71"/>
                </a:lnTo>
                <a:moveTo>
                  <a:pt x="132" y="71"/>
                </a:moveTo>
                <a:lnTo>
                  <a:pt x="132" y="66"/>
                </a:lnTo>
                <a:lnTo>
                  <a:pt x="122" y="66"/>
                </a:lnTo>
                <a:lnTo>
                  <a:pt x="122" y="76"/>
                </a:lnTo>
                <a:lnTo>
                  <a:pt x="132" y="76"/>
                </a:lnTo>
                <a:lnTo>
                  <a:pt x="132" y="71"/>
                </a:lnTo>
                <a:moveTo>
                  <a:pt x="168" y="71"/>
                </a:moveTo>
                <a:lnTo>
                  <a:pt x="168" y="66"/>
                </a:lnTo>
                <a:lnTo>
                  <a:pt x="158" y="66"/>
                </a:lnTo>
                <a:lnTo>
                  <a:pt x="158" y="76"/>
                </a:lnTo>
                <a:lnTo>
                  <a:pt x="168" y="76"/>
                </a:lnTo>
                <a:lnTo>
                  <a:pt x="168" y="71"/>
                </a:lnTo>
                <a:moveTo>
                  <a:pt x="96" y="109"/>
                </a:moveTo>
                <a:lnTo>
                  <a:pt x="96" y="104"/>
                </a:lnTo>
                <a:lnTo>
                  <a:pt x="87" y="104"/>
                </a:lnTo>
                <a:lnTo>
                  <a:pt x="87" y="114"/>
                </a:lnTo>
                <a:lnTo>
                  <a:pt x="96" y="114"/>
                </a:lnTo>
                <a:lnTo>
                  <a:pt x="96" y="109"/>
                </a:lnTo>
                <a:moveTo>
                  <a:pt x="132" y="109"/>
                </a:moveTo>
                <a:lnTo>
                  <a:pt x="132" y="104"/>
                </a:lnTo>
                <a:lnTo>
                  <a:pt x="122" y="104"/>
                </a:lnTo>
                <a:lnTo>
                  <a:pt x="122" y="114"/>
                </a:lnTo>
                <a:lnTo>
                  <a:pt x="132" y="114"/>
                </a:lnTo>
                <a:lnTo>
                  <a:pt x="132" y="109"/>
                </a:lnTo>
                <a:moveTo>
                  <a:pt x="168" y="109"/>
                </a:moveTo>
                <a:lnTo>
                  <a:pt x="168" y="104"/>
                </a:lnTo>
                <a:lnTo>
                  <a:pt x="158" y="104"/>
                </a:lnTo>
                <a:lnTo>
                  <a:pt x="158" y="114"/>
                </a:lnTo>
                <a:lnTo>
                  <a:pt x="168" y="114"/>
                </a:lnTo>
                <a:lnTo>
                  <a:pt x="168" y="109"/>
                </a:lnTo>
                <a:moveTo>
                  <a:pt x="96" y="147"/>
                </a:moveTo>
                <a:lnTo>
                  <a:pt x="96" y="142"/>
                </a:lnTo>
                <a:lnTo>
                  <a:pt x="87" y="142"/>
                </a:lnTo>
                <a:lnTo>
                  <a:pt x="87" y="152"/>
                </a:lnTo>
                <a:lnTo>
                  <a:pt x="96" y="152"/>
                </a:lnTo>
                <a:lnTo>
                  <a:pt x="96" y="147"/>
                </a:lnTo>
                <a:moveTo>
                  <a:pt x="132" y="147"/>
                </a:moveTo>
                <a:lnTo>
                  <a:pt x="132" y="142"/>
                </a:lnTo>
                <a:lnTo>
                  <a:pt x="122" y="142"/>
                </a:lnTo>
                <a:lnTo>
                  <a:pt x="122" y="152"/>
                </a:lnTo>
                <a:lnTo>
                  <a:pt x="132" y="152"/>
                </a:lnTo>
                <a:lnTo>
                  <a:pt x="132" y="147"/>
                </a:lnTo>
                <a:moveTo>
                  <a:pt x="168" y="147"/>
                </a:moveTo>
                <a:lnTo>
                  <a:pt x="168" y="142"/>
                </a:lnTo>
                <a:lnTo>
                  <a:pt x="158" y="142"/>
                </a:lnTo>
                <a:lnTo>
                  <a:pt x="158" y="152"/>
                </a:lnTo>
                <a:lnTo>
                  <a:pt x="168" y="152"/>
                </a:lnTo>
                <a:lnTo>
                  <a:pt x="168" y="147"/>
                </a:lnTo>
                <a:moveTo>
                  <a:pt x="96" y="185"/>
                </a:moveTo>
                <a:lnTo>
                  <a:pt x="96" y="180"/>
                </a:lnTo>
                <a:lnTo>
                  <a:pt x="87" y="180"/>
                </a:lnTo>
                <a:lnTo>
                  <a:pt x="87" y="190"/>
                </a:lnTo>
                <a:lnTo>
                  <a:pt x="96" y="190"/>
                </a:lnTo>
                <a:lnTo>
                  <a:pt x="96" y="185"/>
                </a:lnTo>
                <a:moveTo>
                  <a:pt x="132" y="186"/>
                </a:moveTo>
                <a:lnTo>
                  <a:pt x="132" y="180"/>
                </a:lnTo>
                <a:lnTo>
                  <a:pt x="122" y="180"/>
                </a:lnTo>
                <a:lnTo>
                  <a:pt x="122" y="190"/>
                </a:lnTo>
                <a:lnTo>
                  <a:pt x="132" y="190"/>
                </a:lnTo>
                <a:lnTo>
                  <a:pt x="132" y="186"/>
                </a:lnTo>
                <a:moveTo>
                  <a:pt x="168" y="184"/>
                </a:moveTo>
                <a:lnTo>
                  <a:pt x="168" y="180"/>
                </a:lnTo>
                <a:lnTo>
                  <a:pt x="158" y="180"/>
                </a:lnTo>
                <a:lnTo>
                  <a:pt x="158" y="190"/>
                </a:lnTo>
                <a:lnTo>
                  <a:pt x="168" y="190"/>
                </a:lnTo>
                <a:lnTo>
                  <a:pt x="168" y="184"/>
                </a:lnTo>
                <a:moveTo>
                  <a:pt x="163" y="258"/>
                </a:moveTo>
                <a:lnTo>
                  <a:pt x="163" y="217"/>
                </a:lnTo>
                <a:lnTo>
                  <a:pt x="92" y="217"/>
                </a:lnTo>
                <a:lnTo>
                  <a:pt x="92" y="258"/>
                </a:lnTo>
              </a:path>
            </a:pathLst>
          </a:custGeom>
          <a:noFill/>
          <a:ln w="31750">
            <a:solidFill>
              <a:srgbClr val="001F50"/>
            </a:solidFill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sp>
        <p:nvSpPr>
          <p:cNvPr id="9" name="building_9">
            <a:extLst>
              <a:ext uri="{FF2B5EF4-FFF2-40B4-BE49-F238E27FC236}">
                <a16:creationId xmlns:a16="http://schemas.microsoft.com/office/drawing/2014/main" id="{EA01BE84-4B88-4C31-AA17-A7CFCFA0585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641507" y="3289119"/>
            <a:ext cx="822765" cy="838796"/>
          </a:xfrm>
          <a:custGeom>
            <a:avLst/>
            <a:gdLst>
              <a:gd name="T0" fmla="*/ 337 w 462"/>
              <a:gd name="T1" fmla="*/ 130 h 471"/>
              <a:gd name="T2" fmla="*/ 462 w 462"/>
              <a:gd name="T3" fmla="*/ 194 h 471"/>
              <a:gd name="T4" fmla="*/ 0 w 462"/>
              <a:gd name="T5" fmla="*/ 194 h 471"/>
              <a:gd name="T6" fmla="*/ 231 w 462"/>
              <a:gd name="T7" fmla="*/ 78 h 471"/>
              <a:gd name="T8" fmla="*/ 337 w 462"/>
              <a:gd name="T9" fmla="*/ 130 h 471"/>
              <a:gd name="T10" fmla="*/ 37 w 462"/>
              <a:gd name="T11" fmla="*/ 434 h 471"/>
              <a:gd name="T12" fmla="*/ 24 w 462"/>
              <a:gd name="T13" fmla="*/ 471 h 471"/>
              <a:gd name="T14" fmla="*/ 439 w 462"/>
              <a:gd name="T15" fmla="*/ 471 h 471"/>
              <a:gd name="T16" fmla="*/ 411 w 462"/>
              <a:gd name="T17" fmla="*/ 399 h 471"/>
              <a:gd name="T18" fmla="*/ 51 w 462"/>
              <a:gd name="T19" fmla="*/ 399 h 471"/>
              <a:gd name="T20" fmla="*/ 37 w 462"/>
              <a:gd name="T21" fmla="*/ 434 h 471"/>
              <a:gd name="T22" fmla="*/ 51 w 462"/>
              <a:gd name="T23" fmla="*/ 399 h 471"/>
              <a:gd name="T24" fmla="*/ 51 w 462"/>
              <a:gd name="T25" fmla="*/ 194 h 471"/>
              <a:gd name="T26" fmla="*/ 411 w 462"/>
              <a:gd name="T27" fmla="*/ 399 h 471"/>
              <a:gd name="T28" fmla="*/ 411 w 462"/>
              <a:gd name="T29" fmla="*/ 194 h 471"/>
              <a:gd name="T30" fmla="*/ 351 w 462"/>
              <a:gd name="T31" fmla="*/ 399 h 471"/>
              <a:gd name="T32" fmla="*/ 351 w 462"/>
              <a:gd name="T33" fmla="*/ 194 h 471"/>
              <a:gd name="T34" fmla="*/ 292 w 462"/>
              <a:gd name="T35" fmla="*/ 399 h 471"/>
              <a:gd name="T36" fmla="*/ 292 w 462"/>
              <a:gd name="T37" fmla="*/ 194 h 471"/>
              <a:gd name="T38" fmla="*/ 231 w 462"/>
              <a:gd name="T39" fmla="*/ 399 h 471"/>
              <a:gd name="T40" fmla="*/ 231 w 462"/>
              <a:gd name="T41" fmla="*/ 194 h 471"/>
              <a:gd name="T42" fmla="*/ 171 w 462"/>
              <a:gd name="T43" fmla="*/ 399 h 471"/>
              <a:gd name="T44" fmla="*/ 171 w 462"/>
              <a:gd name="T45" fmla="*/ 194 h 471"/>
              <a:gd name="T46" fmla="*/ 112 w 462"/>
              <a:gd name="T47" fmla="*/ 399 h 471"/>
              <a:gd name="T48" fmla="*/ 112 w 462"/>
              <a:gd name="T49" fmla="*/ 194 h 471"/>
              <a:gd name="T50" fmla="*/ 233 w 462"/>
              <a:gd name="T51" fmla="*/ 39 h 471"/>
              <a:gd name="T52" fmla="*/ 299 w 462"/>
              <a:gd name="T53" fmla="*/ 39 h 471"/>
              <a:gd name="T54" fmla="*/ 299 w 462"/>
              <a:gd name="T55" fmla="*/ 0 h 471"/>
              <a:gd name="T56" fmla="*/ 231 w 462"/>
              <a:gd name="T57" fmla="*/ 0 h 471"/>
              <a:gd name="T58" fmla="*/ 231 w 462"/>
              <a:gd name="T59" fmla="*/ 78 h 4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462" h="471">
                <a:moveTo>
                  <a:pt x="337" y="130"/>
                </a:moveTo>
                <a:lnTo>
                  <a:pt x="462" y="194"/>
                </a:lnTo>
                <a:lnTo>
                  <a:pt x="0" y="194"/>
                </a:lnTo>
                <a:lnTo>
                  <a:pt x="231" y="78"/>
                </a:lnTo>
                <a:lnTo>
                  <a:pt x="337" y="130"/>
                </a:lnTo>
                <a:moveTo>
                  <a:pt x="37" y="434"/>
                </a:moveTo>
                <a:lnTo>
                  <a:pt x="24" y="471"/>
                </a:lnTo>
                <a:lnTo>
                  <a:pt x="439" y="471"/>
                </a:lnTo>
                <a:lnTo>
                  <a:pt x="411" y="399"/>
                </a:lnTo>
                <a:lnTo>
                  <a:pt x="51" y="399"/>
                </a:lnTo>
                <a:lnTo>
                  <a:pt x="37" y="434"/>
                </a:lnTo>
                <a:moveTo>
                  <a:pt x="51" y="399"/>
                </a:moveTo>
                <a:lnTo>
                  <a:pt x="51" y="194"/>
                </a:lnTo>
                <a:moveTo>
                  <a:pt x="411" y="399"/>
                </a:moveTo>
                <a:lnTo>
                  <a:pt x="411" y="194"/>
                </a:lnTo>
                <a:moveTo>
                  <a:pt x="351" y="399"/>
                </a:moveTo>
                <a:lnTo>
                  <a:pt x="351" y="194"/>
                </a:lnTo>
                <a:moveTo>
                  <a:pt x="292" y="399"/>
                </a:moveTo>
                <a:lnTo>
                  <a:pt x="292" y="194"/>
                </a:lnTo>
                <a:moveTo>
                  <a:pt x="231" y="399"/>
                </a:moveTo>
                <a:lnTo>
                  <a:pt x="231" y="194"/>
                </a:lnTo>
                <a:moveTo>
                  <a:pt x="171" y="399"/>
                </a:moveTo>
                <a:lnTo>
                  <a:pt x="171" y="194"/>
                </a:lnTo>
                <a:moveTo>
                  <a:pt x="112" y="399"/>
                </a:moveTo>
                <a:lnTo>
                  <a:pt x="112" y="194"/>
                </a:lnTo>
                <a:moveTo>
                  <a:pt x="233" y="39"/>
                </a:moveTo>
                <a:lnTo>
                  <a:pt x="299" y="39"/>
                </a:lnTo>
                <a:lnTo>
                  <a:pt x="299" y="0"/>
                </a:lnTo>
                <a:lnTo>
                  <a:pt x="231" y="0"/>
                </a:lnTo>
                <a:lnTo>
                  <a:pt x="231" y="78"/>
                </a:lnTo>
              </a:path>
            </a:pathLst>
          </a:custGeom>
          <a:noFill/>
          <a:ln w="31750">
            <a:solidFill>
              <a:srgbClr val="001F50"/>
            </a:solidFill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88BB89F7-22BE-402F-8BF9-F1355B22F3C5}"/>
              </a:ext>
            </a:extLst>
          </p:cNvPr>
          <p:cNvCxnSpPr>
            <a:cxnSpLocks/>
          </p:cNvCxnSpPr>
          <p:nvPr/>
        </p:nvCxnSpPr>
        <p:spPr>
          <a:xfrm>
            <a:off x="1994007" y="496"/>
            <a:ext cx="0" cy="7025446"/>
          </a:xfrm>
          <a:prstGeom prst="line">
            <a:avLst/>
          </a:prstGeom>
          <a:noFill/>
          <a:ln w="19050" cap="flat">
            <a:solidFill>
              <a:srgbClr val="FFFFFF">
                <a:lumMod val="75000"/>
                <a:alpha val="70000"/>
              </a:srgb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cxnSp>
      <p:sp>
        <p:nvSpPr>
          <p:cNvPr id="46" name="Rectangle 45">
            <a:extLst>
              <a:ext uri="{FF2B5EF4-FFF2-40B4-BE49-F238E27FC236}">
                <a16:creationId xmlns:a16="http://schemas.microsoft.com/office/drawing/2014/main" id="{7ADE3359-4163-41CA-A790-7E240C4BFC36}"/>
              </a:ext>
            </a:extLst>
          </p:cNvPr>
          <p:cNvSpPr/>
          <p:nvPr/>
        </p:nvSpPr>
        <p:spPr>
          <a:xfrm>
            <a:off x="555210" y="5859328"/>
            <a:ext cx="924053" cy="345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1599" kern="0" spc="50">
                <a:solidFill>
                  <a:srgbClr val="353535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usted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1529E82A-B810-4BF4-92EA-AF1FBD134144}"/>
              </a:ext>
            </a:extLst>
          </p:cNvPr>
          <p:cNvSpPr/>
          <p:nvPr/>
        </p:nvSpPr>
        <p:spPr>
          <a:xfrm>
            <a:off x="424415" y="4511982"/>
            <a:ext cx="1185640" cy="345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1599" kern="0" spc="50">
                <a:solidFill>
                  <a:srgbClr val="353535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telligent</a:t>
            </a:r>
          </a:p>
        </p:txBody>
      </p:sp>
      <p:sp>
        <p:nvSpPr>
          <p:cNvPr id="48" name="light">
            <a:extLst>
              <a:ext uri="{FF2B5EF4-FFF2-40B4-BE49-F238E27FC236}">
                <a16:creationId xmlns:a16="http://schemas.microsoft.com/office/drawing/2014/main" id="{044A82CB-9D94-42B0-9FD1-A35B6C069A8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71516" y="3872325"/>
            <a:ext cx="291439" cy="432683"/>
          </a:xfrm>
          <a:custGeom>
            <a:avLst/>
            <a:gdLst>
              <a:gd name="T0" fmla="*/ 156 w 224"/>
              <a:gd name="T1" fmla="*/ 312 h 334"/>
              <a:gd name="T2" fmla="*/ 134 w 224"/>
              <a:gd name="T3" fmla="*/ 334 h 334"/>
              <a:gd name="T4" fmla="*/ 89 w 224"/>
              <a:gd name="T5" fmla="*/ 334 h 334"/>
              <a:gd name="T6" fmla="*/ 67 w 224"/>
              <a:gd name="T7" fmla="*/ 312 h 334"/>
              <a:gd name="T8" fmla="*/ 67 w 224"/>
              <a:gd name="T9" fmla="*/ 261 h 334"/>
              <a:gd name="T10" fmla="*/ 37 w 224"/>
              <a:gd name="T11" fmla="*/ 195 h 334"/>
              <a:gd name="T12" fmla="*/ 27 w 224"/>
              <a:gd name="T13" fmla="*/ 185 h 334"/>
              <a:gd name="T14" fmla="*/ 0 w 224"/>
              <a:gd name="T15" fmla="*/ 112 h 334"/>
              <a:gd name="T16" fmla="*/ 112 w 224"/>
              <a:gd name="T17" fmla="*/ 0 h 334"/>
              <a:gd name="T18" fmla="*/ 224 w 224"/>
              <a:gd name="T19" fmla="*/ 112 h 334"/>
              <a:gd name="T20" fmla="*/ 197 w 224"/>
              <a:gd name="T21" fmla="*/ 185 h 334"/>
              <a:gd name="T22" fmla="*/ 200 w 224"/>
              <a:gd name="T23" fmla="*/ 181 h 334"/>
              <a:gd name="T24" fmla="*/ 197 w 224"/>
              <a:gd name="T25" fmla="*/ 185 h 334"/>
              <a:gd name="T26" fmla="*/ 156 w 224"/>
              <a:gd name="T27" fmla="*/ 265 h 334"/>
              <a:gd name="T28" fmla="*/ 156 w 224"/>
              <a:gd name="T29" fmla="*/ 312 h 334"/>
              <a:gd name="T30" fmla="*/ 156 w 224"/>
              <a:gd name="T31" fmla="*/ 312 h 334"/>
              <a:gd name="T32" fmla="*/ 67 w 224"/>
              <a:gd name="T33" fmla="*/ 269 h 334"/>
              <a:gd name="T34" fmla="*/ 156 w 224"/>
              <a:gd name="T35" fmla="*/ 269 h 3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24" h="334">
                <a:moveTo>
                  <a:pt x="156" y="312"/>
                </a:moveTo>
                <a:cubicBezTo>
                  <a:pt x="156" y="324"/>
                  <a:pt x="146" y="334"/>
                  <a:pt x="134" y="334"/>
                </a:cubicBezTo>
                <a:cubicBezTo>
                  <a:pt x="89" y="334"/>
                  <a:pt x="89" y="334"/>
                  <a:pt x="89" y="334"/>
                </a:cubicBezTo>
                <a:cubicBezTo>
                  <a:pt x="76" y="334"/>
                  <a:pt x="67" y="324"/>
                  <a:pt x="67" y="312"/>
                </a:cubicBezTo>
                <a:cubicBezTo>
                  <a:pt x="67" y="312"/>
                  <a:pt x="67" y="300"/>
                  <a:pt x="67" y="261"/>
                </a:cubicBezTo>
                <a:cubicBezTo>
                  <a:pt x="67" y="221"/>
                  <a:pt x="37" y="195"/>
                  <a:pt x="37" y="195"/>
                </a:cubicBezTo>
                <a:cubicBezTo>
                  <a:pt x="27" y="185"/>
                  <a:pt x="27" y="185"/>
                  <a:pt x="27" y="185"/>
                </a:cubicBezTo>
                <a:cubicBezTo>
                  <a:pt x="10" y="166"/>
                  <a:pt x="0" y="140"/>
                  <a:pt x="0" y="112"/>
                </a:cubicBezTo>
                <a:cubicBezTo>
                  <a:pt x="0" y="50"/>
                  <a:pt x="50" y="0"/>
                  <a:pt x="112" y="0"/>
                </a:cubicBezTo>
                <a:cubicBezTo>
                  <a:pt x="174" y="0"/>
                  <a:pt x="224" y="50"/>
                  <a:pt x="224" y="112"/>
                </a:cubicBezTo>
                <a:cubicBezTo>
                  <a:pt x="224" y="140"/>
                  <a:pt x="214" y="166"/>
                  <a:pt x="197" y="185"/>
                </a:cubicBezTo>
                <a:moveTo>
                  <a:pt x="200" y="181"/>
                </a:moveTo>
                <a:cubicBezTo>
                  <a:pt x="197" y="185"/>
                  <a:pt x="197" y="185"/>
                  <a:pt x="197" y="185"/>
                </a:cubicBezTo>
                <a:cubicBezTo>
                  <a:pt x="197" y="185"/>
                  <a:pt x="156" y="217"/>
                  <a:pt x="156" y="265"/>
                </a:cubicBezTo>
                <a:cubicBezTo>
                  <a:pt x="156" y="312"/>
                  <a:pt x="156" y="312"/>
                  <a:pt x="156" y="312"/>
                </a:cubicBezTo>
                <a:cubicBezTo>
                  <a:pt x="156" y="312"/>
                  <a:pt x="156" y="312"/>
                  <a:pt x="156" y="312"/>
                </a:cubicBezTo>
                <a:moveTo>
                  <a:pt x="67" y="269"/>
                </a:moveTo>
                <a:cubicBezTo>
                  <a:pt x="156" y="269"/>
                  <a:pt x="156" y="269"/>
                  <a:pt x="156" y="269"/>
                </a:cubicBezTo>
              </a:path>
            </a:pathLst>
          </a:custGeom>
          <a:noFill/>
          <a:ln w="28575">
            <a:solidFill>
              <a:srgbClr val="B3B2B4"/>
            </a:solidFill>
            <a:headEnd type="none" w="med" len="med"/>
            <a:tailEnd type="none" w="med" len="med"/>
          </a:ln>
          <a:effectLst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sp>
        <p:nvSpPr>
          <p:cNvPr id="49" name="Freeform 60">
            <a:extLst>
              <a:ext uri="{FF2B5EF4-FFF2-40B4-BE49-F238E27FC236}">
                <a16:creationId xmlns:a16="http://schemas.microsoft.com/office/drawing/2014/main" id="{78B296D4-5840-478A-A148-6A1EF79F17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6909" y="5192874"/>
            <a:ext cx="480655" cy="475606"/>
          </a:xfrm>
          <a:custGeom>
            <a:avLst/>
            <a:gdLst>
              <a:gd name="T0" fmla="*/ 3212 w 13440"/>
              <a:gd name="T1" fmla="*/ 3671 h 13299"/>
              <a:gd name="T2" fmla="*/ 3433 w 13440"/>
              <a:gd name="T3" fmla="*/ 3583 h 13299"/>
              <a:gd name="T4" fmla="*/ 3600 w 13440"/>
              <a:gd name="T5" fmla="*/ 3415 h 13299"/>
              <a:gd name="T6" fmla="*/ 3689 w 13440"/>
              <a:gd name="T7" fmla="*/ 3194 h 13299"/>
              <a:gd name="T8" fmla="*/ 3697 w 13440"/>
              <a:gd name="T9" fmla="*/ 3009 h 13299"/>
              <a:gd name="T10" fmla="*/ 3627 w 13440"/>
              <a:gd name="T11" fmla="*/ 2762 h 13299"/>
              <a:gd name="T12" fmla="*/ 3477 w 13440"/>
              <a:gd name="T13" fmla="*/ 2577 h 13299"/>
              <a:gd name="T14" fmla="*/ 3274 w 13440"/>
              <a:gd name="T15" fmla="*/ 2462 h 13299"/>
              <a:gd name="T16" fmla="*/ 3088 w 13440"/>
              <a:gd name="T17" fmla="*/ 2427 h 13299"/>
              <a:gd name="T18" fmla="*/ 2833 w 13440"/>
              <a:gd name="T19" fmla="*/ 2480 h 13299"/>
              <a:gd name="T20" fmla="*/ 2630 w 13440"/>
              <a:gd name="T21" fmla="*/ 2621 h 13299"/>
              <a:gd name="T22" fmla="*/ 2488 w 13440"/>
              <a:gd name="T23" fmla="*/ 2824 h 13299"/>
              <a:gd name="T24" fmla="*/ 2444 w 13440"/>
              <a:gd name="T25" fmla="*/ 3080 h 13299"/>
              <a:gd name="T26" fmla="*/ 2471 w 13440"/>
              <a:gd name="T27" fmla="*/ 3256 h 13299"/>
              <a:gd name="T28" fmla="*/ 2585 w 13440"/>
              <a:gd name="T29" fmla="*/ 3459 h 13299"/>
              <a:gd name="T30" fmla="*/ 2780 w 13440"/>
              <a:gd name="T31" fmla="*/ 3609 h 13299"/>
              <a:gd name="T32" fmla="*/ 3027 w 13440"/>
              <a:gd name="T33" fmla="*/ 3680 h 13299"/>
              <a:gd name="T34" fmla="*/ 6988 w 13440"/>
              <a:gd name="T35" fmla="*/ 8127 h 13299"/>
              <a:gd name="T36" fmla="*/ 6380 w 13440"/>
              <a:gd name="T37" fmla="*/ 8480 h 13299"/>
              <a:gd name="T38" fmla="*/ 5718 w 13440"/>
              <a:gd name="T39" fmla="*/ 8736 h 13299"/>
              <a:gd name="T40" fmla="*/ 5004 w 13440"/>
              <a:gd name="T41" fmla="*/ 8886 h 13299"/>
              <a:gd name="T42" fmla="*/ 4439 w 13440"/>
              <a:gd name="T43" fmla="*/ 8921 h 13299"/>
              <a:gd name="T44" fmla="*/ 3547 w 13440"/>
              <a:gd name="T45" fmla="*/ 8824 h 13299"/>
              <a:gd name="T46" fmla="*/ 2709 w 13440"/>
              <a:gd name="T47" fmla="*/ 8568 h 13299"/>
              <a:gd name="T48" fmla="*/ 1959 w 13440"/>
              <a:gd name="T49" fmla="*/ 8153 h 13299"/>
              <a:gd name="T50" fmla="*/ 1297 w 13440"/>
              <a:gd name="T51" fmla="*/ 7615 h 13299"/>
              <a:gd name="T52" fmla="*/ 759 w 13440"/>
              <a:gd name="T53" fmla="*/ 6953 h 13299"/>
              <a:gd name="T54" fmla="*/ 344 w 13440"/>
              <a:gd name="T55" fmla="*/ 6195 h 13299"/>
              <a:gd name="T56" fmla="*/ 88 w 13440"/>
              <a:gd name="T57" fmla="*/ 5357 h 13299"/>
              <a:gd name="T58" fmla="*/ 0 w 13440"/>
              <a:gd name="T59" fmla="*/ 4456 h 13299"/>
              <a:gd name="T60" fmla="*/ 44 w 13440"/>
              <a:gd name="T61" fmla="*/ 3777 h 13299"/>
              <a:gd name="T62" fmla="*/ 264 w 13440"/>
              <a:gd name="T63" fmla="*/ 2921 h 13299"/>
              <a:gd name="T64" fmla="*/ 644 w 13440"/>
              <a:gd name="T65" fmla="*/ 2135 h 13299"/>
              <a:gd name="T66" fmla="*/ 1156 w 13440"/>
              <a:gd name="T67" fmla="*/ 1456 h 13299"/>
              <a:gd name="T68" fmla="*/ 1782 w 13440"/>
              <a:gd name="T69" fmla="*/ 882 h 13299"/>
              <a:gd name="T70" fmla="*/ 2515 w 13440"/>
              <a:gd name="T71" fmla="*/ 432 h 13299"/>
              <a:gd name="T72" fmla="*/ 3327 w 13440"/>
              <a:gd name="T73" fmla="*/ 132 h 13299"/>
              <a:gd name="T74" fmla="*/ 4209 w 13440"/>
              <a:gd name="T75" fmla="*/ 0 h 13299"/>
              <a:gd name="T76" fmla="*/ 4898 w 13440"/>
              <a:gd name="T77" fmla="*/ 17 h 13299"/>
              <a:gd name="T78" fmla="*/ 5771 w 13440"/>
              <a:gd name="T79" fmla="*/ 194 h 13299"/>
              <a:gd name="T80" fmla="*/ 6574 w 13440"/>
              <a:gd name="T81" fmla="*/ 529 h 13299"/>
              <a:gd name="T82" fmla="*/ 7288 w 13440"/>
              <a:gd name="T83" fmla="*/ 1015 h 13299"/>
              <a:gd name="T84" fmla="*/ 7897 w 13440"/>
              <a:gd name="T85" fmla="*/ 1615 h 13299"/>
              <a:gd name="T86" fmla="*/ 8383 w 13440"/>
              <a:gd name="T87" fmla="*/ 2329 h 13299"/>
              <a:gd name="T88" fmla="*/ 8718 w 13440"/>
              <a:gd name="T89" fmla="*/ 3124 h 13299"/>
              <a:gd name="T90" fmla="*/ 8894 w 13440"/>
              <a:gd name="T91" fmla="*/ 3997 h 13299"/>
              <a:gd name="T92" fmla="*/ 8912 w 13440"/>
              <a:gd name="T93" fmla="*/ 4642 h 13299"/>
              <a:gd name="T94" fmla="*/ 8833 w 13440"/>
              <a:gd name="T95" fmla="*/ 5321 h 13299"/>
              <a:gd name="T96" fmla="*/ 13439 w 13440"/>
              <a:gd name="T97" fmla="*/ 10456 h 13299"/>
              <a:gd name="T98" fmla="*/ 10748 w 13440"/>
              <a:gd name="T99" fmla="*/ 13298 h 13299"/>
              <a:gd name="T100" fmla="*/ 9000 w 13440"/>
              <a:gd name="T101" fmla="*/ 11471 h 13299"/>
              <a:gd name="T102" fmla="*/ 7129 w 13440"/>
              <a:gd name="T103" fmla="*/ 9689 h 13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3440" h="13299">
                <a:moveTo>
                  <a:pt x="3088" y="3689"/>
                </a:moveTo>
                <a:lnTo>
                  <a:pt x="3088" y="3689"/>
                </a:lnTo>
                <a:lnTo>
                  <a:pt x="3150" y="3680"/>
                </a:lnTo>
                <a:lnTo>
                  <a:pt x="3212" y="3671"/>
                </a:lnTo>
                <a:lnTo>
                  <a:pt x="3274" y="3662"/>
                </a:lnTo>
                <a:lnTo>
                  <a:pt x="3327" y="3636"/>
                </a:lnTo>
                <a:lnTo>
                  <a:pt x="3380" y="3609"/>
                </a:lnTo>
                <a:lnTo>
                  <a:pt x="3433" y="3583"/>
                </a:lnTo>
                <a:lnTo>
                  <a:pt x="3477" y="3547"/>
                </a:lnTo>
                <a:lnTo>
                  <a:pt x="3521" y="3503"/>
                </a:lnTo>
                <a:lnTo>
                  <a:pt x="3556" y="3459"/>
                </a:lnTo>
                <a:lnTo>
                  <a:pt x="3600" y="3415"/>
                </a:lnTo>
                <a:lnTo>
                  <a:pt x="3627" y="3362"/>
                </a:lnTo>
                <a:lnTo>
                  <a:pt x="3653" y="3309"/>
                </a:lnTo>
                <a:lnTo>
                  <a:pt x="3671" y="3256"/>
                </a:lnTo>
                <a:lnTo>
                  <a:pt x="3689" y="3194"/>
                </a:lnTo>
                <a:lnTo>
                  <a:pt x="3697" y="3141"/>
                </a:lnTo>
                <a:lnTo>
                  <a:pt x="3706" y="3080"/>
                </a:lnTo>
                <a:lnTo>
                  <a:pt x="3706" y="3080"/>
                </a:lnTo>
                <a:lnTo>
                  <a:pt x="3697" y="3009"/>
                </a:lnTo>
                <a:lnTo>
                  <a:pt x="3689" y="2947"/>
                </a:lnTo>
                <a:lnTo>
                  <a:pt x="3671" y="2885"/>
                </a:lnTo>
                <a:lnTo>
                  <a:pt x="3653" y="2824"/>
                </a:lnTo>
                <a:lnTo>
                  <a:pt x="3627" y="2762"/>
                </a:lnTo>
                <a:lnTo>
                  <a:pt x="3600" y="2709"/>
                </a:lnTo>
                <a:lnTo>
                  <a:pt x="3556" y="2665"/>
                </a:lnTo>
                <a:lnTo>
                  <a:pt x="3521" y="2621"/>
                </a:lnTo>
                <a:lnTo>
                  <a:pt x="3477" y="2577"/>
                </a:lnTo>
                <a:lnTo>
                  <a:pt x="3433" y="2541"/>
                </a:lnTo>
                <a:lnTo>
                  <a:pt x="3380" y="2506"/>
                </a:lnTo>
                <a:lnTo>
                  <a:pt x="3327" y="2480"/>
                </a:lnTo>
                <a:lnTo>
                  <a:pt x="3274" y="2462"/>
                </a:lnTo>
                <a:lnTo>
                  <a:pt x="3212" y="2444"/>
                </a:lnTo>
                <a:lnTo>
                  <a:pt x="3150" y="2435"/>
                </a:lnTo>
                <a:lnTo>
                  <a:pt x="3088" y="2427"/>
                </a:lnTo>
                <a:lnTo>
                  <a:pt x="3088" y="2427"/>
                </a:lnTo>
                <a:lnTo>
                  <a:pt x="3027" y="2435"/>
                </a:lnTo>
                <a:lnTo>
                  <a:pt x="2956" y="2444"/>
                </a:lnTo>
                <a:lnTo>
                  <a:pt x="2894" y="2462"/>
                </a:lnTo>
                <a:lnTo>
                  <a:pt x="2833" y="2480"/>
                </a:lnTo>
                <a:lnTo>
                  <a:pt x="2780" y="2506"/>
                </a:lnTo>
                <a:lnTo>
                  <a:pt x="2727" y="2541"/>
                </a:lnTo>
                <a:lnTo>
                  <a:pt x="2674" y="2577"/>
                </a:lnTo>
                <a:lnTo>
                  <a:pt x="2630" y="2621"/>
                </a:lnTo>
                <a:lnTo>
                  <a:pt x="2585" y="2665"/>
                </a:lnTo>
                <a:lnTo>
                  <a:pt x="2550" y="2709"/>
                </a:lnTo>
                <a:lnTo>
                  <a:pt x="2515" y="2762"/>
                </a:lnTo>
                <a:lnTo>
                  <a:pt x="2488" y="2824"/>
                </a:lnTo>
                <a:lnTo>
                  <a:pt x="2471" y="2885"/>
                </a:lnTo>
                <a:lnTo>
                  <a:pt x="2453" y="2947"/>
                </a:lnTo>
                <a:lnTo>
                  <a:pt x="2444" y="3009"/>
                </a:lnTo>
                <a:lnTo>
                  <a:pt x="2444" y="3080"/>
                </a:lnTo>
                <a:lnTo>
                  <a:pt x="2444" y="3080"/>
                </a:lnTo>
                <a:lnTo>
                  <a:pt x="2444" y="3141"/>
                </a:lnTo>
                <a:lnTo>
                  <a:pt x="2453" y="3194"/>
                </a:lnTo>
                <a:lnTo>
                  <a:pt x="2471" y="3256"/>
                </a:lnTo>
                <a:lnTo>
                  <a:pt x="2488" y="3309"/>
                </a:lnTo>
                <a:lnTo>
                  <a:pt x="2515" y="3362"/>
                </a:lnTo>
                <a:lnTo>
                  <a:pt x="2550" y="3415"/>
                </a:lnTo>
                <a:lnTo>
                  <a:pt x="2585" y="3459"/>
                </a:lnTo>
                <a:lnTo>
                  <a:pt x="2630" y="3503"/>
                </a:lnTo>
                <a:lnTo>
                  <a:pt x="2674" y="3547"/>
                </a:lnTo>
                <a:lnTo>
                  <a:pt x="2727" y="3583"/>
                </a:lnTo>
                <a:lnTo>
                  <a:pt x="2780" y="3609"/>
                </a:lnTo>
                <a:lnTo>
                  <a:pt x="2833" y="3636"/>
                </a:lnTo>
                <a:lnTo>
                  <a:pt x="2894" y="3662"/>
                </a:lnTo>
                <a:lnTo>
                  <a:pt x="2956" y="3671"/>
                </a:lnTo>
                <a:lnTo>
                  <a:pt x="3027" y="3680"/>
                </a:lnTo>
                <a:lnTo>
                  <a:pt x="3088" y="3689"/>
                </a:lnTo>
                <a:close/>
                <a:moveTo>
                  <a:pt x="7129" y="8021"/>
                </a:moveTo>
                <a:lnTo>
                  <a:pt x="7129" y="8021"/>
                </a:lnTo>
                <a:lnTo>
                  <a:pt x="6988" y="8127"/>
                </a:lnTo>
                <a:lnTo>
                  <a:pt x="6838" y="8224"/>
                </a:lnTo>
                <a:lnTo>
                  <a:pt x="6689" y="8321"/>
                </a:lnTo>
                <a:lnTo>
                  <a:pt x="6539" y="8400"/>
                </a:lnTo>
                <a:lnTo>
                  <a:pt x="6380" y="8480"/>
                </a:lnTo>
                <a:lnTo>
                  <a:pt x="6221" y="8559"/>
                </a:lnTo>
                <a:lnTo>
                  <a:pt x="6054" y="8621"/>
                </a:lnTo>
                <a:lnTo>
                  <a:pt x="5886" y="8683"/>
                </a:lnTo>
                <a:lnTo>
                  <a:pt x="5718" y="8736"/>
                </a:lnTo>
                <a:lnTo>
                  <a:pt x="5542" y="8789"/>
                </a:lnTo>
                <a:lnTo>
                  <a:pt x="5365" y="8824"/>
                </a:lnTo>
                <a:lnTo>
                  <a:pt x="5180" y="8859"/>
                </a:lnTo>
                <a:lnTo>
                  <a:pt x="5004" y="8886"/>
                </a:lnTo>
                <a:lnTo>
                  <a:pt x="4818" y="8903"/>
                </a:lnTo>
                <a:lnTo>
                  <a:pt x="4624" y="8912"/>
                </a:lnTo>
                <a:lnTo>
                  <a:pt x="4439" y="8921"/>
                </a:lnTo>
                <a:lnTo>
                  <a:pt x="4439" y="8921"/>
                </a:lnTo>
                <a:lnTo>
                  <a:pt x="4209" y="8912"/>
                </a:lnTo>
                <a:lnTo>
                  <a:pt x="3989" y="8894"/>
                </a:lnTo>
                <a:lnTo>
                  <a:pt x="3759" y="8868"/>
                </a:lnTo>
                <a:lnTo>
                  <a:pt x="3547" y="8824"/>
                </a:lnTo>
                <a:lnTo>
                  <a:pt x="3327" y="8780"/>
                </a:lnTo>
                <a:lnTo>
                  <a:pt x="3124" y="8718"/>
                </a:lnTo>
                <a:lnTo>
                  <a:pt x="2912" y="8647"/>
                </a:lnTo>
                <a:lnTo>
                  <a:pt x="2709" y="8568"/>
                </a:lnTo>
                <a:lnTo>
                  <a:pt x="2515" y="8480"/>
                </a:lnTo>
                <a:lnTo>
                  <a:pt x="2321" y="8383"/>
                </a:lnTo>
                <a:lnTo>
                  <a:pt x="2135" y="8277"/>
                </a:lnTo>
                <a:lnTo>
                  <a:pt x="1959" y="8153"/>
                </a:lnTo>
                <a:lnTo>
                  <a:pt x="1782" y="8030"/>
                </a:lnTo>
                <a:lnTo>
                  <a:pt x="1615" y="7897"/>
                </a:lnTo>
                <a:lnTo>
                  <a:pt x="1456" y="7765"/>
                </a:lnTo>
                <a:lnTo>
                  <a:pt x="1297" y="7615"/>
                </a:lnTo>
                <a:lnTo>
                  <a:pt x="1156" y="7456"/>
                </a:lnTo>
                <a:lnTo>
                  <a:pt x="1015" y="7297"/>
                </a:lnTo>
                <a:lnTo>
                  <a:pt x="882" y="7129"/>
                </a:lnTo>
                <a:lnTo>
                  <a:pt x="759" y="6953"/>
                </a:lnTo>
                <a:lnTo>
                  <a:pt x="644" y="6776"/>
                </a:lnTo>
                <a:lnTo>
                  <a:pt x="529" y="6583"/>
                </a:lnTo>
                <a:lnTo>
                  <a:pt x="432" y="6398"/>
                </a:lnTo>
                <a:lnTo>
                  <a:pt x="344" y="6195"/>
                </a:lnTo>
                <a:lnTo>
                  <a:pt x="264" y="5992"/>
                </a:lnTo>
                <a:lnTo>
                  <a:pt x="194" y="5789"/>
                </a:lnTo>
                <a:lnTo>
                  <a:pt x="132" y="5577"/>
                </a:lnTo>
                <a:lnTo>
                  <a:pt x="88" y="5357"/>
                </a:lnTo>
                <a:lnTo>
                  <a:pt x="44" y="5136"/>
                </a:lnTo>
                <a:lnTo>
                  <a:pt x="17" y="4915"/>
                </a:lnTo>
                <a:lnTo>
                  <a:pt x="0" y="4686"/>
                </a:lnTo>
                <a:lnTo>
                  <a:pt x="0" y="4456"/>
                </a:lnTo>
                <a:lnTo>
                  <a:pt x="0" y="4456"/>
                </a:lnTo>
                <a:lnTo>
                  <a:pt x="0" y="4227"/>
                </a:lnTo>
                <a:lnTo>
                  <a:pt x="17" y="3997"/>
                </a:lnTo>
                <a:lnTo>
                  <a:pt x="44" y="3777"/>
                </a:lnTo>
                <a:lnTo>
                  <a:pt x="88" y="3556"/>
                </a:lnTo>
                <a:lnTo>
                  <a:pt x="132" y="3336"/>
                </a:lnTo>
                <a:lnTo>
                  <a:pt x="194" y="3124"/>
                </a:lnTo>
                <a:lnTo>
                  <a:pt x="264" y="2921"/>
                </a:lnTo>
                <a:lnTo>
                  <a:pt x="344" y="2718"/>
                </a:lnTo>
                <a:lnTo>
                  <a:pt x="432" y="2515"/>
                </a:lnTo>
                <a:lnTo>
                  <a:pt x="529" y="2329"/>
                </a:lnTo>
                <a:lnTo>
                  <a:pt x="644" y="2135"/>
                </a:lnTo>
                <a:lnTo>
                  <a:pt x="759" y="1959"/>
                </a:lnTo>
                <a:lnTo>
                  <a:pt x="882" y="1782"/>
                </a:lnTo>
                <a:lnTo>
                  <a:pt x="1015" y="1615"/>
                </a:lnTo>
                <a:lnTo>
                  <a:pt x="1156" y="1456"/>
                </a:lnTo>
                <a:lnTo>
                  <a:pt x="1297" y="1297"/>
                </a:lnTo>
                <a:lnTo>
                  <a:pt x="1456" y="1147"/>
                </a:lnTo>
                <a:lnTo>
                  <a:pt x="1615" y="1015"/>
                </a:lnTo>
                <a:lnTo>
                  <a:pt x="1782" y="882"/>
                </a:lnTo>
                <a:lnTo>
                  <a:pt x="1959" y="759"/>
                </a:lnTo>
                <a:lnTo>
                  <a:pt x="2135" y="635"/>
                </a:lnTo>
                <a:lnTo>
                  <a:pt x="2321" y="529"/>
                </a:lnTo>
                <a:lnTo>
                  <a:pt x="2515" y="432"/>
                </a:lnTo>
                <a:lnTo>
                  <a:pt x="2709" y="344"/>
                </a:lnTo>
                <a:lnTo>
                  <a:pt x="2912" y="264"/>
                </a:lnTo>
                <a:lnTo>
                  <a:pt x="3124" y="194"/>
                </a:lnTo>
                <a:lnTo>
                  <a:pt x="3327" y="132"/>
                </a:lnTo>
                <a:lnTo>
                  <a:pt x="3547" y="88"/>
                </a:lnTo>
                <a:lnTo>
                  <a:pt x="3759" y="44"/>
                </a:lnTo>
                <a:lnTo>
                  <a:pt x="3989" y="17"/>
                </a:lnTo>
                <a:lnTo>
                  <a:pt x="4209" y="0"/>
                </a:lnTo>
                <a:lnTo>
                  <a:pt x="4439" y="0"/>
                </a:lnTo>
                <a:lnTo>
                  <a:pt x="4439" y="0"/>
                </a:lnTo>
                <a:lnTo>
                  <a:pt x="4668" y="0"/>
                </a:lnTo>
                <a:lnTo>
                  <a:pt x="4898" y="17"/>
                </a:lnTo>
                <a:lnTo>
                  <a:pt x="5118" y="44"/>
                </a:lnTo>
                <a:lnTo>
                  <a:pt x="5348" y="88"/>
                </a:lnTo>
                <a:lnTo>
                  <a:pt x="5559" y="132"/>
                </a:lnTo>
                <a:lnTo>
                  <a:pt x="5771" y="194"/>
                </a:lnTo>
                <a:lnTo>
                  <a:pt x="5983" y="264"/>
                </a:lnTo>
                <a:lnTo>
                  <a:pt x="6186" y="344"/>
                </a:lnTo>
                <a:lnTo>
                  <a:pt x="6389" y="432"/>
                </a:lnTo>
                <a:lnTo>
                  <a:pt x="6574" y="529"/>
                </a:lnTo>
                <a:lnTo>
                  <a:pt x="6768" y="635"/>
                </a:lnTo>
                <a:lnTo>
                  <a:pt x="6944" y="759"/>
                </a:lnTo>
                <a:lnTo>
                  <a:pt x="7121" y="882"/>
                </a:lnTo>
                <a:lnTo>
                  <a:pt x="7288" y="1015"/>
                </a:lnTo>
                <a:lnTo>
                  <a:pt x="7456" y="1147"/>
                </a:lnTo>
                <a:lnTo>
                  <a:pt x="7606" y="1297"/>
                </a:lnTo>
                <a:lnTo>
                  <a:pt x="7756" y="1456"/>
                </a:lnTo>
                <a:lnTo>
                  <a:pt x="7897" y="1615"/>
                </a:lnTo>
                <a:lnTo>
                  <a:pt x="8030" y="1782"/>
                </a:lnTo>
                <a:lnTo>
                  <a:pt x="8153" y="1959"/>
                </a:lnTo>
                <a:lnTo>
                  <a:pt x="8268" y="2135"/>
                </a:lnTo>
                <a:lnTo>
                  <a:pt x="8383" y="2329"/>
                </a:lnTo>
                <a:lnTo>
                  <a:pt x="8480" y="2515"/>
                </a:lnTo>
                <a:lnTo>
                  <a:pt x="8568" y="2718"/>
                </a:lnTo>
                <a:lnTo>
                  <a:pt x="8647" y="2921"/>
                </a:lnTo>
                <a:lnTo>
                  <a:pt x="8718" y="3124"/>
                </a:lnTo>
                <a:lnTo>
                  <a:pt x="8780" y="3336"/>
                </a:lnTo>
                <a:lnTo>
                  <a:pt x="8824" y="3556"/>
                </a:lnTo>
                <a:lnTo>
                  <a:pt x="8868" y="3777"/>
                </a:lnTo>
                <a:lnTo>
                  <a:pt x="8894" y="3997"/>
                </a:lnTo>
                <a:lnTo>
                  <a:pt x="8912" y="4227"/>
                </a:lnTo>
                <a:lnTo>
                  <a:pt x="8921" y="4456"/>
                </a:lnTo>
                <a:lnTo>
                  <a:pt x="8921" y="4456"/>
                </a:lnTo>
                <a:lnTo>
                  <a:pt x="8912" y="4642"/>
                </a:lnTo>
                <a:lnTo>
                  <a:pt x="8903" y="4818"/>
                </a:lnTo>
                <a:lnTo>
                  <a:pt x="8886" y="4986"/>
                </a:lnTo>
                <a:lnTo>
                  <a:pt x="8859" y="5154"/>
                </a:lnTo>
                <a:lnTo>
                  <a:pt x="8833" y="5321"/>
                </a:lnTo>
                <a:lnTo>
                  <a:pt x="8797" y="5480"/>
                </a:lnTo>
                <a:lnTo>
                  <a:pt x="8718" y="5798"/>
                </a:lnTo>
                <a:lnTo>
                  <a:pt x="8718" y="5798"/>
                </a:lnTo>
                <a:lnTo>
                  <a:pt x="13439" y="10456"/>
                </a:lnTo>
                <a:lnTo>
                  <a:pt x="13439" y="10456"/>
                </a:lnTo>
                <a:lnTo>
                  <a:pt x="13439" y="13298"/>
                </a:lnTo>
                <a:lnTo>
                  <a:pt x="13439" y="13298"/>
                </a:lnTo>
                <a:lnTo>
                  <a:pt x="10748" y="13298"/>
                </a:lnTo>
                <a:lnTo>
                  <a:pt x="10748" y="13298"/>
                </a:lnTo>
                <a:lnTo>
                  <a:pt x="10748" y="11471"/>
                </a:lnTo>
                <a:lnTo>
                  <a:pt x="10748" y="11471"/>
                </a:lnTo>
                <a:lnTo>
                  <a:pt x="9000" y="11471"/>
                </a:lnTo>
                <a:lnTo>
                  <a:pt x="9000" y="11471"/>
                </a:lnTo>
                <a:lnTo>
                  <a:pt x="9000" y="9689"/>
                </a:lnTo>
                <a:lnTo>
                  <a:pt x="9000" y="9689"/>
                </a:lnTo>
                <a:lnTo>
                  <a:pt x="7129" y="9689"/>
                </a:lnTo>
                <a:lnTo>
                  <a:pt x="7129" y="8021"/>
                </a:lnTo>
                <a:close/>
              </a:path>
            </a:pathLst>
          </a:custGeom>
          <a:noFill/>
          <a:ln w="28575" cap="flat">
            <a:solidFill>
              <a:srgbClr val="B3B2B4"/>
            </a:solidFill>
            <a:bevel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32597">
              <a:defRPr/>
            </a:pPr>
            <a:endParaRPr lang="en-US" sz="1836">
              <a:solidFill>
                <a:srgbClr val="505050"/>
              </a:solidFill>
              <a:latin typeface="Segoe UI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6ACC106D-0B3A-451A-97C3-CBECB9DA5404}"/>
              </a:ext>
            </a:extLst>
          </p:cNvPr>
          <p:cNvSpPr/>
          <p:nvPr/>
        </p:nvSpPr>
        <p:spPr>
          <a:xfrm>
            <a:off x="413806" y="1826914"/>
            <a:ext cx="1233053" cy="345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1599" kern="0" spc="50">
                <a:solidFill>
                  <a:srgbClr val="353535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ductive</a:t>
            </a:r>
          </a:p>
        </p:txBody>
      </p:sp>
      <p:sp>
        <p:nvSpPr>
          <p:cNvPr id="22" name="speedometer_2">
            <a:extLst>
              <a:ext uri="{FF2B5EF4-FFF2-40B4-BE49-F238E27FC236}">
                <a16:creationId xmlns:a16="http://schemas.microsoft.com/office/drawing/2014/main" id="{96511714-CFA8-4E88-B24C-FF03D2B0D71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17775" y="1183560"/>
            <a:ext cx="439680" cy="439678"/>
          </a:xfrm>
          <a:custGeom>
            <a:avLst/>
            <a:gdLst>
              <a:gd name="T0" fmla="*/ 155 w 281"/>
              <a:gd name="T1" fmla="*/ 155 h 281"/>
              <a:gd name="T2" fmla="*/ 126 w 281"/>
              <a:gd name="T3" fmla="*/ 155 h 281"/>
              <a:gd name="T4" fmla="*/ 126 w 281"/>
              <a:gd name="T5" fmla="*/ 126 h 281"/>
              <a:gd name="T6" fmla="*/ 155 w 281"/>
              <a:gd name="T7" fmla="*/ 126 h 281"/>
              <a:gd name="T8" fmla="*/ 155 w 281"/>
              <a:gd name="T9" fmla="*/ 155 h 281"/>
              <a:gd name="T10" fmla="*/ 140 w 281"/>
              <a:gd name="T11" fmla="*/ 0 h 281"/>
              <a:gd name="T12" fmla="*/ 0 w 281"/>
              <a:gd name="T13" fmla="*/ 141 h 281"/>
              <a:gd name="T14" fmla="*/ 140 w 281"/>
              <a:gd name="T15" fmla="*/ 281 h 281"/>
              <a:gd name="T16" fmla="*/ 281 w 281"/>
              <a:gd name="T17" fmla="*/ 141 h 281"/>
              <a:gd name="T18" fmla="*/ 140 w 281"/>
              <a:gd name="T19" fmla="*/ 0 h 281"/>
              <a:gd name="T20" fmla="*/ 214 w 281"/>
              <a:gd name="T21" fmla="*/ 210 h 281"/>
              <a:gd name="T22" fmla="*/ 241 w 281"/>
              <a:gd name="T23" fmla="*/ 141 h 281"/>
              <a:gd name="T24" fmla="*/ 235 w 281"/>
              <a:gd name="T25" fmla="*/ 105 h 281"/>
              <a:gd name="T26" fmla="*/ 174 w 281"/>
              <a:gd name="T27" fmla="*/ 45 h 281"/>
              <a:gd name="T28" fmla="*/ 140 w 281"/>
              <a:gd name="T29" fmla="*/ 40 h 281"/>
              <a:gd name="T30" fmla="*/ 40 w 281"/>
              <a:gd name="T31" fmla="*/ 141 h 281"/>
              <a:gd name="T32" fmla="*/ 67 w 281"/>
              <a:gd name="T33" fmla="*/ 210 h 281"/>
              <a:gd name="T34" fmla="*/ 212 w 281"/>
              <a:gd name="T35" fmla="*/ 69 h 281"/>
              <a:gd name="T36" fmla="*/ 157 w 281"/>
              <a:gd name="T37" fmla="*/ 124 h 2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81" h="281">
                <a:moveTo>
                  <a:pt x="155" y="155"/>
                </a:moveTo>
                <a:cubicBezTo>
                  <a:pt x="147" y="164"/>
                  <a:pt x="134" y="164"/>
                  <a:pt x="126" y="155"/>
                </a:cubicBezTo>
                <a:cubicBezTo>
                  <a:pt x="117" y="147"/>
                  <a:pt x="117" y="134"/>
                  <a:pt x="126" y="126"/>
                </a:cubicBezTo>
                <a:cubicBezTo>
                  <a:pt x="134" y="118"/>
                  <a:pt x="147" y="117"/>
                  <a:pt x="155" y="126"/>
                </a:cubicBezTo>
                <a:cubicBezTo>
                  <a:pt x="164" y="134"/>
                  <a:pt x="164" y="147"/>
                  <a:pt x="155" y="155"/>
                </a:cubicBezTo>
                <a:close/>
                <a:moveTo>
                  <a:pt x="140" y="0"/>
                </a:moveTo>
                <a:cubicBezTo>
                  <a:pt x="63" y="0"/>
                  <a:pt x="0" y="63"/>
                  <a:pt x="0" y="141"/>
                </a:cubicBezTo>
                <a:cubicBezTo>
                  <a:pt x="0" y="218"/>
                  <a:pt x="63" y="281"/>
                  <a:pt x="140" y="281"/>
                </a:cubicBezTo>
                <a:cubicBezTo>
                  <a:pt x="218" y="281"/>
                  <a:pt x="281" y="218"/>
                  <a:pt x="281" y="141"/>
                </a:cubicBezTo>
                <a:cubicBezTo>
                  <a:pt x="281" y="63"/>
                  <a:pt x="218" y="0"/>
                  <a:pt x="140" y="0"/>
                </a:cubicBezTo>
                <a:close/>
                <a:moveTo>
                  <a:pt x="214" y="210"/>
                </a:moveTo>
                <a:cubicBezTo>
                  <a:pt x="231" y="192"/>
                  <a:pt x="241" y="168"/>
                  <a:pt x="241" y="141"/>
                </a:cubicBezTo>
                <a:cubicBezTo>
                  <a:pt x="241" y="128"/>
                  <a:pt x="239" y="116"/>
                  <a:pt x="235" y="105"/>
                </a:cubicBezTo>
                <a:moveTo>
                  <a:pt x="174" y="45"/>
                </a:moveTo>
                <a:cubicBezTo>
                  <a:pt x="163" y="42"/>
                  <a:pt x="152" y="40"/>
                  <a:pt x="140" y="40"/>
                </a:cubicBezTo>
                <a:cubicBezTo>
                  <a:pt x="85" y="40"/>
                  <a:pt x="40" y="85"/>
                  <a:pt x="40" y="141"/>
                </a:cubicBezTo>
                <a:cubicBezTo>
                  <a:pt x="40" y="168"/>
                  <a:pt x="50" y="192"/>
                  <a:pt x="67" y="210"/>
                </a:cubicBezTo>
                <a:moveTo>
                  <a:pt x="212" y="69"/>
                </a:moveTo>
                <a:cubicBezTo>
                  <a:pt x="157" y="124"/>
                  <a:pt x="157" y="124"/>
                  <a:pt x="157" y="124"/>
                </a:cubicBezTo>
              </a:path>
            </a:pathLst>
          </a:custGeom>
          <a:noFill/>
          <a:ln w="28575">
            <a:solidFill>
              <a:srgbClr val="B3B2B4"/>
            </a:solidFill>
            <a:headEnd type="none" w="med" len="med"/>
            <a:tailEnd type="none" w="med" len="med"/>
          </a:ln>
          <a:effectLst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63C846E-432E-4E96-8B4E-9BF8EB00F050}"/>
              </a:ext>
            </a:extLst>
          </p:cNvPr>
          <p:cNvSpPr/>
          <p:nvPr/>
        </p:nvSpPr>
        <p:spPr>
          <a:xfrm>
            <a:off x="444056" y="3199346"/>
            <a:ext cx="1157847" cy="4708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2400" kern="0" spc="50" dirty="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ybrid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77AD9DD7-EB86-45CE-9B27-089347C7D079}"/>
              </a:ext>
            </a:extLst>
          </p:cNvPr>
          <p:cNvGrpSpPr/>
          <p:nvPr/>
        </p:nvGrpSpPr>
        <p:grpSpPr>
          <a:xfrm>
            <a:off x="734446" y="2400000"/>
            <a:ext cx="591068" cy="577315"/>
            <a:chOff x="2088630" y="3287843"/>
            <a:chExt cx="429718" cy="419725"/>
          </a:xfrm>
          <a:noFill/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B3CFD5EC-43D5-4B04-B8AE-6E1A4076A14C}"/>
                </a:ext>
              </a:extLst>
            </p:cNvPr>
            <p:cNvSpPr/>
            <p:nvPr/>
          </p:nvSpPr>
          <p:spPr bwMode="auto">
            <a:xfrm>
              <a:off x="2213548" y="3287843"/>
              <a:ext cx="304800" cy="304800"/>
            </a:xfrm>
            <a:prstGeom prst="rect">
              <a:avLst/>
            </a:prstGeom>
            <a:noFill/>
            <a:ln w="28575">
              <a:solidFill>
                <a:srgbClr val="001F5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" pitchFamily="34" charset="0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826EBD6F-365E-4445-9391-67AD7B7167B1}"/>
                </a:ext>
              </a:extLst>
            </p:cNvPr>
            <p:cNvSpPr/>
            <p:nvPr/>
          </p:nvSpPr>
          <p:spPr bwMode="auto">
            <a:xfrm>
              <a:off x="2088630" y="3402768"/>
              <a:ext cx="304800" cy="304800"/>
            </a:xfrm>
            <a:prstGeom prst="rect">
              <a:avLst/>
            </a:prstGeom>
            <a:noFill/>
            <a:ln w="28575">
              <a:solidFill>
                <a:srgbClr val="001F5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91308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7 -2.59259E-6 L -4.16667E-7 0.04584 " pathEditMode="relative" rAng="0" ptsTypes="AA">
                                      <p:cBhvr>
                                        <p:cTn id="9" dur="5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29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3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95833E-6 3.33333E-6 L 3.95833E-6 0.13379 " pathEditMode="relative" rAng="0" ptsTypes="AA">
                                      <p:cBhvr>
                                        <p:cTn id="18" dur="700" spd="-100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6690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65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3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3.33333E-6 3.33333E-6 L 3.33333E-6 0.13379 " pathEditMode="relative" rAng="0" ptsTypes="AA">
                                      <p:cBhvr>
                                        <p:cTn id="26" dur="7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6690"/>
                                    </p:animMotion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3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1.45833E-6 3.33333E-6 L 1.45833E-6 0.13379 " pathEditMode="relative" rAng="0" ptsTypes="AA">
                                      <p:cBhvr>
                                        <p:cTn id="34" dur="700" spd="-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669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2" grpId="1"/>
      <p:bldP spid="3" grpId="0"/>
      <p:bldP spid="3" grpId="1"/>
      <p:bldP spid="5" grpId="0"/>
      <p:bldP spid="5" grpId="1"/>
      <p:bldP spid="4" grpId="0"/>
      <p:bldP spid="4" grpId="1"/>
      <p:bldP spid="6" grpId="0" animBg="1"/>
      <p:bldP spid="8" grpId="0" animBg="1"/>
      <p:bldP spid="9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Rectangle 115">
            <a:extLst>
              <a:ext uri="{FF2B5EF4-FFF2-40B4-BE49-F238E27FC236}">
                <a16:creationId xmlns:a16="http://schemas.microsoft.com/office/drawing/2014/main" id="{D0A32857-E4F2-40CC-BB62-8FE3568EB6F0}"/>
              </a:ext>
            </a:extLst>
          </p:cNvPr>
          <p:cNvSpPr/>
          <p:nvPr/>
        </p:nvSpPr>
        <p:spPr>
          <a:xfrm>
            <a:off x="557708" y="5859328"/>
            <a:ext cx="924053" cy="345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1599" kern="0" spc="50">
                <a:solidFill>
                  <a:srgbClr val="353535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usted</a:t>
            </a: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587D7066-8B06-48F6-9D9D-CE8DB483B2C3}"/>
              </a:ext>
            </a:extLst>
          </p:cNvPr>
          <p:cNvSpPr/>
          <p:nvPr/>
        </p:nvSpPr>
        <p:spPr>
          <a:xfrm>
            <a:off x="202901" y="4511982"/>
            <a:ext cx="1654861" cy="4708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2400" kern="0" spc="5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telligent</a:t>
            </a: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E01FCFB5-BFC8-40DA-8851-C75F6FE1147A}"/>
              </a:ext>
            </a:extLst>
          </p:cNvPr>
          <p:cNvSpPr/>
          <p:nvPr/>
        </p:nvSpPr>
        <p:spPr>
          <a:xfrm>
            <a:off x="607542" y="3164637"/>
            <a:ext cx="845579" cy="345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1599" kern="0" spc="50">
                <a:solidFill>
                  <a:srgbClr val="353535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ybrid</a:t>
            </a: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6ACC106D-0B3A-451A-97C3-CBECB9DA5404}"/>
              </a:ext>
            </a:extLst>
          </p:cNvPr>
          <p:cNvSpPr/>
          <p:nvPr/>
        </p:nvSpPr>
        <p:spPr>
          <a:xfrm>
            <a:off x="413806" y="1826914"/>
            <a:ext cx="1233053" cy="345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1599" kern="0" spc="50">
                <a:solidFill>
                  <a:srgbClr val="353535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ductive</a:t>
            </a:r>
          </a:p>
        </p:txBody>
      </p:sp>
      <p:sp>
        <p:nvSpPr>
          <p:cNvPr id="175" name="Freeform 174"/>
          <p:cNvSpPr>
            <a:spLocks noChangeArrowheads="1"/>
          </p:cNvSpPr>
          <p:nvPr/>
        </p:nvSpPr>
        <p:spPr bwMode="auto">
          <a:xfrm>
            <a:off x="784778" y="5192874"/>
            <a:ext cx="480655" cy="475606"/>
          </a:xfrm>
          <a:custGeom>
            <a:avLst/>
            <a:gdLst>
              <a:gd name="T0" fmla="*/ 3212 w 13440"/>
              <a:gd name="T1" fmla="*/ 3671 h 13299"/>
              <a:gd name="T2" fmla="*/ 3433 w 13440"/>
              <a:gd name="T3" fmla="*/ 3583 h 13299"/>
              <a:gd name="T4" fmla="*/ 3600 w 13440"/>
              <a:gd name="T5" fmla="*/ 3415 h 13299"/>
              <a:gd name="T6" fmla="*/ 3689 w 13440"/>
              <a:gd name="T7" fmla="*/ 3194 h 13299"/>
              <a:gd name="T8" fmla="*/ 3697 w 13440"/>
              <a:gd name="T9" fmla="*/ 3009 h 13299"/>
              <a:gd name="T10" fmla="*/ 3627 w 13440"/>
              <a:gd name="T11" fmla="*/ 2762 h 13299"/>
              <a:gd name="T12" fmla="*/ 3477 w 13440"/>
              <a:gd name="T13" fmla="*/ 2577 h 13299"/>
              <a:gd name="T14" fmla="*/ 3274 w 13440"/>
              <a:gd name="T15" fmla="*/ 2462 h 13299"/>
              <a:gd name="T16" fmla="*/ 3088 w 13440"/>
              <a:gd name="T17" fmla="*/ 2427 h 13299"/>
              <a:gd name="T18" fmla="*/ 2833 w 13440"/>
              <a:gd name="T19" fmla="*/ 2480 h 13299"/>
              <a:gd name="T20" fmla="*/ 2630 w 13440"/>
              <a:gd name="T21" fmla="*/ 2621 h 13299"/>
              <a:gd name="T22" fmla="*/ 2488 w 13440"/>
              <a:gd name="T23" fmla="*/ 2824 h 13299"/>
              <a:gd name="T24" fmla="*/ 2444 w 13440"/>
              <a:gd name="T25" fmla="*/ 3080 h 13299"/>
              <a:gd name="T26" fmla="*/ 2471 w 13440"/>
              <a:gd name="T27" fmla="*/ 3256 h 13299"/>
              <a:gd name="T28" fmla="*/ 2585 w 13440"/>
              <a:gd name="T29" fmla="*/ 3459 h 13299"/>
              <a:gd name="T30" fmla="*/ 2780 w 13440"/>
              <a:gd name="T31" fmla="*/ 3609 h 13299"/>
              <a:gd name="T32" fmla="*/ 3027 w 13440"/>
              <a:gd name="T33" fmla="*/ 3680 h 13299"/>
              <a:gd name="T34" fmla="*/ 6988 w 13440"/>
              <a:gd name="T35" fmla="*/ 8127 h 13299"/>
              <a:gd name="T36" fmla="*/ 6380 w 13440"/>
              <a:gd name="T37" fmla="*/ 8480 h 13299"/>
              <a:gd name="T38" fmla="*/ 5718 w 13440"/>
              <a:gd name="T39" fmla="*/ 8736 h 13299"/>
              <a:gd name="T40" fmla="*/ 5004 w 13440"/>
              <a:gd name="T41" fmla="*/ 8886 h 13299"/>
              <a:gd name="T42" fmla="*/ 4439 w 13440"/>
              <a:gd name="T43" fmla="*/ 8921 h 13299"/>
              <a:gd name="T44" fmla="*/ 3547 w 13440"/>
              <a:gd name="T45" fmla="*/ 8824 h 13299"/>
              <a:gd name="T46" fmla="*/ 2709 w 13440"/>
              <a:gd name="T47" fmla="*/ 8568 h 13299"/>
              <a:gd name="T48" fmla="*/ 1959 w 13440"/>
              <a:gd name="T49" fmla="*/ 8153 h 13299"/>
              <a:gd name="T50" fmla="*/ 1297 w 13440"/>
              <a:gd name="T51" fmla="*/ 7615 h 13299"/>
              <a:gd name="T52" fmla="*/ 759 w 13440"/>
              <a:gd name="T53" fmla="*/ 6953 h 13299"/>
              <a:gd name="T54" fmla="*/ 344 w 13440"/>
              <a:gd name="T55" fmla="*/ 6195 h 13299"/>
              <a:gd name="T56" fmla="*/ 88 w 13440"/>
              <a:gd name="T57" fmla="*/ 5357 h 13299"/>
              <a:gd name="T58" fmla="*/ 0 w 13440"/>
              <a:gd name="T59" fmla="*/ 4456 h 13299"/>
              <a:gd name="T60" fmla="*/ 44 w 13440"/>
              <a:gd name="T61" fmla="*/ 3777 h 13299"/>
              <a:gd name="T62" fmla="*/ 264 w 13440"/>
              <a:gd name="T63" fmla="*/ 2921 h 13299"/>
              <a:gd name="T64" fmla="*/ 644 w 13440"/>
              <a:gd name="T65" fmla="*/ 2135 h 13299"/>
              <a:gd name="T66" fmla="*/ 1156 w 13440"/>
              <a:gd name="T67" fmla="*/ 1456 h 13299"/>
              <a:gd name="T68" fmla="*/ 1782 w 13440"/>
              <a:gd name="T69" fmla="*/ 882 h 13299"/>
              <a:gd name="T70" fmla="*/ 2515 w 13440"/>
              <a:gd name="T71" fmla="*/ 432 h 13299"/>
              <a:gd name="T72" fmla="*/ 3327 w 13440"/>
              <a:gd name="T73" fmla="*/ 132 h 13299"/>
              <a:gd name="T74" fmla="*/ 4209 w 13440"/>
              <a:gd name="T75" fmla="*/ 0 h 13299"/>
              <a:gd name="T76" fmla="*/ 4898 w 13440"/>
              <a:gd name="T77" fmla="*/ 17 h 13299"/>
              <a:gd name="T78" fmla="*/ 5771 w 13440"/>
              <a:gd name="T79" fmla="*/ 194 h 13299"/>
              <a:gd name="T80" fmla="*/ 6574 w 13440"/>
              <a:gd name="T81" fmla="*/ 529 h 13299"/>
              <a:gd name="T82" fmla="*/ 7288 w 13440"/>
              <a:gd name="T83" fmla="*/ 1015 h 13299"/>
              <a:gd name="T84" fmla="*/ 7897 w 13440"/>
              <a:gd name="T85" fmla="*/ 1615 h 13299"/>
              <a:gd name="T86" fmla="*/ 8383 w 13440"/>
              <a:gd name="T87" fmla="*/ 2329 h 13299"/>
              <a:gd name="T88" fmla="*/ 8718 w 13440"/>
              <a:gd name="T89" fmla="*/ 3124 h 13299"/>
              <a:gd name="T90" fmla="*/ 8894 w 13440"/>
              <a:gd name="T91" fmla="*/ 3997 h 13299"/>
              <a:gd name="T92" fmla="*/ 8912 w 13440"/>
              <a:gd name="T93" fmla="*/ 4642 h 13299"/>
              <a:gd name="T94" fmla="*/ 8833 w 13440"/>
              <a:gd name="T95" fmla="*/ 5321 h 13299"/>
              <a:gd name="T96" fmla="*/ 13439 w 13440"/>
              <a:gd name="T97" fmla="*/ 10456 h 13299"/>
              <a:gd name="T98" fmla="*/ 10748 w 13440"/>
              <a:gd name="T99" fmla="*/ 13298 h 13299"/>
              <a:gd name="T100" fmla="*/ 9000 w 13440"/>
              <a:gd name="T101" fmla="*/ 11471 h 13299"/>
              <a:gd name="T102" fmla="*/ 7129 w 13440"/>
              <a:gd name="T103" fmla="*/ 9689 h 13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3440" h="13299">
                <a:moveTo>
                  <a:pt x="3088" y="3689"/>
                </a:moveTo>
                <a:lnTo>
                  <a:pt x="3088" y="3689"/>
                </a:lnTo>
                <a:lnTo>
                  <a:pt x="3150" y="3680"/>
                </a:lnTo>
                <a:lnTo>
                  <a:pt x="3212" y="3671"/>
                </a:lnTo>
                <a:lnTo>
                  <a:pt x="3274" y="3662"/>
                </a:lnTo>
                <a:lnTo>
                  <a:pt x="3327" y="3636"/>
                </a:lnTo>
                <a:lnTo>
                  <a:pt x="3380" y="3609"/>
                </a:lnTo>
                <a:lnTo>
                  <a:pt x="3433" y="3583"/>
                </a:lnTo>
                <a:lnTo>
                  <a:pt x="3477" y="3547"/>
                </a:lnTo>
                <a:lnTo>
                  <a:pt x="3521" y="3503"/>
                </a:lnTo>
                <a:lnTo>
                  <a:pt x="3556" y="3459"/>
                </a:lnTo>
                <a:lnTo>
                  <a:pt x="3600" y="3415"/>
                </a:lnTo>
                <a:lnTo>
                  <a:pt x="3627" y="3362"/>
                </a:lnTo>
                <a:lnTo>
                  <a:pt x="3653" y="3309"/>
                </a:lnTo>
                <a:lnTo>
                  <a:pt x="3671" y="3256"/>
                </a:lnTo>
                <a:lnTo>
                  <a:pt x="3689" y="3194"/>
                </a:lnTo>
                <a:lnTo>
                  <a:pt x="3697" y="3141"/>
                </a:lnTo>
                <a:lnTo>
                  <a:pt x="3706" y="3080"/>
                </a:lnTo>
                <a:lnTo>
                  <a:pt x="3706" y="3080"/>
                </a:lnTo>
                <a:lnTo>
                  <a:pt x="3697" y="3009"/>
                </a:lnTo>
                <a:lnTo>
                  <a:pt x="3689" y="2947"/>
                </a:lnTo>
                <a:lnTo>
                  <a:pt x="3671" y="2885"/>
                </a:lnTo>
                <a:lnTo>
                  <a:pt x="3653" y="2824"/>
                </a:lnTo>
                <a:lnTo>
                  <a:pt x="3627" y="2762"/>
                </a:lnTo>
                <a:lnTo>
                  <a:pt x="3600" y="2709"/>
                </a:lnTo>
                <a:lnTo>
                  <a:pt x="3556" y="2665"/>
                </a:lnTo>
                <a:lnTo>
                  <a:pt x="3521" y="2621"/>
                </a:lnTo>
                <a:lnTo>
                  <a:pt x="3477" y="2577"/>
                </a:lnTo>
                <a:lnTo>
                  <a:pt x="3433" y="2541"/>
                </a:lnTo>
                <a:lnTo>
                  <a:pt x="3380" y="2506"/>
                </a:lnTo>
                <a:lnTo>
                  <a:pt x="3327" y="2480"/>
                </a:lnTo>
                <a:lnTo>
                  <a:pt x="3274" y="2462"/>
                </a:lnTo>
                <a:lnTo>
                  <a:pt x="3212" y="2444"/>
                </a:lnTo>
                <a:lnTo>
                  <a:pt x="3150" y="2435"/>
                </a:lnTo>
                <a:lnTo>
                  <a:pt x="3088" y="2427"/>
                </a:lnTo>
                <a:lnTo>
                  <a:pt x="3088" y="2427"/>
                </a:lnTo>
                <a:lnTo>
                  <a:pt x="3027" y="2435"/>
                </a:lnTo>
                <a:lnTo>
                  <a:pt x="2956" y="2444"/>
                </a:lnTo>
                <a:lnTo>
                  <a:pt x="2894" y="2462"/>
                </a:lnTo>
                <a:lnTo>
                  <a:pt x="2833" y="2480"/>
                </a:lnTo>
                <a:lnTo>
                  <a:pt x="2780" y="2506"/>
                </a:lnTo>
                <a:lnTo>
                  <a:pt x="2727" y="2541"/>
                </a:lnTo>
                <a:lnTo>
                  <a:pt x="2674" y="2577"/>
                </a:lnTo>
                <a:lnTo>
                  <a:pt x="2630" y="2621"/>
                </a:lnTo>
                <a:lnTo>
                  <a:pt x="2585" y="2665"/>
                </a:lnTo>
                <a:lnTo>
                  <a:pt x="2550" y="2709"/>
                </a:lnTo>
                <a:lnTo>
                  <a:pt x="2515" y="2762"/>
                </a:lnTo>
                <a:lnTo>
                  <a:pt x="2488" y="2824"/>
                </a:lnTo>
                <a:lnTo>
                  <a:pt x="2471" y="2885"/>
                </a:lnTo>
                <a:lnTo>
                  <a:pt x="2453" y="2947"/>
                </a:lnTo>
                <a:lnTo>
                  <a:pt x="2444" y="3009"/>
                </a:lnTo>
                <a:lnTo>
                  <a:pt x="2444" y="3080"/>
                </a:lnTo>
                <a:lnTo>
                  <a:pt x="2444" y="3080"/>
                </a:lnTo>
                <a:lnTo>
                  <a:pt x="2444" y="3141"/>
                </a:lnTo>
                <a:lnTo>
                  <a:pt x="2453" y="3194"/>
                </a:lnTo>
                <a:lnTo>
                  <a:pt x="2471" y="3256"/>
                </a:lnTo>
                <a:lnTo>
                  <a:pt x="2488" y="3309"/>
                </a:lnTo>
                <a:lnTo>
                  <a:pt x="2515" y="3362"/>
                </a:lnTo>
                <a:lnTo>
                  <a:pt x="2550" y="3415"/>
                </a:lnTo>
                <a:lnTo>
                  <a:pt x="2585" y="3459"/>
                </a:lnTo>
                <a:lnTo>
                  <a:pt x="2630" y="3503"/>
                </a:lnTo>
                <a:lnTo>
                  <a:pt x="2674" y="3547"/>
                </a:lnTo>
                <a:lnTo>
                  <a:pt x="2727" y="3583"/>
                </a:lnTo>
                <a:lnTo>
                  <a:pt x="2780" y="3609"/>
                </a:lnTo>
                <a:lnTo>
                  <a:pt x="2833" y="3636"/>
                </a:lnTo>
                <a:lnTo>
                  <a:pt x="2894" y="3662"/>
                </a:lnTo>
                <a:lnTo>
                  <a:pt x="2956" y="3671"/>
                </a:lnTo>
                <a:lnTo>
                  <a:pt x="3027" y="3680"/>
                </a:lnTo>
                <a:lnTo>
                  <a:pt x="3088" y="3689"/>
                </a:lnTo>
                <a:close/>
                <a:moveTo>
                  <a:pt x="7129" y="8021"/>
                </a:moveTo>
                <a:lnTo>
                  <a:pt x="7129" y="8021"/>
                </a:lnTo>
                <a:lnTo>
                  <a:pt x="6988" y="8127"/>
                </a:lnTo>
                <a:lnTo>
                  <a:pt x="6838" y="8224"/>
                </a:lnTo>
                <a:lnTo>
                  <a:pt x="6689" y="8321"/>
                </a:lnTo>
                <a:lnTo>
                  <a:pt x="6539" y="8400"/>
                </a:lnTo>
                <a:lnTo>
                  <a:pt x="6380" y="8480"/>
                </a:lnTo>
                <a:lnTo>
                  <a:pt x="6221" y="8559"/>
                </a:lnTo>
                <a:lnTo>
                  <a:pt x="6054" y="8621"/>
                </a:lnTo>
                <a:lnTo>
                  <a:pt x="5886" y="8683"/>
                </a:lnTo>
                <a:lnTo>
                  <a:pt x="5718" y="8736"/>
                </a:lnTo>
                <a:lnTo>
                  <a:pt x="5542" y="8789"/>
                </a:lnTo>
                <a:lnTo>
                  <a:pt x="5365" y="8824"/>
                </a:lnTo>
                <a:lnTo>
                  <a:pt x="5180" y="8859"/>
                </a:lnTo>
                <a:lnTo>
                  <a:pt x="5004" y="8886"/>
                </a:lnTo>
                <a:lnTo>
                  <a:pt x="4818" y="8903"/>
                </a:lnTo>
                <a:lnTo>
                  <a:pt x="4624" y="8912"/>
                </a:lnTo>
                <a:lnTo>
                  <a:pt x="4439" y="8921"/>
                </a:lnTo>
                <a:lnTo>
                  <a:pt x="4439" y="8921"/>
                </a:lnTo>
                <a:lnTo>
                  <a:pt x="4209" y="8912"/>
                </a:lnTo>
                <a:lnTo>
                  <a:pt x="3989" y="8894"/>
                </a:lnTo>
                <a:lnTo>
                  <a:pt x="3759" y="8868"/>
                </a:lnTo>
                <a:lnTo>
                  <a:pt x="3547" y="8824"/>
                </a:lnTo>
                <a:lnTo>
                  <a:pt x="3327" y="8780"/>
                </a:lnTo>
                <a:lnTo>
                  <a:pt x="3124" y="8718"/>
                </a:lnTo>
                <a:lnTo>
                  <a:pt x="2912" y="8647"/>
                </a:lnTo>
                <a:lnTo>
                  <a:pt x="2709" y="8568"/>
                </a:lnTo>
                <a:lnTo>
                  <a:pt x="2515" y="8480"/>
                </a:lnTo>
                <a:lnTo>
                  <a:pt x="2321" y="8383"/>
                </a:lnTo>
                <a:lnTo>
                  <a:pt x="2135" y="8277"/>
                </a:lnTo>
                <a:lnTo>
                  <a:pt x="1959" y="8153"/>
                </a:lnTo>
                <a:lnTo>
                  <a:pt x="1782" y="8030"/>
                </a:lnTo>
                <a:lnTo>
                  <a:pt x="1615" y="7897"/>
                </a:lnTo>
                <a:lnTo>
                  <a:pt x="1456" y="7765"/>
                </a:lnTo>
                <a:lnTo>
                  <a:pt x="1297" y="7615"/>
                </a:lnTo>
                <a:lnTo>
                  <a:pt x="1156" y="7456"/>
                </a:lnTo>
                <a:lnTo>
                  <a:pt x="1015" y="7297"/>
                </a:lnTo>
                <a:lnTo>
                  <a:pt x="882" y="7129"/>
                </a:lnTo>
                <a:lnTo>
                  <a:pt x="759" y="6953"/>
                </a:lnTo>
                <a:lnTo>
                  <a:pt x="644" y="6776"/>
                </a:lnTo>
                <a:lnTo>
                  <a:pt x="529" y="6583"/>
                </a:lnTo>
                <a:lnTo>
                  <a:pt x="432" y="6398"/>
                </a:lnTo>
                <a:lnTo>
                  <a:pt x="344" y="6195"/>
                </a:lnTo>
                <a:lnTo>
                  <a:pt x="264" y="5992"/>
                </a:lnTo>
                <a:lnTo>
                  <a:pt x="194" y="5789"/>
                </a:lnTo>
                <a:lnTo>
                  <a:pt x="132" y="5577"/>
                </a:lnTo>
                <a:lnTo>
                  <a:pt x="88" y="5357"/>
                </a:lnTo>
                <a:lnTo>
                  <a:pt x="44" y="5136"/>
                </a:lnTo>
                <a:lnTo>
                  <a:pt x="17" y="4915"/>
                </a:lnTo>
                <a:lnTo>
                  <a:pt x="0" y="4686"/>
                </a:lnTo>
                <a:lnTo>
                  <a:pt x="0" y="4456"/>
                </a:lnTo>
                <a:lnTo>
                  <a:pt x="0" y="4456"/>
                </a:lnTo>
                <a:lnTo>
                  <a:pt x="0" y="4227"/>
                </a:lnTo>
                <a:lnTo>
                  <a:pt x="17" y="3997"/>
                </a:lnTo>
                <a:lnTo>
                  <a:pt x="44" y="3777"/>
                </a:lnTo>
                <a:lnTo>
                  <a:pt x="88" y="3556"/>
                </a:lnTo>
                <a:lnTo>
                  <a:pt x="132" y="3336"/>
                </a:lnTo>
                <a:lnTo>
                  <a:pt x="194" y="3124"/>
                </a:lnTo>
                <a:lnTo>
                  <a:pt x="264" y="2921"/>
                </a:lnTo>
                <a:lnTo>
                  <a:pt x="344" y="2718"/>
                </a:lnTo>
                <a:lnTo>
                  <a:pt x="432" y="2515"/>
                </a:lnTo>
                <a:lnTo>
                  <a:pt x="529" y="2329"/>
                </a:lnTo>
                <a:lnTo>
                  <a:pt x="644" y="2135"/>
                </a:lnTo>
                <a:lnTo>
                  <a:pt x="759" y="1959"/>
                </a:lnTo>
                <a:lnTo>
                  <a:pt x="882" y="1782"/>
                </a:lnTo>
                <a:lnTo>
                  <a:pt x="1015" y="1615"/>
                </a:lnTo>
                <a:lnTo>
                  <a:pt x="1156" y="1456"/>
                </a:lnTo>
                <a:lnTo>
                  <a:pt x="1297" y="1297"/>
                </a:lnTo>
                <a:lnTo>
                  <a:pt x="1456" y="1147"/>
                </a:lnTo>
                <a:lnTo>
                  <a:pt x="1615" y="1015"/>
                </a:lnTo>
                <a:lnTo>
                  <a:pt x="1782" y="882"/>
                </a:lnTo>
                <a:lnTo>
                  <a:pt x="1959" y="759"/>
                </a:lnTo>
                <a:lnTo>
                  <a:pt x="2135" y="635"/>
                </a:lnTo>
                <a:lnTo>
                  <a:pt x="2321" y="529"/>
                </a:lnTo>
                <a:lnTo>
                  <a:pt x="2515" y="432"/>
                </a:lnTo>
                <a:lnTo>
                  <a:pt x="2709" y="344"/>
                </a:lnTo>
                <a:lnTo>
                  <a:pt x="2912" y="264"/>
                </a:lnTo>
                <a:lnTo>
                  <a:pt x="3124" y="194"/>
                </a:lnTo>
                <a:lnTo>
                  <a:pt x="3327" y="132"/>
                </a:lnTo>
                <a:lnTo>
                  <a:pt x="3547" y="88"/>
                </a:lnTo>
                <a:lnTo>
                  <a:pt x="3759" y="44"/>
                </a:lnTo>
                <a:lnTo>
                  <a:pt x="3989" y="17"/>
                </a:lnTo>
                <a:lnTo>
                  <a:pt x="4209" y="0"/>
                </a:lnTo>
                <a:lnTo>
                  <a:pt x="4439" y="0"/>
                </a:lnTo>
                <a:lnTo>
                  <a:pt x="4439" y="0"/>
                </a:lnTo>
                <a:lnTo>
                  <a:pt x="4668" y="0"/>
                </a:lnTo>
                <a:lnTo>
                  <a:pt x="4898" y="17"/>
                </a:lnTo>
                <a:lnTo>
                  <a:pt x="5118" y="44"/>
                </a:lnTo>
                <a:lnTo>
                  <a:pt x="5348" y="88"/>
                </a:lnTo>
                <a:lnTo>
                  <a:pt x="5559" y="132"/>
                </a:lnTo>
                <a:lnTo>
                  <a:pt x="5771" y="194"/>
                </a:lnTo>
                <a:lnTo>
                  <a:pt x="5983" y="264"/>
                </a:lnTo>
                <a:lnTo>
                  <a:pt x="6186" y="344"/>
                </a:lnTo>
                <a:lnTo>
                  <a:pt x="6389" y="432"/>
                </a:lnTo>
                <a:lnTo>
                  <a:pt x="6574" y="529"/>
                </a:lnTo>
                <a:lnTo>
                  <a:pt x="6768" y="635"/>
                </a:lnTo>
                <a:lnTo>
                  <a:pt x="6944" y="759"/>
                </a:lnTo>
                <a:lnTo>
                  <a:pt x="7121" y="882"/>
                </a:lnTo>
                <a:lnTo>
                  <a:pt x="7288" y="1015"/>
                </a:lnTo>
                <a:lnTo>
                  <a:pt x="7456" y="1147"/>
                </a:lnTo>
                <a:lnTo>
                  <a:pt x="7606" y="1297"/>
                </a:lnTo>
                <a:lnTo>
                  <a:pt x="7756" y="1456"/>
                </a:lnTo>
                <a:lnTo>
                  <a:pt x="7897" y="1615"/>
                </a:lnTo>
                <a:lnTo>
                  <a:pt x="8030" y="1782"/>
                </a:lnTo>
                <a:lnTo>
                  <a:pt x="8153" y="1959"/>
                </a:lnTo>
                <a:lnTo>
                  <a:pt x="8268" y="2135"/>
                </a:lnTo>
                <a:lnTo>
                  <a:pt x="8383" y="2329"/>
                </a:lnTo>
                <a:lnTo>
                  <a:pt x="8480" y="2515"/>
                </a:lnTo>
                <a:lnTo>
                  <a:pt x="8568" y="2718"/>
                </a:lnTo>
                <a:lnTo>
                  <a:pt x="8647" y="2921"/>
                </a:lnTo>
                <a:lnTo>
                  <a:pt x="8718" y="3124"/>
                </a:lnTo>
                <a:lnTo>
                  <a:pt x="8780" y="3336"/>
                </a:lnTo>
                <a:lnTo>
                  <a:pt x="8824" y="3556"/>
                </a:lnTo>
                <a:lnTo>
                  <a:pt x="8868" y="3777"/>
                </a:lnTo>
                <a:lnTo>
                  <a:pt x="8894" y="3997"/>
                </a:lnTo>
                <a:lnTo>
                  <a:pt x="8912" y="4227"/>
                </a:lnTo>
                <a:lnTo>
                  <a:pt x="8921" y="4456"/>
                </a:lnTo>
                <a:lnTo>
                  <a:pt x="8921" y="4456"/>
                </a:lnTo>
                <a:lnTo>
                  <a:pt x="8912" y="4642"/>
                </a:lnTo>
                <a:lnTo>
                  <a:pt x="8903" y="4818"/>
                </a:lnTo>
                <a:lnTo>
                  <a:pt x="8886" y="4986"/>
                </a:lnTo>
                <a:lnTo>
                  <a:pt x="8859" y="5154"/>
                </a:lnTo>
                <a:lnTo>
                  <a:pt x="8833" y="5321"/>
                </a:lnTo>
                <a:lnTo>
                  <a:pt x="8797" y="5480"/>
                </a:lnTo>
                <a:lnTo>
                  <a:pt x="8718" y="5798"/>
                </a:lnTo>
                <a:lnTo>
                  <a:pt x="8718" y="5798"/>
                </a:lnTo>
                <a:lnTo>
                  <a:pt x="13439" y="10456"/>
                </a:lnTo>
                <a:lnTo>
                  <a:pt x="13439" y="10456"/>
                </a:lnTo>
                <a:lnTo>
                  <a:pt x="13439" y="13298"/>
                </a:lnTo>
                <a:lnTo>
                  <a:pt x="13439" y="13298"/>
                </a:lnTo>
                <a:lnTo>
                  <a:pt x="10748" y="13298"/>
                </a:lnTo>
                <a:lnTo>
                  <a:pt x="10748" y="13298"/>
                </a:lnTo>
                <a:lnTo>
                  <a:pt x="10748" y="11471"/>
                </a:lnTo>
                <a:lnTo>
                  <a:pt x="10748" y="11471"/>
                </a:lnTo>
                <a:lnTo>
                  <a:pt x="9000" y="11471"/>
                </a:lnTo>
                <a:lnTo>
                  <a:pt x="9000" y="11471"/>
                </a:lnTo>
                <a:lnTo>
                  <a:pt x="9000" y="9689"/>
                </a:lnTo>
                <a:lnTo>
                  <a:pt x="9000" y="9689"/>
                </a:lnTo>
                <a:lnTo>
                  <a:pt x="7129" y="9689"/>
                </a:lnTo>
                <a:lnTo>
                  <a:pt x="7129" y="8021"/>
                </a:lnTo>
                <a:close/>
              </a:path>
            </a:pathLst>
          </a:custGeom>
          <a:noFill/>
          <a:ln w="28575" cap="flat">
            <a:solidFill>
              <a:srgbClr val="B3B2B4"/>
            </a:solidFill>
            <a:bevel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32597">
              <a:defRPr/>
            </a:pPr>
            <a:endParaRPr lang="en-US" sz="1836">
              <a:solidFill>
                <a:srgbClr val="505050"/>
              </a:solidFill>
              <a:latin typeface="Segoe UI"/>
            </a:endParaRPr>
          </a:p>
        </p:txBody>
      </p:sp>
      <p:sp>
        <p:nvSpPr>
          <p:cNvPr id="181" name="light">
            <a:extLst>
              <a:ext uri="{FF2B5EF4-FFF2-40B4-BE49-F238E27FC236}">
                <a16:creationId xmlns:a16="http://schemas.microsoft.com/office/drawing/2014/main" id="{38BAE752-BE22-4707-B0F9-4C08A401389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46052" y="3778278"/>
            <a:ext cx="378871" cy="562489"/>
          </a:xfrm>
          <a:custGeom>
            <a:avLst/>
            <a:gdLst>
              <a:gd name="T0" fmla="*/ 156 w 224"/>
              <a:gd name="T1" fmla="*/ 312 h 334"/>
              <a:gd name="T2" fmla="*/ 134 w 224"/>
              <a:gd name="T3" fmla="*/ 334 h 334"/>
              <a:gd name="T4" fmla="*/ 89 w 224"/>
              <a:gd name="T5" fmla="*/ 334 h 334"/>
              <a:gd name="T6" fmla="*/ 67 w 224"/>
              <a:gd name="T7" fmla="*/ 312 h 334"/>
              <a:gd name="T8" fmla="*/ 67 w 224"/>
              <a:gd name="T9" fmla="*/ 261 h 334"/>
              <a:gd name="T10" fmla="*/ 37 w 224"/>
              <a:gd name="T11" fmla="*/ 195 h 334"/>
              <a:gd name="T12" fmla="*/ 27 w 224"/>
              <a:gd name="T13" fmla="*/ 185 h 334"/>
              <a:gd name="T14" fmla="*/ 0 w 224"/>
              <a:gd name="T15" fmla="*/ 112 h 334"/>
              <a:gd name="T16" fmla="*/ 112 w 224"/>
              <a:gd name="T17" fmla="*/ 0 h 334"/>
              <a:gd name="T18" fmla="*/ 224 w 224"/>
              <a:gd name="T19" fmla="*/ 112 h 334"/>
              <a:gd name="T20" fmla="*/ 197 w 224"/>
              <a:gd name="T21" fmla="*/ 185 h 334"/>
              <a:gd name="T22" fmla="*/ 200 w 224"/>
              <a:gd name="T23" fmla="*/ 181 h 334"/>
              <a:gd name="T24" fmla="*/ 197 w 224"/>
              <a:gd name="T25" fmla="*/ 185 h 334"/>
              <a:gd name="T26" fmla="*/ 156 w 224"/>
              <a:gd name="T27" fmla="*/ 265 h 334"/>
              <a:gd name="T28" fmla="*/ 156 w 224"/>
              <a:gd name="T29" fmla="*/ 312 h 334"/>
              <a:gd name="T30" fmla="*/ 156 w 224"/>
              <a:gd name="T31" fmla="*/ 312 h 334"/>
              <a:gd name="T32" fmla="*/ 67 w 224"/>
              <a:gd name="T33" fmla="*/ 269 h 334"/>
              <a:gd name="T34" fmla="*/ 156 w 224"/>
              <a:gd name="T35" fmla="*/ 269 h 3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24" h="334">
                <a:moveTo>
                  <a:pt x="156" y="312"/>
                </a:moveTo>
                <a:cubicBezTo>
                  <a:pt x="156" y="324"/>
                  <a:pt x="146" y="334"/>
                  <a:pt x="134" y="334"/>
                </a:cubicBezTo>
                <a:cubicBezTo>
                  <a:pt x="89" y="334"/>
                  <a:pt x="89" y="334"/>
                  <a:pt x="89" y="334"/>
                </a:cubicBezTo>
                <a:cubicBezTo>
                  <a:pt x="76" y="334"/>
                  <a:pt x="67" y="324"/>
                  <a:pt x="67" y="312"/>
                </a:cubicBezTo>
                <a:cubicBezTo>
                  <a:pt x="67" y="312"/>
                  <a:pt x="67" y="300"/>
                  <a:pt x="67" y="261"/>
                </a:cubicBezTo>
                <a:cubicBezTo>
                  <a:pt x="67" y="221"/>
                  <a:pt x="37" y="195"/>
                  <a:pt x="37" y="195"/>
                </a:cubicBezTo>
                <a:cubicBezTo>
                  <a:pt x="27" y="185"/>
                  <a:pt x="27" y="185"/>
                  <a:pt x="27" y="185"/>
                </a:cubicBezTo>
                <a:cubicBezTo>
                  <a:pt x="10" y="166"/>
                  <a:pt x="0" y="140"/>
                  <a:pt x="0" y="112"/>
                </a:cubicBezTo>
                <a:cubicBezTo>
                  <a:pt x="0" y="50"/>
                  <a:pt x="50" y="0"/>
                  <a:pt x="112" y="0"/>
                </a:cubicBezTo>
                <a:cubicBezTo>
                  <a:pt x="174" y="0"/>
                  <a:pt x="224" y="50"/>
                  <a:pt x="224" y="112"/>
                </a:cubicBezTo>
                <a:cubicBezTo>
                  <a:pt x="224" y="140"/>
                  <a:pt x="214" y="166"/>
                  <a:pt x="197" y="185"/>
                </a:cubicBezTo>
                <a:moveTo>
                  <a:pt x="200" y="181"/>
                </a:moveTo>
                <a:cubicBezTo>
                  <a:pt x="197" y="185"/>
                  <a:pt x="197" y="185"/>
                  <a:pt x="197" y="185"/>
                </a:cubicBezTo>
                <a:cubicBezTo>
                  <a:pt x="197" y="185"/>
                  <a:pt x="156" y="217"/>
                  <a:pt x="156" y="265"/>
                </a:cubicBezTo>
                <a:cubicBezTo>
                  <a:pt x="156" y="312"/>
                  <a:pt x="156" y="312"/>
                  <a:pt x="156" y="312"/>
                </a:cubicBezTo>
                <a:cubicBezTo>
                  <a:pt x="156" y="312"/>
                  <a:pt x="156" y="312"/>
                  <a:pt x="156" y="312"/>
                </a:cubicBezTo>
                <a:moveTo>
                  <a:pt x="67" y="269"/>
                </a:moveTo>
                <a:cubicBezTo>
                  <a:pt x="156" y="269"/>
                  <a:pt x="156" y="269"/>
                  <a:pt x="156" y="269"/>
                </a:cubicBezTo>
              </a:path>
            </a:pathLst>
          </a:custGeom>
          <a:noFill/>
          <a:ln w="28575">
            <a:solidFill>
              <a:srgbClr val="001F50"/>
            </a:solidFill>
            <a:headEnd type="none" w="med" len="med"/>
            <a:tailEnd type="none" w="med" len="med"/>
          </a:ln>
          <a:effectLst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sp>
        <p:nvSpPr>
          <p:cNvPr id="193" name="speedometer_2">
            <a:extLst>
              <a:ext uri="{FF2B5EF4-FFF2-40B4-BE49-F238E27FC236}">
                <a16:creationId xmlns:a16="http://schemas.microsoft.com/office/drawing/2014/main" id="{96511714-CFA8-4E88-B24C-FF03D2B0D71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17775" y="1183560"/>
            <a:ext cx="439680" cy="439678"/>
          </a:xfrm>
          <a:custGeom>
            <a:avLst/>
            <a:gdLst>
              <a:gd name="T0" fmla="*/ 155 w 281"/>
              <a:gd name="T1" fmla="*/ 155 h 281"/>
              <a:gd name="T2" fmla="*/ 126 w 281"/>
              <a:gd name="T3" fmla="*/ 155 h 281"/>
              <a:gd name="T4" fmla="*/ 126 w 281"/>
              <a:gd name="T5" fmla="*/ 126 h 281"/>
              <a:gd name="T6" fmla="*/ 155 w 281"/>
              <a:gd name="T7" fmla="*/ 126 h 281"/>
              <a:gd name="T8" fmla="*/ 155 w 281"/>
              <a:gd name="T9" fmla="*/ 155 h 281"/>
              <a:gd name="T10" fmla="*/ 140 w 281"/>
              <a:gd name="T11" fmla="*/ 0 h 281"/>
              <a:gd name="T12" fmla="*/ 0 w 281"/>
              <a:gd name="T13" fmla="*/ 141 h 281"/>
              <a:gd name="T14" fmla="*/ 140 w 281"/>
              <a:gd name="T15" fmla="*/ 281 h 281"/>
              <a:gd name="T16" fmla="*/ 281 w 281"/>
              <a:gd name="T17" fmla="*/ 141 h 281"/>
              <a:gd name="T18" fmla="*/ 140 w 281"/>
              <a:gd name="T19" fmla="*/ 0 h 281"/>
              <a:gd name="T20" fmla="*/ 214 w 281"/>
              <a:gd name="T21" fmla="*/ 210 h 281"/>
              <a:gd name="T22" fmla="*/ 241 w 281"/>
              <a:gd name="T23" fmla="*/ 141 h 281"/>
              <a:gd name="T24" fmla="*/ 235 w 281"/>
              <a:gd name="T25" fmla="*/ 105 h 281"/>
              <a:gd name="T26" fmla="*/ 174 w 281"/>
              <a:gd name="T27" fmla="*/ 45 h 281"/>
              <a:gd name="T28" fmla="*/ 140 w 281"/>
              <a:gd name="T29" fmla="*/ 40 h 281"/>
              <a:gd name="T30" fmla="*/ 40 w 281"/>
              <a:gd name="T31" fmla="*/ 141 h 281"/>
              <a:gd name="T32" fmla="*/ 67 w 281"/>
              <a:gd name="T33" fmla="*/ 210 h 281"/>
              <a:gd name="T34" fmla="*/ 212 w 281"/>
              <a:gd name="T35" fmla="*/ 69 h 281"/>
              <a:gd name="T36" fmla="*/ 157 w 281"/>
              <a:gd name="T37" fmla="*/ 124 h 2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81" h="281">
                <a:moveTo>
                  <a:pt x="155" y="155"/>
                </a:moveTo>
                <a:cubicBezTo>
                  <a:pt x="147" y="164"/>
                  <a:pt x="134" y="164"/>
                  <a:pt x="126" y="155"/>
                </a:cubicBezTo>
                <a:cubicBezTo>
                  <a:pt x="117" y="147"/>
                  <a:pt x="117" y="134"/>
                  <a:pt x="126" y="126"/>
                </a:cubicBezTo>
                <a:cubicBezTo>
                  <a:pt x="134" y="118"/>
                  <a:pt x="147" y="117"/>
                  <a:pt x="155" y="126"/>
                </a:cubicBezTo>
                <a:cubicBezTo>
                  <a:pt x="164" y="134"/>
                  <a:pt x="164" y="147"/>
                  <a:pt x="155" y="155"/>
                </a:cubicBezTo>
                <a:close/>
                <a:moveTo>
                  <a:pt x="140" y="0"/>
                </a:moveTo>
                <a:cubicBezTo>
                  <a:pt x="63" y="0"/>
                  <a:pt x="0" y="63"/>
                  <a:pt x="0" y="141"/>
                </a:cubicBezTo>
                <a:cubicBezTo>
                  <a:pt x="0" y="218"/>
                  <a:pt x="63" y="281"/>
                  <a:pt x="140" y="281"/>
                </a:cubicBezTo>
                <a:cubicBezTo>
                  <a:pt x="218" y="281"/>
                  <a:pt x="281" y="218"/>
                  <a:pt x="281" y="141"/>
                </a:cubicBezTo>
                <a:cubicBezTo>
                  <a:pt x="281" y="63"/>
                  <a:pt x="218" y="0"/>
                  <a:pt x="140" y="0"/>
                </a:cubicBezTo>
                <a:close/>
                <a:moveTo>
                  <a:pt x="214" y="210"/>
                </a:moveTo>
                <a:cubicBezTo>
                  <a:pt x="231" y="192"/>
                  <a:pt x="241" y="168"/>
                  <a:pt x="241" y="141"/>
                </a:cubicBezTo>
                <a:cubicBezTo>
                  <a:pt x="241" y="128"/>
                  <a:pt x="239" y="116"/>
                  <a:pt x="235" y="105"/>
                </a:cubicBezTo>
                <a:moveTo>
                  <a:pt x="174" y="45"/>
                </a:moveTo>
                <a:cubicBezTo>
                  <a:pt x="163" y="42"/>
                  <a:pt x="152" y="40"/>
                  <a:pt x="140" y="40"/>
                </a:cubicBezTo>
                <a:cubicBezTo>
                  <a:pt x="85" y="40"/>
                  <a:pt x="40" y="85"/>
                  <a:pt x="40" y="141"/>
                </a:cubicBezTo>
                <a:cubicBezTo>
                  <a:pt x="40" y="168"/>
                  <a:pt x="50" y="192"/>
                  <a:pt x="67" y="210"/>
                </a:cubicBezTo>
                <a:moveTo>
                  <a:pt x="212" y="69"/>
                </a:moveTo>
                <a:cubicBezTo>
                  <a:pt x="157" y="124"/>
                  <a:pt x="157" y="124"/>
                  <a:pt x="157" y="124"/>
                </a:cubicBezTo>
              </a:path>
            </a:pathLst>
          </a:custGeom>
          <a:noFill/>
          <a:ln w="28575">
            <a:solidFill>
              <a:srgbClr val="B3B2B4"/>
            </a:solidFill>
            <a:headEnd type="none" w="med" len="med"/>
            <a:tailEnd type="none" w="med" len="med"/>
          </a:ln>
          <a:effectLst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grpSp>
        <p:nvGrpSpPr>
          <p:cNvPr id="194" name="Group 193">
            <a:extLst>
              <a:ext uri="{FF2B5EF4-FFF2-40B4-BE49-F238E27FC236}">
                <a16:creationId xmlns:a16="http://schemas.microsoft.com/office/drawing/2014/main" id="{D5637843-A804-4566-8EA5-DA973F5E429A}"/>
              </a:ext>
            </a:extLst>
          </p:cNvPr>
          <p:cNvGrpSpPr/>
          <p:nvPr/>
        </p:nvGrpSpPr>
        <p:grpSpPr>
          <a:xfrm>
            <a:off x="791606" y="2574304"/>
            <a:ext cx="460244" cy="449535"/>
            <a:chOff x="2088630" y="3287843"/>
            <a:chExt cx="429718" cy="419725"/>
          </a:xfrm>
          <a:noFill/>
        </p:grpSpPr>
        <p:sp>
          <p:nvSpPr>
            <p:cNvPr id="195" name="Rectangle 194">
              <a:extLst>
                <a:ext uri="{FF2B5EF4-FFF2-40B4-BE49-F238E27FC236}">
                  <a16:creationId xmlns:a16="http://schemas.microsoft.com/office/drawing/2014/main" id="{CB04EC4A-920F-43A1-8283-7054C2DD5EB6}"/>
                </a:ext>
              </a:extLst>
            </p:cNvPr>
            <p:cNvSpPr/>
            <p:nvPr/>
          </p:nvSpPr>
          <p:spPr bwMode="auto">
            <a:xfrm>
              <a:off x="2213548" y="3287843"/>
              <a:ext cx="304800" cy="304800"/>
            </a:xfrm>
            <a:prstGeom prst="rect">
              <a:avLst/>
            </a:prstGeom>
            <a:noFill/>
            <a:ln w="28575">
              <a:solidFill>
                <a:srgbClr val="B3B2B4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" pitchFamily="34" charset="0"/>
              </a:endParaRPr>
            </a:p>
          </p:txBody>
        </p:sp>
        <p:sp>
          <p:nvSpPr>
            <p:cNvPr id="196" name="Rectangle 195">
              <a:extLst>
                <a:ext uri="{FF2B5EF4-FFF2-40B4-BE49-F238E27FC236}">
                  <a16:creationId xmlns:a16="http://schemas.microsoft.com/office/drawing/2014/main" id="{F4465575-ED05-4AB7-8C13-4BAC0922F7E1}"/>
                </a:ext>
              </a:extLst>
            </p:cNvPr>
            <p:cNvSpPr/>
            <p:nvPr/>
          </p:nvSpPr>
          <p:spPr bwMode="auto">
            <a:xfrm>
              <a:off x="2088630" y="3402768"/>
              <a:ext cx="304800" cy="304800"/>
            </a:xfrm>
            <a:prstGeom prst="rect">
              <a:avLst/>
            </a:prstGeom>
            <a:noFill/>
            <a:ln w="28575">
              <a:solidFill>
                <a:srgbClr val="B3B2B4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" pitchFamily="34" charset="0"/>
              </a:endParaRPr>
            </a:p>
          </p:txBody>
        </p:sp>
      </p:grpSp>
      <p:sp>
        <p:nvSpPr>
          <p:cNvPr id="4" name="AutoShape 2" descr="https://azurecomcdn.azureedge.net/cvt-0ad50a2fef9968bb2919adafc388149b558a6b382a760e3050caf9e5a40ef415/images/page/services/machine-learning-services/workbench.svg"/>
          <p:cNvSpPr>
            <a:spLocks noChangeAspect="1" noChangeArrowheads="1"/>
          </p:cNvSpPr>
          <p:nvPr/>
        </p:nvSpPr>
        <p:spPr bwMode="auto">
          <a:xfrm>
            <a:off x="881" y="-1"/>
            <a:ext cx="310868" cy="310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3260" tIns="46630" rIns="93260" bIns="46630" numCol="1" anchor="t" anchorCtr="0" compatLnSpc="1">
            <a:prstTxWarp prst="textNoShape">
              <a:avLst/>
            </a:prstTxWarp>
          </a:bodyPr>
          <a:lstStyle/>
          <a:p>
            <a:endParaRPr lang="en-US" sz="1836"/>
          </a:p>
        </p:txBody>
      </p:sp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id="{22491D93-6F6D-4B02-911C-3F451CE91E22}"/>
              </a:ext>
            </a:extLst>
          </p:cNvPr>
          <p:cNvCxnSpPr>
            <a:cxnSpLocks/>
          </p:cNvCxnSpPr>
          <p:nvPr/>
        </p:nvCxnSpPr>
        <p:spPr>
          <a:xfrm>
            <a:off x="1994007" y="500"/>
            <a:ext cx="0" cy="7025446"/>
          </a:xfrm>
          <a:prstGeom prst="line">
            <a:avLst/>
          </a:prstGeom>
          <a:noFill/>
          <a:ln w="19050" cap="flat">
            <a:solidFill>
              <a:schemeClr val="bg1">
                <a:lumMod val="75000"/>
                <a:alpha val="70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cxnSp>
      <p:sp>
        <p:nvSpPr>
          <p:cNvPr id="3" name="TextBox 2"/>
          <p:cNvSpPr txBox="1"/>
          <p:nvPr/>
        </p:nvSpPr>
        <p:spPr>
          <a:xfrm>
            <a:off x="2240428" y="3661690"/>
            <a:ext cx="3363873" cy="956098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 algn="ctr">
              <a:spcAft>
                <a:spcPts val="612"/>
              </a:spcAft>
            </a:pPr>
            <a:r>
              <a:rPr lang="en-US" sz="1836" b="1" dirty="0">
                <a:solidFill>
                  <a:schemeClr val="tx2"/>
                </a:solidFill>
                <a:ea typeface="Segoe UI Light" charset="0"/>
                <a:cs typeface="Segoe UI Light" charset="0"/>
              </a:rPr>
              <a:t>Customizable services</a:t>
            </a:r>
          </a:p>
          <a:p>
            <a:pPr algn="ctr">
              <a:spcAft>
                <a:spcPts val="612"/>
              </a:spcAft>
            </a:pPr>
            <a:r>
              <a:rPr lang="en-US" sz="1836" dirty="0">
                <a:ea typeface="Segoe UI Light" charset="0"/>
                <a:cs typeface="Segoe UI Light" charset="0"/>
              </a:rPr>
              <a:t>VS, ML STUB, Tensor, Caffe</a:t>
            </a:r>
          </a:p>
        </p:txBody>
      </p:sp>
      <p:sp>
        <p:nvSpPr>
          <p:cNvPr id="109" name="TextBox 108"/>
          <p:cNvSpPr txBox="1"/>
          <p:nvPr/>
        </p:nvSpPr>
        <p:spPr>
          <a:xfrm>
            <a:off x="8430734" y="3661690"/>
            <a:ext cx="3748697" cy="956098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 algn="ctr">
              <a:spcAft>
                <a:spcPts val="612"/>
              </a:spcAft>
            </a:pPr>
            <a:r>
              <a:rPr lang="en-US" sz="1836" b="1" dirty="0">
                <a:solidFill>
                  <a:schemeClr val="tx2"/>
                </a:solidFill>
                <a:ea typeface="Segoe UI Light" charset="0"/>
                <a:cs typeface="Segoe UI Light" charset="0"/>
              </a:rPr>
              <a:t>Infrastructure and compute</a:t>
            </a:r>
          </a:p>
          <a:p>
            <a:pPr algn="ctr">
              <a:spcAft>
                <a:spcPts val="612"/>
              </a:spcAft>
            </a:pPr>
            <a:r>
              <a:rPr lang="en-US" sz="1836" dirty="0">
                <a:ea typeface="Segoe UI Light" charset="0"/>
                <a:cs typeface="Segoe UI Light" charset="0"/>
              </a:rPr>
              <a:t>CPU, GPU, FPGA</a:t>
            </a:r>
          </a:p>
        </p:txBody>
      </p:sp>
      <p:sp>
        <p:nvSpPr>
          <p:cNvPr id="112" name="TextBox 111"/>
          <p:cNvSpPr txBox="1"/>
          <p:nvPr/>
        </p:nvSpPr>
        <p:spPr>
          <a:xfrm>
            <a:off x="5008024" y="3661690"/>
            <a:ext cx="3751743" cy="956098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 algn="ctr">
              <a:spcAft>
                <a:spcPts val="612"/>
              </a:spcAft>
            </a:pPr>
            <a:r>
              <a:rPr lang="en-US" sz="1836" b="1" dirty="0">
                <a:solidFill>
                  <a:schemeClr val="tx2"/>
                </a:solidFill>
                <a:ea typeface="Segoe UI Light" charset="0"/>
                <a:cs typeface="Segoe UI Light" charset="0"/>
              </a:rPr>
              <a:t>Tools </a:t>
            </a:r>
          </a:p>
          <a:p>
            <a:pPr algn="ctr">
              <a:spcAft>
                <a:spcPts val="612"/>
              </a:spcAft>
            </a:pPr>
            <a:r>
              <a:rPr lang="en-US" sz="1836" dirty="0">
                <a:ea typeface="Segoe UI Light" charset="0"/>
                <a:cs typeface="Segoe UI Light" charset="0"/>
              </a:rPr>
              <a:t>Bots, Cognitive, ML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484885" y="2637554"/>
            <a:ext cx="798020" cy="821831"/>
            <a:chOff x="8555045" y="2751388"/>
            <a:chExt cx="476312" cy="490524"/>
          </a:xfrm>
          <a:solidFill>
            <a:srgbClr val="001F54"/>
          </a:solidFill>
        </p:grpSpPr>
        <p:sp>
          <p:nvSpPr>
            <p:cNvPr id="97" name="Freeform 1"/>
            <p:cNvSpPr>
              <a:spLocks noChangeArrowheads="1"/>
            </p:cNvSpPr>
            <p:nvPr/>
          </p:nvSpPr>
          <p:spPr bwMode="auto">
            <a:xfrm>
              <a:off x="8555045" y="2751388"/>
              <a:ext cx="476312" cy="490524"/>
            </a:xfrm>
            <a:custGeom>
              <a:avLst/>
              <a:gdLst>
                <a:gd name="T0" fmla="*/ 111 w 8416"/>
                <a:gd name="T1" fmla="*/ 7718 h 8980"/>
                <a:gd name="T2" fmla="*/ 333 w 8416"/>
                <a:gd name="T3" fmla="*/ 8804 h 8980"/>
                <a:gd name="T4" fmla="*/ 8074 w 8416"/>
                <a:gd name="T5" fmla="*/ 8804 h 8980"/>
                <a:gd name="T6" fmla="*/ 8304 w 8416"/>
                <a:gd name="T7" fmla="*/ 7718 h 8980"/>
                <a:gd name="T8" fmla="*/ 7526 w 8416"/>
                <a:gd name="T9" fmla="*/ 7986 h 8980"/>
                <a:gd name="T10" fmla="*/ 7693 w 8416"/>
                <a:gd name="T11" fmla="*/ 8463 h 8980"/>
                <a:gd name="T12" fmla="*/ 7375 w 8416"/>
                <a:gd name="T13" fmla="*/ 8487 h 8980"/>
                <a:gd name="T14" fmla="*/ 8002 w 8416"/>
                <a:gd name="T15" fmla="*/ 8074 h 8980"/>
                <a:gd name="T16" fmla="*/ 7820 w 8416"/>
                <a:gd name="T17" fmla="*/ 8455 h 8980"/>
                <a:gd name="T18" fmla="*/ 7526 w 8416"/>
                <a:gd name="T19" fmla="*/ 7876 h 8980"/>
                <a:gd name="T20" fmla="*/ 7248 w 8416"/>
                <a:gd name="T21" fmla="*/ 8495 h 8980"/>
                <a:gd name="T22" fmla="*/ 6470 w 8416"/>
                <a:gd name="T23" fmla="*/ 8408 h 8980"/>
                <a:gd name="T24" fmla="*/ 6121 w 8416"/>
                <a:gd name="T25" fmla="*/ 7876 h 8980"/>
                <a:gd name="T26" fmla="*/ 5930 w 8416"/>
                <a:gd name="T27" fmla="*/ 8535 h 8980"/>
                <a:gd name="T28" fmla="*/ 5136 w 8416"/>
                <a:gd name="T29" fmla="*/ 8161 h 8980"/>
                <a:gd name="T30" fmla="*/ 4723 w 8416"/>
                <a:gd name="T31" fmla="*/ 7892 h 8980"/>
                <a:gd name="T32" fmla="*/ 4596 w 8416"/>
                <a:gd name="T33" fmla="*/ 8566 h 8980"/>
                <a:gd name="T34" fmla="*/ 3714 w 8416"/>
                <a:gd name="T35" fmla="*/ 8161 h 8980"/>
                <a:gd name="T36" fmla="*/ 3596 w 8416"/>
                <a:gd name="T37" fmla="*/ 6868 h 8980"/>
                <a:gd name="T38" fmla="*/ 4549 w 8416"/>
                <a:gd name="T39" fmla="*/ 6074 h 8980"/>
                <a:gd name="T40" fmla="*/ 5001 w 8416"/>
                <a:gd name="T41" fmla="*/ 6312 h 8980"/>
                <a:gd name="T42" fmla="*/ 5898 w 8416"/>
                <a:gd name="T43" fmla="*/ 6074 h 8980"/>
                <a:gd name="T44" fmla="*/ 6287 w 8416"/>
                <a:gd name="T45" fmla="*/ 6336 h 8980"/>
                <a:gd name="T46" fmla="*/ 563 w 8416"/>
                <a:gd name="T47" fmla="*/ 8439 h 8980"/>
                <a:gd name="T48" fmla="*/ 738 w 8416"/>
                <a:gd name="T49" fmla="*/ 7986 h 8980"/>
                <a:gd name="T50" fmla="*/ 881 w 8416"/>
                <a:gd name="T51" fmla="*/ 8502 h 8980"/>
                <a:gd name="T52" fmla="*/ 570 w 8416"/>
                <a:gd name="T53" fmla="*/ 7923 h 8980"/>
                <a:gd name="T54" fmla="*/ 412 w 8416"/>
                <a:gd name="T55" fmla="*/ 8058 h 8980"/>
                <a:gd name="T56" fmla="*/ 1793 w 8416"/>
                <a:gd name="T57" fmla="*/ 5836 h 8980"/>
                <a:gd name="T58" fmla="*/ 2127 w 8416"/>
                <a:gd name="T59" fmla="*/ 6352 h 8980"/>
                <a:gd name="T60" fmla="*/ 2810 w 8416"/>
                <a:gd name="T61" fmla="*/ 5836 h 8980"/>
                <a:gd name="T62" fmla="*/ 3191 w 8416"/>
                <a:gd name="T63" fmla="*/ 6812 h 8980"/>
                <a:gd name="T64" fmla="*/ 2715 w 8416"/>
                <a:gd name="T65" fmla="*/ 6900 h 8980"/>
                <a:gd name="T66" fmla="*/ 2985 w 8416"/>
                <a:gd name="T67" fmla="*/ 7551 h 8980"/>
                <a:gd name="T68" fmla="*/ 2365 w 8416"/>
                <a:gd name="T69" fmla="*/ 8408 h 8980"/>
                <a:gd name="T70" fmla="*/ 2015 w 8416"/>
                <a:gd name="T71" fmla="*/ 7876 h 8980"/>
                <a:gd name="T72" fmla="*/ 1826 w 8416"/>
                <a:gd name="T73" fmla="*/ 8535 h 8980"/>
                <a:gd name="T74" fmla="*/ 1031 w 8416"/>
                <a:gd name="T75" fmla="*/ 8161 h 8980"/>
                <a:gd name="T76" fmla="*/ 6351 w 8416"/>
                <a:gd name="T77" fmla="*/ 6074 h 8980"/>
                <a:gd name="T78" fmla="*/ 6113 w 8416"/>
                <a:gd name="T79" fmla="*/ 6233 h 8980"/>
                <a:gd name="T80" fmla="*/ 5009 w 8416"/>
                <a:gd name="T81" fmla="*/ 6106 h 8980"/>
                <a:gd name="T82" fmla="*/ 4715 w 8416"/>
                <a:gd name="T83" fmla="*/ 6193 h 8980"/>
                <a:gd name="T84" fmla="*/ 3246 w 8416"/>
                <a:gd name="T85" fmla="*/ 5836 h 8980"/>
                <a:gd name="T86" fmla="*/ 2142 w 8416"/>
                <a:gd name="T87" fmla="*/ 6233 h 8980"/>
                <a:gd name="T88" fmla="*/ 1913 w 8416"/>
                <a:gd name="T89" fmla="*/ 5836 h 8980"/>
                <a:gd name="T90" fmla="*/ 3326 w 8416"/>
                <a:gd name="T91" fmla="*/ 8550 h 8980"/>
                <a:gd name="T92" fmla="*/ 3326 w 8416"/>
                <a:gd name="T93" fmla="*/ 8018 h 8980"/>
                <a:gd name="T94" fmla="*/ 3596 w 8416"/>
                <a:gd name="T95" fmla="*/ 8161 h 8980"/>
                <a:gd name="T96" fmla="*/ 2945 w 8416"/>
                <a:gd name="T97" fmla="*/ 7424 h 8980"/>
                <a:gd name="T98" fmla="*/ 2833 w 8416"/>
                <a:gd name="T99" fmla="*/ 6916 h 8980"/>
                <a:gd name="T100" fmla="*/ 1913 w 8416"/>
                <a:gd name="T101" fmla="*/ 8408 h 8980"/>
                <a:gd name="T102" fmla="*/ 2111 w 8416"/>
                <a:gd name="T103" fmla="*/ 7995 h 8980"/>
                <a:gd name="T104" fmla="*/ 2231 w 8416"/>
                <a:gd name="T105" fmla="*/ 8487 h 8980"/>
                <a:gd name="T106" fmla="*/ 4659 w 8416"/>
                <a:gd name="T107" fmla="*/ 8408 h 8980"/>
                <a:gd name="T108" fmla="*/ 4874 w 8416"/>
                <a:gd name="T109" fmla="*/ 7995 h 8980"/>
                <a:gd name="T110" fmla="*/ 4993 w 8416"/>
                <a:gd name="T111" fmla="*/ 8487 h 8980"/>
                <a:gd name="T112" fmla="*/ 4667 w 8416"/>
                <a:gd name="T113" fmla="*/ 8431 h 8980"/>
                <a:gd name="T114" fmla="*/ 6177 w 8416"/>
                <a:gd name="T115" fmla="*/ 7986 h 8980"/>
                <a:gd name="T116" fmla="*/ 6351 w 8416"/>
                <a:gd name="T117" fmla="*/ 8431 h 8980"/>
                <a:gd name="T118" fmla="*/ 6017 w 8416"/>
                <a:gd name="T119" fmla="*/ 8431 h 8980"/>
                <a:gd name="T120" fmla="*/ 2476 w 8416"/>
                <a:gd name="T121" fmla="*/ 1136 h 89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416" h="8980">
                  <a:moveTo>
                    <a:pt x="8304" y="7718"/>
                  </a:moveTo>
                  <a:lnTo>
                    <a:pt x="5811" y="3248"/>
                  </a:lnTo>
                  <a:lnTo>
                    <a:pt x="5811" y="1541"/>
                  </a:lnTo>
                  <a:lnTo>
                    <a:pt x="6343" y="1541"/>
                  </a:lnTo>
                  <a:lnTo>
                    <a:pt x="6343" y="0"/>
                  </a:lnTo>
                  <a:lnTo>
                    <a:pt x="2071" y="0"/>
                  </a:lnTo>
                  <a:lnTo>
                    <a:pt x="2071" y="1541"/>
                  </a:lnTo>
                  <a:lnTo>
                    <a:pt x="2603" y="1541"/>
                  </a:lnTo>
                  <a:lnTo>
                    <a:pt x="2603" y="3248"/>
                  </a:lnTo>
                  <a:lnTo>
                    <a:pt x="1293" y="5590"/>
                  </a:lnTo>
                  <a:lnTo>
                    <a:pt x="111" y="7718"/>
                  </a:lnTo>
                  <a:lnTo>
                    <a:pt x="111" y="7718"/>
                  </a:lnTo>
                  <a:lnTo>
                    <a:pt x="64" y="7821"/>
                  </a:lnTo>
                  <a:lnTo>
                    <a:pt x="24" y="7923"/>
                  </a:lnTo>
                  <a:lnTo>
                    <a:pt x="8" y="8026"/>
                  </a:lnTo>
                  <a:lnTo>
                    <a:pt x="0" y="8138"/>
                  </a:lnTo>
                  <a:lnTo>
                    <a:pt x="8" y="8248"/>
                  </a:lnTo>
                  <a:lnTo>
                    <a:pt x="31" y="8352"/>
                  </a:lnTo>
                  <a:lnTo>
                    <a:pt x="64" y="8455"/>
                  </a:lnTo>
                  <a:lnTo>
                    <a:pt x="119" y="8558"/>
                  </a:lnTo>
                  <a:lnTo>
                    <a:pt x="119" y="8558"/>
                  </a:lnTo>
                  <a:lnTo>
                    <a:pt x="181" y="8653"/>
                  </a:lnTo>
                  <a:lnTo>
                    <a:pt x="253" y="8733"/>
                  </a:lnTo>
                  <a:lnTo>
                    <a:pt x="333" y="8804"/>
                  </a:lnTo>
                  <a:lnTo>
                    <a:pt x="428" y="8867"/>
                  </a:lnTo>
                  <a:lnTo>
                    <a:pt x="523" y="8915"/>
                  </a:lnTo>
                  <a:lnTo>
                    <a:pt x="626" y="8948"/>
                  </a:lnTo>
                  <a:lnTo>
                    <a:pt x="738" y="8971"/>
                  </a:lnTo>
                  <a:lnTo>
                    <a:pt x="848" y="8979"/>
                  </a:lnTo>
                  <a:lnTo>
                    <a:pt x="7566" y="8979"/>
                  </a:lnTo>
                  <a:lnTo>
                    <a:pt x="7566" y="8979"/>
                  </a:lnTo>
                  <a:lnTo>
                    <a:pt x="7677" y="8971"/>
                  </a:lnTo>
                  <a:lnTo>
                    <a:pt x="7788" y="8948"/>
                  </a:lnTo>
                  <a:lnTo>
                    <a:pt x="7892" y="8915"/>
                  </a:lnTo>
                  <a:lnTo>
                    <a:pt x="7986" y="8867"/>
                  </a:lnTo>
                  <a:lnTo>
                    <a:pt x="8074" y="8804"/>
                  </a:lnTo>
                  <a:lnTo>
                    <a:pt x="8162" y="8733"/>
                  </a:lnTo>
                  <a:lnTo>
                    <a:pt x="8233" y="8653"/>
                  </a:lnTo>
                  <a:lnTo>
                    <a:pt x="8297" y="8558"/>
                  </a:lnTo>
                  <a:lnTo>
                    <a:pt x="8297" y="8558"/>
                  </a:lnTo>
                  <a:lnTo>
                    <a:pt x="8343" y="8455"/>
                  </a:lnTo>
                  <a:lnTo>
                    <a:pt x="8384" y="8352"/>
                  </a:lnTo>
                  <a:lnTo>
                    <a:pt x="8407" y="8248"/>
                  </a:lnTo>
                  <a:lnTo>
                    <a:pt x="8415" y="8138"/>
                  </a:lnTo>
                  <a:lnTo>
                    <a:pt x="8407" y="8026"/>
                  </a:lnTo>
                  <a:lnTo>
                    <a:pt x="8384" y="7923"/>
                  </a:lnTo>
                  <a:lnTo>
                    <a:pt x="8352" y="7821"/>
                  </a:lnTo>
                  <a:lnTo>
                    <a:pt x="8304" y="7718"/>
                  </a:lnTo>
                  <a:close/>
                  <a:moveTo>
                    <a:pt x="7352" y="8408"/>
                  </a:moveTo>
                  <a:lnTo>
                    <a:pt x="7352" y="8161"/>
                  </a:lnTo>
                  <a:lnTo>
                    <a:pt x="7352" y="8161"/>
                  </a:lnTo>
                  <a:lnTo>
                    <a:pt x="7352" y="8121"/>
                  </a:lnTo>
                  <a:lnTo>
                    <a:pt x="7367" y="8090"/>
                  </a:lnTo>
                  <a:lnTo>
                    <a:pt x="7383" y="8066"/>
                  </a:lnTo>
                  <a:lnTo>
                    <a:pt x="7399" y="8042"/>
                  </a:lnTo>
                  <a:lnTo>
                    <a:pt x="7431" y="8018"/>
                  </a:lnTo>
                  <a:lnTo>
                    <a:pt x="7454" y="8003"/>
                  </a:lnTo>
                  <a:lnTo>
                    <a:pt x="7494" y="7995"/>
                  </a:lnTo>
                  <a:lnTo>
                    <a:pt x="7526" y="7986"/>
                  </a:lnTo>
                  <a:lnTo>
                    <a:pt x="7526" y="7986"/>
                  </a:lnTo>
                  <a:lnTo>
                    <a:pt x="7558" y="7995"/>
                  </a:lnTo>
                  <a:lnTo>
                    <a:pt x="7589" y="8003"/>
                  </a:lnTo>
                  <a:lnTo>
                    <a:pt x="7622" y="8018"/>
                  </a:lnTo>
                  <a:lnTo>
                    <a:pt x="7645" y="8042"/>
                  </a:lnTo>
                  <a:lnTo>
                    <a:pt x="7669" y="8066"/>
                  </a:lnTo>
                  <a:lnTo>
                    <a:pt x="7685" y="8090"/>
                  </a:lnTo>
                  <a:lnTo>
                    <a:pt x="7701" y="8121"/>
                  </a:lnTo>
                  <a:lnTo>
                    <a:pt x="7701" y="8161"/>
                  </a:lnTo>
                  <a:lnTo>
                    <a:pt x="7701" y="8408"/>
                  </a:lnTo>
                  <a:lnTo>
                    <a:pt x="7701" y="8408"/>
                  </a:lnTo>
                  <a:lnTo>
                    <a:pt x="7701" y="8431"/>
                  </a:lnTo>
                  <a:lnTo>
                    <a:pt x="7693" y="8463"/>
                  </a:lnTo>
                  <a:lnTo>
                    <a:pt x="7677" y="8487"/>
                  </a:lnTo>
                  <a:lnTo>
                    <a:pt x="7661" y="8510"/>
                  </a:lnTo>
                  <a:lnTo>
                    <a:pt x="7622" y="8550"/>
                  </a:lnTo>
                  <a:lnTo>
                    <a:pt x="7566" y="8566"/>
                  </a:lnTo>
                  <a:lnTo>
                    <a:pt x="7566" y="8566"/>
                  </a:lnTo>
                  <a:lnTo>
                    <a:pt x="7566" y="8566"/>
                  </a:lnTo>
                  <a:lnTo>
                    <a:pt x="7487" y="8566"/>
                  </a:lnTo>
                  <a:lnTo>
                    <a:pt x="7487" y="8566"/>
                  </a:lnTo>
                  <a:lnTo>
                    <a:pt x="7454" y="8558"/>
                  </a:lnTo>
                  <a:lnTo>
                    <a:pt x="7431" y="8550"/>
                  </a:lnTo>
                  <a:lnTo>
                    <a:pt x="7391" y="8510"/>
                  </a:lnTo>
                  <a:lnTo>
                    <a:pt x="7375" y="8487"/>
                  </a:lnTo>
                  <a:lnTo>
                    <a:pt x="7359" y="8463"/>
                  </a:lnTo>
                  <a:lnTo>
                    <a:pt x="7352" y="8431"/>
                  </a:lnTo>
                  <a:lnTo>
                    <a:pt x="7352" y="8408"/>
                  </a:lnTo>
                  <a:close/>
                  <a:moveTo>
                    <a:pt x="6796" y="5844"/>
                  </a:moveTo>
                  <a:lnTo>
                    <a:pt x="6796" y="6288"/>
                  </a:lnTo>
                  <a:lnTo>
                    <a:pt x="6906" y="6288"/>
                  </a:lnTo>
                  <a:lnTo>
                    <a:pt x="6906" y="6058"/>
                  </a:lnTo>
                  <a:lnTo>
                    <a:pt x="7947" y="7916"/>
                  </a:lnTo>
                  <a:lnTo>
                    <a:pt x="7947" y="7916"/>
                  </a:lnTo>
                  <a:lnTo>
                    <a:pt x="7971" y="7970"/>
                  </a:lnTo>
                  <a:lnTo>
                    <a:pt x="7994" y="8018"/>
                  </a:lnTo>
                  <a:lnTo>
                    <a:pt x="8002" y="8074"/>
                  </a:lnTo>
                  <a:lnTo>
                    <a:pt x="8002" y="8138"/>
                  </a:lnTo>
                  <a:lnTo>
                    <a:pt x="8002" y="8193"/>
                  </a:lnTo>
                  <a:lnTo>
                    <a:pt x="7986" y="8248"/>
                  </a:lnTo>
                  <a:lnTo>
                    <a:pt x="7971" y="8296"/>
                  </a:lnTo>
                  <a:lnTo>
                    <a:pt x="7947" y="8352"/>
                  </a:lnTo>
                  <a:lnTo>
                    <a:pt x="7947" y="8352"/>
                  </a:lnTo>
                  <a:lnTo>
                    <a:pt x="7915" y="8391"/>
                  </a:lnTo>
                  <a:lnTo>
                    <a:pt x="7884" y="8431"/>
                  </a:lnTo>
                  <a:lnTo>
                    <a:pt x="7844" y="8471"/>
                  </a:lnTo>
                  <a:lnTo>
                    <a:pt x="7804" y="8495"/>
                  </a:lnTo>
                  <a:lnTo>
                    <a:pt x="7804" y="8495"/>
                  </a:lnTo>
                  <a:lnTo>
                    <a:pt x="7820" y="8455"/>
                  </a:lnTo>
                  <a:lnTo>
                    <a:pt x="7820" y="8408"/>
                  </a:lnTo>
                  <a:lnTo>
                    <a:pt x="7820" y="8161"/>
                  </a:lnTo>
                  <a:lnTo>
                    <a:pt x="7820" y="8161"/>
                  </a:lnTo>
                  <a:lnTo>
                    <a:pt x="7812" y="8105"/>
                  </a:lnTo>
                  <a:lnTo>
                    <a:pt x="7796" y="8050"/>
                  </a:lnTo>
                  <a:lnTo>
                    <a:pt x="7772" y="8003"/>
                  </a:lnTo>
                  <a:lnTo>
                    <a:pt x="7732" y="7963"/>
                  </a:lnTo>
                  <a:lnTo>
                    <a:pt x="7693" y="7923"/>
                  </a:lnTo>
                  <a:lnTo>
                    <a:pt x="7637" y="7900"/>
                  </a:lnTo>
                  <a:lnTo>
                    <a:pt x="7581" y="7876"/>
                  </a:lnTo>
                  <a:lnTo>
                    <a:pt x="7526" y="7876"/>
                  </a:lnTo>
                  <a:lnTo>
                    <a:pt x="7526" y="7876"/>
                  </a:lnTo>
                  <a:lnTo>
                    <a:pt x="7471" y="7876"/>
                  </a:lnTo>
                  <a:lnTo>
                    <a:pt x="7415" y="7892"/>
                  </a:lnTo>
                  <a:lnTo>
                    <a:pt x="7359" y="7923"/>
                  </a:lnTo>
                  <a:lnTo>
                    <a:pt x="7319" y="7955"/>
                  </a:lnTo>
                  <a:lnTo>
                    <a:pt x="7280" y="8003"/>
                  </a:lnTo>
                  <a:lnTo>
                    <a:pt x="7256" y="8050"/>
                  </a:lnTo>
                  <a:lnTo>
                    <a:pt x="7240" y="8105"/>
                  </a:lnTo>
                  <a:lnTo>
                    <a:pt x="7232" y="8161"/>
                  </a:lnTo>
                  <a:lnTo>
                    <a:pt x="7232" y="8408"/>
                  </a:lnTo>
                  <a:lnTo>
                    <a:pt x="7232" y="8408"/>
                  </a:lnTo>
                  <a:lnTo>
                    <a:pt x="7240" y="8447"/>
                  </a:lnTo>
                  <a:lnTo>
                    <a:pt x="7248" y="8495"/>
                  </a:lnTo>
                  <a:lnTo>
                    <a:pt x="7265" y="8535"/>
                  </a:lnTo>
                  <a:lnTo>
                    <a:pt x="7288" y="8566"/>
                  </a:lnTo>
                  <a:lnTo>
                    <a:pt x="6906" y="8566"/>
                  </a:lnTo>
                  <a:lnTo>
                    <a:pt x="6906" y="7931"/>
                  </a:lnTo>
                  <a:lnTo>
                    <a:pt x="6796" y="7931"/>
                  </a:lnTo>
                  <a:lnTo>
                    <a:pt x="6796" y="8566"/>
                  </a:lnTo>
                  <a:lnTo>
                    <a:pt x="6414" y="8566"/>
                  </a:lnTo>
                  <a:lnTo>
                    <a:pt x="6414" y="8566"/>
                  </a:lnTo>
                  <a:lnTo>
                    <a:pt x="6438" y="8535"/>
                  </a:lnTo>
                  <a:lnTo>
                    <a:pt x="6455" y="8495"/>
                  </a:lnTo>
                  <a:lnTo>
                    <a:pt x="6470" y="8447"/>
                  </a:lnTo>
                  <a:lnTo>
                    <a:pt x="6470" y="8408"/>
                  </a:lnTo>
                  <a:lnTo>
                    <a:pt x="6470" y="8161"/>
                  </a:lnTo>
                  <a:lnTo>
                    <a:pt x="6470" y="8161"/>
                  </a:lnTo>
                  <a:lnTo>
                    <a:pt x="6462" y="8105"/>
                  </a:lnTo>
                  <a:lnTo>
                    <a:pt x="6447" y="8050"/>
                  </a:lnTo>
                  <a:lnTo>
                    <a:pt x="6422" y="8003"/>
                  </a:lnTo>
                  <a:lnTo>
                    <a:pt x="6383" y="7955"/>
                  </a:lnTo>
                  <a:lnTo>
                    <a:pt x="6343" y="7923"/>
                  </a:lnTo>
                  <a:lnTo>
                    <a:pt x="6295" y="7892"/>
                  </a:lnTo>
                  <a:lnTo>
                    <a:pt x="6240" y="7876"/>
                  </a:lnTo>
                  <a:lnTo>
                    <a:pt x="6177" y="7876"/>
                  </a:lnTo>
                  <a:lnTo>
                    <a:pt x="6177" y="7876"/>
                  </a:lnTo>
                  <a:lnTo>
                    <a:pt x="6121" y="7876"/>
                  </a:lnTo>
                  <a:lnTo>
                    <a:pt x="6065" y="7900"/>
                  </a:lnTo>
                  <a:lnTo>
                    <a:pt x="6017" y="7923"/>
                  </a:lnTo>
                  <a:lnTo>
                    <a:pt x="5978" y="7955"/>
                  </a:lnTo>
                  <a:lnTo>
                    <a:pt x="5946" y="8003"/>
                  </a:lnTo>
                  <a:lnTo>
                    <a:pt x="5922" y="8050"/>
                  </a:lnTo>
                  <a:lnTo>
                    <a:pt x="5907" y="8105"/>
                  </a:lnTo>
                  <a:lnTo>
                    <a:pt x="5898" y="8161"/>
                  </a:lnTo>
                  <a:lnTo>
                    <a:pt x="5898" y="8408"/>
                  </a:lnTo>
                  <a:lnTo>
                    <a:pt x="5898" y="8408"/>
                  </a:lnTo>
                  <a:lnTo>
                    <a:pt x="5898" y="8447"/>
                  </a:lnTo>
                  <a:lnTo>
                    <a:pt x="5915" y="8495"/>
                  </a:lnTo>
                  <a:lnTo>
                    <a:pt x="5930" y="8535"/>
                  </a:lnTo>
                  <a:lnTo>
                    <a:pt x="5946" y="8566"/>
                  </a:lnTo>
                  <a:lnTo>
                    <a:pt x="5573" y="8566"/>
                  </a:lnTo>
                  <a:lnTo>
                    <a:pt x="5573" y="7931"/>
                  </a:lnTo>
                  <a:lnTo>
                    <a:pt x="5454" y="7931"/>
                  </a:lnTo>
                  <a:lnTo>
                    <a:pt x="5454" y="8566"/>
                  </a:lnTo>
                  <a:lnTo>
                    <a:pt x="5080" y="8566"/>
                  </a:lnTo>
                  <a:lnTo>
                    <a:pt x="5080" y="8566"/>
                  </a:lnTo>
                  <a:lnTo>
                    <a:pt x="5105" y="8535"/>
                  </a:lnTo>
                  <a:lnTo>
                    <a:pt x="5120" y="8495"/>
                  </a:lnTo>
                  <a:lnTo>
                    <a:pt x="5128" y="8447"/>
                  </a:lnTo>
                  <a:lnTo>
                    <a:pt x="5136" y="8408"/>
                  </a:lnTo>
                  <a:lnTo>
                    <a:pt x="5136" y="8161"/>
                  </a:lnTo>
                  <a:lnTo>
                    <a:pt x="5136" y="8161"/>
                  </a:lnTo>
                  <a:lnTo>
                    <a:pt x="5128" y="8105"/>
                  </a:lnTo>
                  <a:lnTo>
                    <a:pt x="5112" y="8050"/>
                  </a:lnTo>
                  <a:lnTo>
                    <a:pt x="5080" y="8003"/>
                  </a:lnTo>
                  <a:lnTo>
                    <a:pt x="5049" y="7955"/>
                  </a:lnTo>
                  <a:lnTo>
                    <a:pt x="5001" y="7923"/>
                  </a:lnTo>
                  <a:lnTo>
                    <a:pt x="4954" y="7892"/>
                  </a:lnTo>
                  <a:lnTo>
                    <a:pt x="4898" y="7876"/>
                  </a:lnTo>
                  <a:lnTo>
                    <a:pt x="4842" y="7876"/>
                  </a:lnTo>
                  <a:lnTo>
                    <a:pt x="4842" y="7876"/>
                  </a:lnTo>
                  <a:lnTo>
                    <a:pt x="4779" y="7876"/>
                  </a:lnTo>
                  <a:lnTo>
                    <a:pt x="4723" y="7892"/>
                  </a:lnTo>
                  <a:lnTo>
                    <a:pt x="4676" y="7923"/>
                  </a:lnTo>
                  <a:lnTo>
                    <a:pt x="4628" y="7955"/>
                  </a:lnTo>
                  <a:lnTo>
                    <a:pt x="4596" y="8003"/>
                  </a:lnTo>
                  <a:lnTo>
                    <a:pt x="4565" y="8050"/>
                  </a:lnTo>
                  <a:lnTo>
                    <a:pt x="4549" y="8105"/>
                  </a:lnTo>
                  <a:lnTo>
                    <a:pt x="4549" y="8161"/>
                  </a:lnTo>
                  <a:lnTo>
                    <a:pt x="4549" y="8408"/>
                  </a:lnTo>
                  <a:lnTo>
                    <a:pt x="4549" y="8408"/>
                  </a:lnTo>
                  <a:lnTo>
                    <a:pt x="4549" y="8447"/>
                  </a:lnTo>
                  <a:lnTo>
                    <a:pt x="4557" y="8495"/>
                  </a:lnTo>
                  <a:lnTo>
                    <a:pt x="4572" y="8535"/>
                  </a:lnTo>
                  <a:lnTo>
                    <a:pt x="4596" y="8566"/>
                  </a:lnTo>
                  <a:lnTo>
                    <a:pt x="4223" y="8566"/>
                  </a:lnTo>
                  <a:lnTo>
                    <a:pt x="4223" y="7931"/>
                  </a:lnTo>
                  <a:lnTo>
                    <a:pt x="4104" y="7931"/>
                  </a:lnTo>
                  <a:lnTo>
                    <a:pt x="4104" y="8566"/>
                  </a:lnTo>
                  <a:lnTo>
                    <a:pt x="3660" y="8566"/>
                  </a:lnTo>
                  <a:lnTo>
                    <a:pt x="3660" y="8566"/>
                  </a:lnTo>
                  <a:lnTo>
                    <a:pt x="3683" y="8535"/>
                  </a:lnTo>
                  <a:lnTo>
                    <a:pt x="3699" y="8487"/>
                  </a:lnTo>
                  <a:lnTo>
                    <a:pt x="3714" y="8447"/>
                  </a:lnTo>
                  <a:lnTo>
                    <a:pt x="3714" y="8408"/>
                  </a:lnTo>
                  <a:lnTo>
                    <a:pt x="3714" y="8161"/>
                  </a:lnTo>
                  <a:lnTo>
                    <a:pt x="3714" y="8161"/>
                  </a:lnTo>
                  <a:lnTo>
                    <a:pt x="3707" y="8105"/>
                  </a:lnTo>
                  <a:lnTo>
                    <a:pt x="3691" y="8050"/>
                  </a:lnTo>
                  <a:lnTo>
                    <a:pt x="3668" y="8003"/>
                  </a:lnTo>
                  <a:lnTo>
                    <a:pt x="3627" y="7963"/>
                  </a:lnTo>
                  <a:lnTo>
                    <a:pt x="3588" y="7923"/>
                  </a:lnTo>
                  <a:lnTo>
                    <a:pt x="3533" y="7900"/>
                  </a:lnTo>
                  <a:lnTo>
                    <a:pt x="3477" y="7876"/>
                  </a:lnTo>
                  <a:lnTo>
                    <a:pt x="3421" y="7876"/>
                  </a:lnTo>
                  <a:lnTo>
                    <a:pt x="3421" y="7876"/>
                  </a:lnTo>
                  <a:lnTo>
                    <a:pt x="3365" y="7876"/>
                  </a:lnTo>
                  <a:lnTo>
                    <a:pt x="3309" y="7892"/>
                  </a:lnTo>
                  <a:lnTo>
                    <a:pt x="3596" y="6868"/>
                  </a:lnTo>
                  <a:lnTo>
                    <a:pt x="3596" y="7472"/>
                  </a:lnTo>
                  <a:lnTo>
                    <a:pt x="3714" y="7472"/>
                  </a:lnTo>
                  <a:lnTo>
                    <a:pt x="3714" y="6789"/>
                  </a:lnTo>
                  <a:lnTo>
                    <a:pt x="3620" y="6789"/>
                  </a:lnTo>
                  <a:lnTo>
                    <a:pt x="3890" y="5836"/>
                  </a:lnTo>
                  <a:lnTo>
                    <a:pt x="4104" y="5836"/>
                  </a:lnTo>
                  <a:lnTo>
                    <a:pt x="4104" y="6288"/>
                  </a:lnTo>
                  <a:lnTo>
                    <a:pt x="4223" y="6288"/>
                  </a:lnTo>
                  <a:lnTo>
                    <a:pt x="4223" y="5836"/>
                  </a:lnTo>
                  <a:lnTo>
                    <a:pt x="4549" y="5836"/>
                  </a:lnTo>
                  <a:lnTo>
                    <a:pt x="4549" y="6074"/>
                  </a:lnTo>
                  <a:lnTo>
                    <a:pt x="4549" y="6074"/>
                  </a:lnTo>
                  <a:lnTo>
                    <a:pt x="4549" y="6129"/>
                  </a:lnTo>
                  <a:lnTo>
                    <a:pt x="4572" y="6185"/>
                  </a:lnTo>
                  <a:lnTo>
                    <a:pt x="4596" y="6233"/>
                  </a:lnTo>
                  <a:lnTo>
                    <a:pt x="4636" y="6272"/>
                  </a:lnTo>
                  <a:lnTo>
                    <a:pt x="4676" y="6312"/>
                  </a:lnTo>
                  <a:lnTo>
                    <a:pt x="4731" y="6336"/>
                  </a:lnTo>
                  <a:lnTo>
                    <a:pt x="4779" y="6352"/>
                  </a:lnTo>
                  <a:lnTo>
                    <a:pt x="4842" y="6360"/>
                  </a:lnTo>
                  <a:lnTo>
                    <a:pt x="4842" y="6360"/>
                  </a:lnTo>
                  <a:lnTo>
                    <a:pt x="4898" y="6352"/>
                  </a:lnTo>
                  <a:lnTo>
                    <a:pt x="4954" y="6336"/>
                  </a:lnTo>
                  <a:lnTo>
                    <a:pt x="5001" y="6312"/>
                  </a:lnTo>
                  <a:lnTo>
                    <a:pt x="5049" y="6272"/>
                  </a:lnTo>
                  <a:lnTo>
                    <a:pt x="5080" y="6233"/>
                  </a:lnTo>
                  <a:lnTo>
                    <a:pt x="5112" y="6185"/>
                  </a:lnTo>
                  <a:lnTo>
                    <a:pt x="5128" y="6129"/>
                  </a:lnTo>
                  <a:lnTo>
                    <a:pt x="5136" y="6074"/>
                  </a:lnTo>
                  <a:lnTo>
                    <a:pt x="5136" y="5836"/>
                  </a:lnTo>
                  <a:lnTo>
                    <a:pt x="5454" y="5836"/>
                  </a:lnTo>
                  <a:lnTo>
                    <a:pt x="5454" y="6288"/>
                  </a:lnTo>
                  <a:lnTo>
                    <a:pt x="5573" y="6288"/>
                  </a:lnTo>
                  <a:lnTo>
                    <a:pt x="5573" y="5836"/>
                  </a:lnTo>
                  <a:lnTo>
                    <a:pt x="5898" y="5836"/>
                  </a:lnTo>
                  <a:lnTo>
                    <a:pt x="5898" y="6074"/>
                  </a:lnTo>
                  <a:lnTo>
                    <a:pt x="5898" y="6074"/>
                  </a:lnTo>
                  <a:lnTo>
                    <a:pt x="5907" y="6129"/>
                  </a:lnTo>
                  <a:lnTo>
                    <a:pt x="5922" y="6185"/>
                  </a:lnTo>
                  <a:lnTo>
                    <a:pt x="5946" y="6233"/>
                  </a:lnTo>
                  <a:lnTo>
                    <a:pt x="5986" y="6272"/>
                  </a:lnTo>
                  <a:lnTo>
                    <a:pt x="6025" y="6312"/>
                  </a:lnTo>
                  <a:lnTo>
                    <a:pt x="6073" y="6336"/>
                  </a:lnTo>
                  <a:lnTo>
                    <a:pt x="6121" y="6352"/>
                  </a:lnTo>
                  <a:lnTo>
                    <a:pt x="6177" y="6360"/>
                  </a:lnTo>
                  <a:lnTo>
                    <a:pt x="6177" y="6360"/>
                  </a:lnTo>
                  <a:lnTo>
                    <a:pt x="6231" y="6352"/>
                  </a:lnTo>
                  <a:lnTo>
                    <a:pt x="6287" y="6336"/>
                  </a:lnTo>
                  <a:lnTo>
                    <a:pt x="6335" y="6312"/>
                  </a:lnTo>
                  <a:lnTo>
                    <a:pt x="6383" y="6272"/>
                  </a:lnTo>
                  <a:lnTo>
                    <a:pt x="6414" y="6233"/>
                  </a:lnTo>
                  <a:lnTo>
                    <a:pt x="6447" y="6185"/>
                  </a:lnTo>
                  <a:lnTo>
                    <a:pt x="6462" y="6129"/>
                  </a:lnTo>
                  <a:lnTo>
                    <a:pt x="6470" y="6074"/>
                  </a:lnTo>
                  <a:lnTo>
                    <a:pt x="6470" y="5836"/>
                  </a:lnTo>
                  <a:lnTo>
                    <a:pt x="6788" y="5836"/>
                  </a:lnTo>
                  <a:lnTo>
                    <a:pt x="6796" y="5844"/>
                  </a:lnTo>
                  <a:close/>
                  <a:moveTo>
                    <a:pt x="570" y="8471"/>
                  </a:moveTo>
                  <a:lnTo>
                    <a:pt x="570" y="8471"/>
                  </a:lnTo>
                  <a:lnTo>
                    <a:pt x="563" y="8439"/>
                  </a:lnTo>
                  <a:lnTo>
                    <a:pt x="555" y="8408"/>
                  </a:lnTo>
                  <a:lnTo>
                    <a:pt x="555" y="8161"/>
                  </a:lnTo>
                  <a:lnTo>
                    <a:pt x="555" y="8161"/>
                  </a:lnTo>
                  <a:lnTo>
                    <a:pt x="563" y="8121"/>
                  </a:lnTo>
                  <a:lnTo>
                    <a:pt x="570" y="8090"/>
                  </a:lnTo>
                  <a:lnTo>
                    <a:pt x="586" y="8066"/>
                  </a:lnTo>
                  <a:lnTo>
                    <a:pt x="611" y="8042"/>
                  </a:lnTo>
                  <a:lnTo>
                    <a:pt x="634" y="8018"/>
                  </a:lnTo>
                  <a:lnTo>
                    <a:pt x="666" y="8003"/>
                  </a:lnTo>
                  <a:lnTo>
                    <a:pt x="698" y="7995"/>
                  </a:lnTo>
                  <a:lnTo>
                    <a:pt x="738" y="7986"/>
                  </a:lnTo>
                  <a:lnTo>
                    <a:pt x="738" y="7986"/>
                  </a:lnTo>
                  <a:lnTo>
                    <a:pt x="769" y="7995"/>
                  </a:lnTo>
                  <a:lnTo>
                    <a:pt x="801" y="8003"/>
                  </a:lnTo>
                  <a:lnTo>
                    <a:pt x="833" y="8018"/>
                  </a:lnTo>
                  <a:lnTo>
                    <a:pt x="864" y="8042"/>
                  </a:lnTo>
                  <a:lnTo>
                    <a:pt x="881" y="8066"/>
                  </a:lnTo>
                  <a:lnTo>
                    <a:pt x="896" y="8090"/>
                  </a:lnTo>
                  <a:lnTo>
                    <a:pt x="904" y="8121"/>
                  </a:lnTo>
                  <a:lnTo>
                    <a:pt x="912" y="8161"/>
                  </a:lnTo>
                  <a:lnTo>
                    <a:pt x="912" y="8408"/>
                  </a:lnTo>
                  <a:lnTo>
                    <a:pt x="912" y="8408"/>
                  </a:lnTo>
                  <a:lnTo>
                    <a:pt x="904" y="8455"/>
                  </a:lnTo>
                  <a:lnTo>
                    <a:pt x="881" y="8502"/>
                  </a:lnTo>
                  <a:lnTo>
                    <a:pt x="840" y="8543"/>
                  </a:lnTo>
                  <a:lnTo>
                    <a:pt x="792" y="8566"/>
                  </a:lnTo>
                  <a:lnTo>
                    <a:pt x="792" y="8566"/>
                  </a:lnTo>
                  <a:lnTo>
                    <a:pt x="729" y="8550"/>
                  </a:lnTo>
                  <a:lnTo>
                    <a:pt x="674" y="8535"/>
                  </a:lnTo>
                  <a:lnTo>
                    <a:pt x="618" y="8502"/>
                  </a:lnTo>
                  <a:lnTo>
                    <a:pt x="570" y="8471"/>
                  </a:lnTo>
                  <a:close/>
                  <a:moveTo>
                    <a:pt x="738" y="7876"/>
                  </a:moveTo>
                  <a:lnTo>
                    <a:pt x="738" y="7876"/>
                  </a:lnTo>
                  <a:lnTo>
                    <a:pt x="674" y="7876"/>
                  </a:lnTo>
                  <a:lnTo>
                    <a:pt x="618" y="7892"/>
                  </a:lnTo>
                  <a:lnTo>
                    <a:pt x="570" y="7923"/>
                  </a:lnTo>
                  <a:lnTo>
                    <a:pt x="523" y="7955"/>
                  </a:lnTo>
                  <a:lnTo>
                    <a:pt x="491" y="8003"/>
                  </a:lnTo>
                  <a:lnTo>
                    <a:pt x="468" y="8050"/>
                  </a:lnTo>
                  <a:lnTo>
                    <a:pt x="443" y="8105"/>
                  </a:lnTo>
                  <a:lnTo>
                    <a:pt x="443" y="8161"/>
                  </a:lnTo>
                  <a:lnTo>
                    <a:pt x="443" y="8296"/>
                  </a:lnTo>
                  <a:lnTo>
                    <a:pt x="443" y="8296"/>
                  </a:lnTo>
                  <a:lnTo>
                    <a:pt x="428" y="8248"/>
                  </a:lnTo>
                  <a:lnTo>
                    <a:pt x="412" y="8201"/>
                  </a:lnTo>
                  <a:lnTo>
                    <a:pt x="412" y="8153"/>
                  </a:lnTo>
                  <a:lnTo>
                    <a:pt x="412" y="8105"/>
                  </a:lnTo>
                  <a:lnTo>
                    <a:pt x="412" y="8058"/>
                  </a:lnTo>
                  <a:lnTo>
                    <a:pt x="428" y="8010"/>
                  </a:lnTo>
                  <a:lnTo>
                    <a:pt x="443" y="7963"/>
                  </a:lnTo>
                  <a:lnTo>
                    <a:pt x="468" y="7916"/>
                  </a:lnTo>
                  <a:lnTo>
                    <a:pt x="912" y="7114"/>
                  </a:lnTo>
                  <a:lnTo>
                    <a:pt x="912" y="7472"/>
                  </a:lnTo>
                  <a:lnTo>
                    <a:pt x="1031" y="7472"/>
                  </a:lnTo>
                  <a:lnTo>
                    <a:pt x="1031" y="6900"/>
                  </a:lnTo>
                  <a:lnTo>
                    <a:pt x="1373" y="6288"/>
                  </a:lnTo>
                  <a:lnTo>
                    <a:pt x="1467" y="6288"/>
                  </a:lnTo>
                  <a:lnTo>
                    <a:pt x="1467" y="6114"/>
                  </a:lnTo>
                  <a:lnTo>
                    <a:pt x="1627" y="5836"/>
                  </a:lnTo>
                  <a:lnTo>
                    <a:pt x="1793" y="5836"/>
                  </a:lnTo>
                  <a:lnTo>
                    <a:pt x="1793" y="6074"/>
                  </a:lnTo>
                  <a:lnTo>
                    <a:pt x="1793" y="6074"/>
                  </a:lnTo>
                  <a:lnTo>
                    <a:pt x="1801" y="6129"/>
                  </a:lnTo>
                  <a:lnTo>
                    <a:pt x="1817" y="6185"/>
                  </a:lnTo>
                  <a:lnTo>
                    <a:pt x="1841" y="6233"/>
                  </a:lnTo>
                  <a:lnTo>
                    <a:pt x="1880" y="6272"/>
                  </a:lnTo>
                  <a:lnTo>
                    <a:pt x="1920" y="6312"/>
                  </a:lnTo>
                  <a:lnTo>
                    <a:pt x="1968" y="6336"/>
                  </a:lnTo>
                  <a:lnTo>
                    <a:pt x="2015" y="6352"/>
                  </a:lnTo>
                  <a:lnTo>
                    <a:pt x="2071" y="6360"/>
                  </a:lnTo>
                  <a:lnTo>
                    <a:pt x="2071" y="6360"/>
                  </a:lnTo>
                  <a:lnTo>
                    <a:pt x="2127" y="6352"/>
                  </a:lnTo>
                  <a:lnTo>
                    <a:pt x="2183" y="6336"/>
                  </a:lnTo>
                  <a:lnTo>
                    <a:pt x="2231" y="6312"/>
                  </a:lnTo>
                  <a:lnTo>
                    <a:pt x="2277" y="6272"/>
                  </a:lnTo>
                  <a:lnTo>
                    <a:pt x="2318" y="6233"/>
                  </a:lnTo>
                  <a:lnTo>
                    <a:pt x="2341" y="6185"/>
                  </a:lnTo>
                  <a:lnTo>
                    <a:pt x="2357" y="6129"/>
                  </a:lnTo>
                  <a:lnTo>
                    <a:pt x="2365" y="6074"/>
                  </a:lnTo>
                  <a:lnTo>
                    <a:pt x="2365" y="5836"/>
                  </a:lnTo>
                  <a:lnTo>
                    <a:pt x="2690" y="5836"/>
                  </a:lnTo>
                  <a:lnTo>
                    <a:pt x="2690" y="6288"/>
                  </a:lnTo>
                  <a:lnTo>
                    <a:pt x="2810" y="6288"/>
                  </a:lnTo>
                  <a:lnTo>
                    <a:pt x="2810" y="5836"/>
                  </a:lnTo>
                  <a:lnTo>
                    <a:pt x="3128" y="5836"/>
                  </a:lnTo>
                  <a:lnTo>
                    <a:pt x="3128" y="6074"/>
                  </a:lnTo>
                  <a:lnTo>
                    <a:pt x="3128" y="6074"/>
                  </a:lnTo>
                  <a:lnTo>
                    <a:pt x="3135" y="6122"/>
                  </a:lnTo>
                  <a:lnTo>
                    <a:pt x="3143" y="6162"/>
                  </a:lnTo>
                  <a:lnTo>
                    <a:pt x="3159" y="6201"/>
                  </a:lnTo>
                  <a:lnTo>
                    <a:pt x="3183" y="6241"/>
                  </a:lnTo>
                  <a:lnTo>
                    <a:pt x="3215" y="6272"/>
                  </a:lnTo>
                  <a:lnTo>
                    <a:pt x="3246" y="6297"/>
                  </a:lnTo>
                  <a:lnTo>
                    <a:pt x="3286" y="6320"/>
                  </a:lnTo>
                  <a:lnTo>
                    <a:pt x="3326" y="6344"/>
                  </a:lnTo>
                  <a:lnTo>
                    <a:pt x="3191" y="6812"/>
                  </a:lnTo>
                  <a:lnTo>
                    <a:pt x="3191" y="6812"/>
                  </a:lnTo>
                  <a:lnTo>
                    <a:pt x="3143" y="6781"/>
                  </a:lnTo>
                  <a:lnTo>
                    <a:pt x="3095" y="6756"/>
                  </a:lnTo>
                  <a:lnTo>
                    <a:pt x="3040" y="6733"/>
                  </a:lnTo>
                  <a:lnTo>
                    <a:pt x="2985" y="6733"/>
                  </a:lnTo>
                  <a:lnTo>
                    <a:pt x="2985" y="6733"/>
                  </a:lnTo>
                  <a:lnTo>
                    <a:pt x="2921" y="6733"/>
                  </a:lnTo>
                  <a:lnTo>
                    <a:pt x="2865" y="6749"/>
                  </a:lnTo>
                  <a:lnTo>
                    <a:pt x="2817" y="6781"/>
                  </a:lnTo>
                  <a:lnTo>
                    <a:pt x="2778" y="6812"/>
                  </a:lnTo>
                  <a:lnTo>
                    <a:pt x="2738" y="6852"/>
                  </a:lnTo>
                  <a:lnTo>
                    <a:pt x="2715" y="6900"/>
                  </a:lnTo>
                  <a:lnTo>
                    <a:pt x="2690" y="6947"/>
                  </a:lnTo>
                  <a:lnTo>
                    <a:pt x="2690" y="7003"/>
                  </a:lnTo>
                  <a:lnTo>
                    <a:pt x="2690" y="7257"/>
                  </a:lnTo>
                  <a:lnTo>
                    <a:pt x="2690" y="7257"/>
                  </a:lnTo>
                  <a:lnTo>
                    <a:pt x="2698" y="7321"/>
                  </a:lnTo>
                  <a:lnTo>
                    <a:pt x="2715" y="7368"/>
                  </a:lnTo>
                  <a:lnTo>
                    <a:pt x="2738" y="7416"/>
                  </a:lnTo>
                  <a:lnTo>
                    <a:pt x="2778" y="7464"/>
                  </a:lnTo>
                  <a:lnTo>
                    <a:pt x="2817" y="7495"/>
                  </a:lnTo>
                  <a:lnTo>
                    <a:pt x="2873" y="7527"/>
                  </a:lnTo>
                  <a:lnTo>
                    <a:pt x="2921" y="7543"/>
                  </a:lnTo>
                  <a:lnTo>
                    <a:pt x="2985" y="7551"/>
                  </a:lnTo>
                  <a:lnTo>
                    <a:pt x="2985" y="7551"/>
                  </a:lnTo>
                  <a:lnTo>
                    <a:pt x="2985" y="7551"/>
                  </a:lnTo>
                  <a:lnTo>
                    <a:pt x="2810" y="8185"/>
                  </a:lnTo>
                  <a:lnTo>
                    <a:pt x="2810" y="7931"/>
                  </a:lnTo>
                  <a:lnTo>
                    <a:pt x="2690" y="7931"/>
                  </a:lnTo>
                  <a:lnTo>
                    <a:pt x="2690" y="8566"/>
                  </a:lnTo>
                  <a:lnTo>
                    <a:pt x="2310" y="8566"/>
                  </a:lnTo>
                  <a:lnTo>
                    <a:pt x="2310" y="8566"/>
                  </a:lnTo>
                  <a:lnTo>
                    <a:pt x="2333" y="8535"/>
                  </a:lnTo>
                  <a:lnTo>
                    <a:pt x="2349" y="8495"/>
                  </a:lnTo>
                  <a:lnTo>
                    <a:pt x="2365" y="8447"/>
                  </a:lnTo>
                  <a:lnTo>
                    <a:pt x="2365" y="8408"/>
                  </a:lnTo>
                  <a:lnTo>
                    <a:pt x="2365" y="8161"/>
                  </a:lnTo>
                  <a:lnTo>
                    <a:pt x="2365" y="8161"/>
                  </a:lnTo>
                  <a:lnTo>
                    <a:pt x="2357" y="8105"/>
                  </a:lnTo>
                  <a:lnTo>
                    <a:pt x="2341" y="8050"/>
                  </a:lnTo>
                  <a:lnTo>
                    <a:pt x="2318" y="8003"/>
                  </a:lnTo>
                  <a:lnTo>
                    <a:pt x="2277" y="7955"/>
                  </a:lnTo>
                  <a:lnTo>
                    <a:pt x="2238" y="7923"/>
                  </a:lnTo>
                  <a:lnTo>
                    <a:pt x="2190" y="7892"/>
                  </a:lnTo>
                  <a:lnTo>
                    <a:pt x="2135" y="7876"/>
                  </a:lnTo>
                  <a:lnTo>
                    <a:pt x="2071" y="7876"/>
                  </a:lnTo>
                  <a:lnTo>
                    <a:pt x="2071" y="7876"/>
                  </a:lnTo>
                  <a:lnTo>
                    <a:pt x="2015" y="7876"/>
                  </a:lnTo>
                  <a:lnTo>
                    <a:pt x="1961" y="7900"/>
                  </a:lnTo>
                  <a:lnTo>
                    <a:pt x="1913" y="7923"/>
                  </a:lnTo>
                  <a:lnTo>
                    <a:pt x="1872" y="7955"/>
                  </a:lnTo>
                  <a:lnTo>
                    <a:pt x="1841" y="8003"/>
                  </a:lnTo>
                  <a:lnTo>
                    <a:pt x="1817" y="8050"/>
                  </a:lnTo>
                  <a:lnTo>
                    <a:pt x="1801" y="8105"/>
                  </a:lnTo>
                  <a:lnTo>
                    <a:pt x="1793" y="8161"/>
                  </a:lnTo>
                  <a:lnTo>
                    <a:pt x="1793" y="8408"/>
                  </a:lnTo>
                  <a:lnTo>
                    <a:pt x="1793" y="8408"/>
                  </a:lnTo>
                  <a:lnTo>
                    <a:pt x="1793" y="8447"/>
                  </a:lnTo>
                  <a:lnTo>
                    <a:pt x="1809" y="8495"/>
                  </a:lnTo>
                  <a:lnTo>
                    <a:pt x="1826" y="8535"/>
                  </a:lnTo>
                  <a:lnTo>
                    <a:pt x="1841" y="8566"/>
                  </a:lnTo>
                  <a:lnTo>
                    <a:pt x="1467" y="8566"/>
                  </a:lnTo>
                  <a:lnTo>
                    <a:pt x="1467" y="7931"/>
                  </a:lnTo>
                  <a:lnTo>
                    <a:pt x="1349" y="7931"/>
                  </a:lnTo>
                  <a:lnTo>
                    <a:pt x="1349" y="8566"/>
                  </a:lnTo>
                  <a:lnTo>
                    <a:pt x="975" y="8566"/>
                  </a:lnTo>
                  <a:lnTo>
                    <a:pt x="975" y="8566"/>
                  </a:lnTo>
                  <a:lnTo>
                    <a:pt x="999" y="8535"/>
                  </a:lnTo>
                  <a:lnTo>
                    <a:pt x="1016" y="8495"/>
                  </a:lnTo>
                  <a:lnTo>
                    <a:pt x="1023" y="8447"/>
                  </a:lnTo>
                  <a:lnTo>
                    <a:pt x="1031" y="8408"/>
                  </a:lnTo>
                  <a:lnTo>
                    <a:pt x="1031" y="8161"/>
                  </a:lnTo>
                  <a:lnTo>
                    <a:pt x="1031" y="8161"/>
                  </a:lnTo>
                  <a:lnTo>
                    <a:pt x="1023" y="8105"/>
                  </a:lnTo>
                  <a:lnTo>
                    <a:pt x="1008" y="8050"/>
                  </a:lnTo>
                  <a:lnTo>
                    <a:pt x="975" y="8003"/>
                  </a:lnTo>
                  <a:lnTo>
                    <a:pt x="944" y="7955"/>
                  </a:lnTo>
                  <a:lnTo>
                    <a:pt x="896" y="7923"/>
                  </a:lnTo>
                  <a:lnTo>
                    <a:pt x="848" y="7892"/>
                  </a:lnTo>
                  <a:lnTo>
                    <a:pt x="792" y="7876"/>
                  </a:lnTo>
                  <a:lnTo>
                    <a:pt x="738" y="7876"/>
                  </a:lnTo>
                  <a:close/>
                  <a:moveTo>
                    <a:pt x="6017" y="5836"/>
                  </a:moveTo>
                  <a:lnTo>
                    <a:pt x="6351" y="5836"/>
                  </a:lnTo>
                  <a:lnTo>
                    <a:pt x="6351" y="6074"/>
                  </a:lnTo>
                  <a:lnTo>
                    <a:pt x="6351" y="6074"/>
                  </a:lnTo>
                  <a:lnTo>
                    <a:pt x="6351" y="6106"/>
                  </a:lnTo>
                  <a:lnTo>
                    <a:pt x="6343" y="6137"/>
                  </a:lnTo>
                  <a:lnTo>
                    <a:pt x="6327" y="6162"/>
                  </a:lnTo>
                  <a:lnTo>
                    <a:pt x="6303" y="6193"/>
                  </a:lnTo>
                  <a:lnTo>
                    <a:pt x="6279" y="6209"/>
                  </a:lnTo>
                  <a:lnTo>
                    <a:pt x="6248" y="6233"/>
                  </a:lnTo>
                  <a:lnTo>
                    <a:pt x="6216" y="6241"/>
                  </a:lnTo>
                  <a:lnTo>
                    <a:pt x="6177" y="6241"/>
                  </a:lnTo>
                  <a:lnTo>
                    <a:pt x="6177" y="6241"/>
                  </a:lnTo>
                  <a:lnTo>
                    <a:pt x="6144" y="6241"/>
                  </a:lnTo>
                  <a:lnTo>
                    <a:pt x="6113" y="6233"/>
                  </a:lnTo>
                  <a:lnTo>
                    <a:pt x="6089" y="6217"/>
                  </a:lnTo>
                  <a:lnTo>
                    <a:pt x="6065" y="6193"/>
                  </a:lnTo>
                  <a:lnTo>
                    <a:pt x="6042" y="6170"/>
                  </a:lnTo>
                  <a:lnTo>
                    <a:pt x="6025" y="6137"/>
                  </a:lnTo>
                  <a:lnTo>
                    <a:pt x="6017" y="6106"/>
                  </a:lnTo>
                  <a:lnTo>
                    <a:pt x="6017" y="6074"/>
                  </a:lnTo>
                  <a:lnTo>
                    <a:pt x="6017" y="5836"/>
                  </a:lnTo>
                  <a:close/>
                  <a:moveTo>
                    <a:pt x="4659" y="5836"/>
                  </a:moveTo>
                  <a:lnTo>
                    <a:pt x="5017" y="5836"/>
                  </a:lnTo>
                  <a:lnTo>
                    <a:pt x="5017" y="6074"/>
                  </a:lnTo>
                  <a:lnTo>
                    <a:pt x="5017" y="6074"/>
                  </a:lnTo>
                  <a:lnTo>
                    <a:pt x="5009" y="6106"/>
                  </a:lnTo>
                  <a:lnTo>
                    <a:pt x="5001" y="6137"/>
                  </a:lnTo>
                  <a:lnTo>
                    <a:pt x="4985" y="6162"/>
                  </a:lnTo>
                  <a:lnTo>
                    <a:pt x="4962" y="6193"/>
                  </a:lnTo>
                  <a:lnTo>
                    <a:pt x="4937" y="6209"/>
                  </a:lnTo>
                  <a:lnTo>
                    <a:pt x="4906" y="6233"/>
                  </a:lnTo>
                  <a:lnTo>
                    <a:pt x="4874" y="6241"/>
                  </a:lnTo>
                  <a:lnTo>
                    <a:pt x="4842" y="6241"/>
                  </a:lnTo>
                  <a:lnTo>
                    <a:pt x="4842" y="6241"/>
                  </a:lnTo>
                  <a:lnTo>
                    <a:pt x="4802" y="6241"/>
                  </a:lnTo>
                  <a:lnTo>
                    <a:pt x="4771" y="6233"/>
                  </a:lnTo>
                  <a:lnTo>
                    <a:pt x="4739" y="6209"/>
                  </a:lnTo>
                  <a:lnTo>
                    <a:pt x="4715" y="6193"/>
                  </a:lnTo>
                  <a:lnTo>
                    <a:pt x="4692" y="6162"/>
                  </a:lnTo>
                  <a:lnTo>
                    <a:pt x="4676" y="6137"/>
                  </a:lnTo>
                  <a:lnTo>
                    <a:pt x="4667" y="6106"/>
                  </a:lnTo>
                  <a:lnTo>
                    <a:pt x="4659" y="6074"/>
                  </a:lnTo>
                  <a:lnTo>
                    <a:pt x="4659" y="5836"/>
                  </a:lnTo>
                  <a:close/>
                  <a:moveTo>
                    <a:pt x="3357" y="6233"/>
                  </a:moveTo>
                  <a:lnTo>
                    <a:pt x="3357" y="6233"/>
                  </a:lnTo>
                  <a:lnTo>
                    <a:pt x="3309" y="6201"/>
                  </a:lnTo>
                  <a:lnTo>
                    <a:pt x="3278" y="6162"/>
                  </a:lnTo>
                  <a:lnTo>
                    <a:pt x="3255" y="6122"/>
                  </a:lnTo>
                  <a:lnTo>
                    <a:pt x="3246" y="6074"/>
                  </a:lnTo>
                  <a:lnTo>
                    <a:pt x="3246" y="5836"/>
                  </a:lnTo>
                  <a:lnTo>
                    <a:pt x="3461" y="5836"/>
                  </a:lnTo>
                  <a:lnTo>
                    <a:pt x="3357" y="6233"/>
                  </a:lnTo>
                  <a:close/>
                  <a:moveTo>
                    <a:pt x="1913" y="5836"/>
                  </a:moveTo>
                  <a:lnTo>
                    <a:pt x="2246" y="5836"/>
                  </a:lnTo>
                  <a:lnTo>
                    <a:pt x="2246" y="6074"/>
                  </a:lnTo>
                  <a:lnTo>
                    <a:pt x="2246" y="6074"/>
                  </a:lnTo>
                  <a:lnTo>
                    <a:pt x="2246" y="6106"/>
                  </a:lnTo>
                  <a:lnTo>
                    <a:pt x="2238" y="6137"/>
                  </a:lnTo>
                  <a:lnTo>
                    <a:pt x="2222" y="6162"/>
                  </a:lnTo>
                  <a:lnTo>
                    <a:pt x="2198" y="6193"/>
                  </a:lnTo>
                  <a:lnTo>
                    <a:pt x="2175" y="6209"/>
                  </a:lnTo>
                  <a:lnTo>
                    <a:pt x="2142" y="6233"/>
                  </a:lnTo>
                  <a:lnTo>
                    <a:pt x="2111" y="6241"/>
                  </a:lnTo>
                  <a:lnTo>
                    <a:pt x="2071" y="6241"/>
                  </a:lnTo>
                  <a:lnTo>
                    <a:pt x="2071" y="6241"/>
                  </a:lnTo>
                  <a:lnTo>
                    <a:pt x="2040" y="6241"/>
                  </a:lnTo>
                  <a:lnTo>
                    <a:pt x="2015" y="6233"/>
                  </a:lnTo>
                  <a:lnTo>
                    <a:pt x="1984" y="6217"/>
                  </a:lnTo>
                  <a:lnTo>
                    <a:pt x="1961" y="6193"/>
                  </a:lnTo>
                  <a:lnTo>
                    <a:pt x="1936" y="6170"/>
                  </a:lnTo>
                  <a:lnTo>
                    <a:pt x="1920" y="6137"/>
                  </a:lnTo>
                  <a:lnTo>
                    <a:pt x="1913" y="6106"/>
                  </a:lnTo>
                  <a:lnTo>
                    <a:pt x="1913" y="6074"/>
                  </a:lnTo>
                  <a:lnTo>
                    <a:pt x="1913" y="5836"/>
                  </a:lnTo>
                  <a:close/>
                  <a:moveTo>
                    <a:pt x="3596" y="8408"/>
                  </a:moveTo>
                  <a:lnTo>
                    <a:pt x="3596" y="8408"/>
                  </a:lnTo>
                  <a:lnTo>
                    <a:pt x="3596" y="8431"/>
                  </a:lnTo>
                  <a:lnTo>
                    <a:pt x="3588" y="8463"/>
                  </a:lnTo>
                  <a:lnTo>
                    <a:pt x="3572" y="8487"/>
                  </a:lnTo>
                  <a:lnTo>
                    <a:pt x="3556" y="8510"/>
                  </a:lnTo>
                  <a:lnTo>
                    <a:pt x="3516" y="8550"/>
                  </a:lnTo>
                  <a:lnTo>
                    <a:pt x="3461" y="8566"/>
                  </a:lnTo>
                  <a:lnTo>
                    <a:pt x="3381" y="8566"/>
                  </a:lnTo>
                  <a:lnTo>
                    <a:pt x="3381" y="8566"/>
                  </a:lnTo>
                  <a:lnTo>
                    <a:pt x="3350" y="8558"/>
                  </a:lnTo>
                  <a:lnTo>
                    <a:pt x="3326" y="8550"/>
                  </a:lnTo>
                  <a:lnTo>
                    <a:pt x="3286" y="8510"/>
                  </a:lnTo>
                  <a:lnTo>
                    <a:pt x="3270" y="8487"/>
                  </a:lnTo>
                  <a:lnTo>
                    <a:pt x="3255" y="8463"/>
                  </a:lnTo>
                  <a:lnTo>
                    <a:pt x="3246" y="8431"/>
                  </a:lnTo>
                  <a:lnTo>
                    <a:pt x="3246" y="8408"/>
                  </a:lnTo>
                  <a:lnTo>
                    <a:pt x="3246" y="8161"/>
                  </a:lnTo>
                  <a:lnTo>
                    <a:pt x="3246" y="8161"/>
                  </a:lnTo>
                  <a:lnTo>
                    <a:pt x="3246" y="8121"/>
                  </a:lnTo>
                  <a:lnTo>
                    <a:pt x="3263" y="8090"/>
                  </a:lnTo>
                  <a:lnTo>
                    <a:pt x="3278" y="8066"/>
                  </a:lnTo>
                  <a:lnTo>
                    <a:pt x="3294" y="8042"/>
                  </a:lnTo>
                  <a:lnTo>
                    <a:pt x="3326" y="8018"/>
                  </a:lnTo>
                  <a:lnTo>
                    <a:pt x="3350" y="8003"/>
                  </a:lnTo>
                  <a:lnTo>
                    <a:pt x="3390" y="7995"/>
                  </a:lnTo>
                  <a:lnTo>
                    <a:pt x="3421" y="7986"/>
                  </a:lnTo>
                  <a:lnTo>
                    <a:pt x="3421" y="7986"/>
                  </a:lnTo>
                  <a:lnTo>
                    <a:pt x="3453" y="7995"/>
                  </a:lnTo>
                  <a:lnTo>
                    <a:pt x="3485" y="8003"/>
                  </a:lnTo>
                  <a:lnTo>
                    <a:pt x="3516" y="8018"/>
                  </a:lnTo>
                  <a:lnTo>
                    <a:pt x="3540" y="8042"/>
                  </a:lnTo>
                  <a:lnTo>
                    <a:pt x="3564" y="8066"/>
                  </a:lnTo>
                  <a:lnTo>
                    <a:pt x="3579" y="8090"/>
                  </a:lnTo>
                  <a:lnTo>
                    <a:pt x="3596" y="8121"/>
                  </a:lnTo>
                  <a:lnTo>
                    <a:pt x="3596" y="8161"/>
                  </a:lnTo>
                  <a:lnTo>
                    <a:pt x="3596" y="8408"/>
                  </a:lnTo>
                  <a:close/>
                  <a:moveTo>
                    <a:pt x="3183" y="8566"/>
                  </a:moveTo>
                  <a:lnTo>
                    <a:pt x="3128" y="8566"/>
                  </a:lnTo>
                  <a:lnTo>
                    <a:pt x="3143" y="8495"/>
                  </a:lnTo>
                  <a:lnTo>
                    <a:pt x="3143" y="8495"/>
                  </a:lnTo>
                  <a:lnTo>
                    <a:pt x="3159" y="8535"/>
                  </a:lnTo>
                  <a:lnTo>
                    <a:pt x="3183" y="8566"/>
                  </a:lnTo>
                  <a:close/>
                  <a:moveTo>
                    <a:pt x="3016" y="7424"/>
                  </a:moveTo>
                  <a:lnTo>
                    <a:pt x="3016" y="7424"/>
                  </a:lnTo>
                  <a:lnTo>
                    <a:pt x="2985" y="7431"/>
                  </a:lnTo>
                  <a:lnTo>
                    <a:pt x="2985" y="7431"/>
                  </a:lnTo>
                  <a:lnTo>
                    <a:pt x="2945" y="7424"/>
                  </a:lnTo>
                  <a:lnTo>
                    <a:pt x="2913" y="7416"/>
                  </a:lnTo>
                  <a:lnTo>
                    <a:pt x="2881" y="7400"/>
                  </a:lnTo>
                  <a:lnTo>
                    <a:pt x="2858" y="7376"/>
                  </a:lnTo>
                  <a:lnTo>
                    <a:pt x="2833" y="7352"/>
                  </a:lnTo>
                  <a:lnTo>
                    <a:pt x="2817" y="7321"/>
                  </a:lnTo>
                  <a:lnTo>
                    <a:pt x="2810" y="7289"/>
                  </a:lnTo>
                  <a:lnTo>
                    <a:pt x="2810" y="7257"/>
                  </a:lnTo>
                  <a:lnTo>
                    <a:pt x="2810" y="7003"/>
                  </a:lnTo>
                  <a:lnTo>
                    <a:pt x="2810" y="7003"/>
                  </a:lnTo>
                  <a:lnTo>
                    <a:pt x="2810" y="6972"/>
                  </a:lnTo>
                  <a:lnTo>
                    <a:pt x="2817" y="6947"/>
                  </a:lnTo>
                  <a:lnTo>
                    <a:pt x="2833" y="6916"/>
                  </a:lnTo>
                  <a:lnTo>
                    <a:pt x="2858" y="6891"/>
                  </a:lnTo>
                  <a:lnTo>
                    <a:pt x="2881" y="6876"/>
                  </a:lnTo>
                  <a:lnTo>
                    <a:pt x="2913" y="6860"/>
                  </a:lnTo>
                  <a:lnTo>
                    <a:pt x="2945" y="6852"/>
                  </a:lnTo>
                  <a:lnTo>
                    <a:pt x="2985" y="6845"/>
                  </a:lnTo>
                  <a:lnTo>
                    <a:pt x="2985" y="6845"/>
                  </a:lnTo>
                  <a:lnTo>
                    <a:pt x="3032" y="6860"/>
                  </a:lnTo>
                  <a:lnTo>
                    <a:pt x="3087" y="6884"/>
                  </a:lnTo>
                  <a:lnTo>
                    <a:pt x="3120" y="6916"/>
                  </a:lnTo>
                  <a:lnTo>
                    <a:pt x="3151" y="6955"/>
                  </a:lnTo>
                  <a:lnTo>
                    <a:pt x="3016" y="7424"/>
                  </a:lnTo>
                  <a:close/>
                  <a:moveTo>
                    <a:pt x="1913" y="8408"/>
                  </a:moveTo>
                  <a:lnTo>
                    <a:pt x="1913" y="8161"/>
                  </a:lnTo>
                  <a:lnTo>
                    <a:pt x="1913" y="8161"/>
                  </a:lnTo>
                  <a:lnTo>
                    <a:pt x="1913" y="8130"/>
                  </a:lnTo>
                  <a:lnTo>
                    <a:pt x="1920" y="8098"/>
                  </a:lnTo>
                  <a:lnTo>
                    <a:pt x="1936" y="8066"/>
                  </a:lnTo>
                  <a:lnTo>
                    <a:pt x="1961" y="8042"/>
                  </a:lnTo>
                  <a:lnTo>
                    <a:pt x="1984" y="8018"/>
                  </a:lnTo>
                  <a:lnTo>
                    <a:pt x="2007" y="8003"/>
                  </a:lnTo>
                  <a:lnTo>
                    <a:pt x="2040" y="7995"/>
                  </a:lnTo>
                  <a:lnTo>
                    <a:pt x="2071" y="7986"/>
                  </a:lnTo>
                  <a:lnTo>
                    <a:pt x="2071" y="7986"/>
                  </a:lnTo>
                  <a:lnTo>
                    <a:pt x="2111" y="7995"/>
                  </a:lnTo>
                  <a:lnTo>
                    <a:pt x="2142" y="8003"/>
                  </a:lnTo>
                  <a:lnTo>
                    <a:pt x="2175" y="8018"/>
                  </a:lnTo>
                  <a:lnTo>
                    <a:pt x="2198" y="8042"/>
                  </a:lnTo>
                  <a:lnTo>
                    <a:pt x="2222" y="8066"/>
                  </a:lnTo>
                  <a:lnTo>
                    <a:pt x="2238" y="8090"/>
                  </a:lnTo>
                  <a:lnTo>
                    <a:pt x="2246" y="8121"/>
                  </a:lnTo>
                  <a:lnTo>
                    <a:pt x="2246" y="8161"/>
                  </a:lnTo>
                  <a:lnTo>
                    <a:pt x="2246" y="8408"/>
                  </a:lnTo>
                  <a:lnTo>
                    <a:pt x="2246" y="8408"/>
                  </a:lnTo>
                  <a:lnTo>
                    <a:pt x="2246" y="8431"/>
                  </a:lnTo>
                  <a:lnTo>
                    <a:pt x="2238" y="8463"/>
                  </a:lnTo>
                  <a:lnTo>
                    <a:pt x="2231" y="8487"/>
                  </a:lnTo>
                  <a:lnTo>
                    <a:pt x="2214" y="8510"/>
                  </a:lnTo>
                  <a:lnTo>
                    <a:pt x="2167" y="8550"/>
                  </a:lnTo>
                  <a:lnTo>
                    <a:pt x="2142" y="8558"/>
                  </a:lnTo>
                  <a:lnTo>
                    <a:pt x="2111" y="8566"/>
                  </a:lnTo>
                  <a:lnTo>
                    <a:pt x="2032" y="8566"/>
                  </a:lnTo>
                  <a:lnTo>
                    <a:pt x="2032" y="8566"/>
                  </a:lnTo>
                  <a:lnTo>
                    <a:pt x="1984" y="8543"/>
                  </a:lnTo>
                  <a:lnTo>
                    <a:pt x="1944" y="8510"/>
                  </a:lnTo>
                  <a:lnTo>
                    <a:pt x="1920" y="8463"/>
                  </a:lnTo>
                  <a:lnTo>
                    <a:pt x="1913" y="8431"/>
                  </a:lnTo>
                  <a:lnTo>
                    <a:pt x="1913" y="8408"/>
                  </a:lnTo>
                  <a:close/>
                  <a:moveTo>
                    <a:pt x="4659" y="8408"/>
                  </a:moveTo>
                  <a:lnTo>
                    <a:pt x="4659" y="8161"/>
                  </a:lnTo>
                  <a:lnTo>
                    <a:pt x="4659" y="8161"/>
                  </a:lnTo>
                  <a:lnTo>
                    <a:pt x="4667" y="8121"/>
                  </a:lnTo>
                  <a:lnTo>
                    <a:pt x="4676" y="8090"/>
                  </a:lnTo>
                  <a:lnTo>
                    <a:pt x="4692" y="8066"/>
                  </a:lnTo>
                  <a:lnTo>
                    <a:pt x="4715" y="8042"/>
                  </a:lnTo>
                  <a:lnTo>
                    <a:pt x="4739" y="8018"/>
                  </a:lnTo>
                  <a:lnTo>
                    <a:pt x="4771" y="8003"/>
                  </a:lnTo>
                  <a:lnTo>
                    <a:pt x="4802" y="7995"/>
                  </a:lnTo>
                  <a:lnTo>
                    <a:pt x="4842" y="7986"/>
                  </a:lnTo>
                  <a:lnTo>
                    <a:pt x="4842" y="7986"/>
                  </a:lnTo>
                  <a:lnTo>
                    <a:pt x="4874" y="7995"/>
                  </a:lnTo>
                  <a:lnTo>
                    <a:pt x="4906" y="8003"/>
                  </a:lnTo>
                  <a:lnTo>
                    <a:pt x="4937" y="8018"/>
                  </a:lnTo>
                  <a:lnTo>
                    <a:pt x="4962" y="8042"/>
                  </a:lnTo>
                  <a:lnTo>
                    <a:pt x="4985" y="8066"/>
                  </a:lnTo>
                  <a:lnTo>
                    <a:pt x="5001" y="8090"/>
                  </a:lnTo>
                  <a:lnTo>
                    <a:pt x="5009" y="8121"/>
                  </a:lnTo>
                  <a:lnTo>
                    <a:pt x="5017" y="8161"/>
                  </a:lnTo>
                  <a:lnTo>
                    <a:pt x="5017" y="8408"/>
                  </a:lnTo>
                  <a:lnTo>
                    <a:pt x="5017" y="8408"/>
                  </a:lnTo>
                  <a:lnTo>
                    <a:pt x="5017" y="8431"/>
                  </a:lnTo>
                  <a:lnTo>
                    <a:pt x="5009" y="8463"/>
                  </a:lnTo>
                  <a:lnTo>
                    <a:pt x="4993" y="8487"/>
                  </a:lnTo>
                  <a:lnTo>
                    <a:pt x="4977" y="8510"/>
                  </a:lnTo>
                  <a:lnTo>
                    <a:pt x="4937" y="8550"/>
                  </a:lnTo>
                  <a:lnTo>
                    <a:pt x="4914" y="8558"/>
                  </a:lnTo>
                  <a:lnTo>
                    <a:pt x="4882" y="8566"/>
                  </a:lnTo>
                  <a:lnTo>
                    <a:pt x="4794" y="8566"/>
                  </a:lnTo>
                  <a:lnTo>
                    <a:pt x="4794" y="8566"/>
                  </a:lnTo>
                  <a:lnTo>
                    <a:pt x="4771" y="8558"/>
                  </a:lnTo>
                  <a:lnTo>
                    <a:pt x="4739" y="8550"/>
                  </a:lnTo>
                  <a:lnTo>
                    <a:pt x="4700" y="8510"/>
                  </a:lnTo>
                  <a:lnTo>
                    <a:pt x="4684" y="8487"/>
                  </a:lnTo>
                  <a:lnTo>
                    <a:pt x="4676" y="8463"/>
                  </a:lnTo>
                  <a:lnTo>
                    <a:pt x="4667" y="8431"/>
                  </a:lnTo>
                  <a:lnTo>
                    <a:pt x="4659" y="8408"/>
                  </a:lnTo>
                  <a:close/>
                  <a:moveTo>
                    <a:pt x="6017" y="8408"/>
                  </a:moveTo>
                  <a:lnTo>
                    <a:pt x="6017" y="8161"/>
                  </a:lnTo>
                  <a:lnTo>
                    <a:pt x="6017" y="8161"/>
                  </a:lnTo>
                  <a:lnTo>
                    <a:pt x="6017" y="8130"/>
                  </a:lnTo>
                  <a:lnTo>
                    <a:pt x="6025" y="8098"/>
                  </a:lnTo>
                  <a:lnTo>
                    <a:pt x="6042" y="8066"/>
                  </a:lnTo>
                  <a:lnTo>
                    <a:pt x="6065" y="8042"/>
                  </a:lnTo>
                  <a:lnTo>
                    <a:pt x="6089" y="8018"/>
                  </a:lnTo>
                  <a:lnTo>
                    <a:pt x="6113" y="8003"/>
                  </a:lnTo>
                  <a:lnTo>
                    <a:pt x="6144" y="7995"/>
                  </a:lnTo>
                  <a:lnTo>
                    <a:pt x="6177" y="7986"/>
                  </a:lnTo>
                  <a:lnTo>
                    <a:pt x="6177" y="7986"/>
                  </a:lnTo>
                  <a:lnTo>
                    <a:pt x="6216" y="7995"/>
                  </a:lnTo>
                  <a:lnTo>
                    <a:pt x="6248" y="8003"/>
                  </a:lnTo>
                  <a:lnTo>
                    <a:pt x="6279" y="8018"/>
                  </a:lnTo>
                  <a:lnTo>
                    <a:pt x="6303" y="8042"/>
                  </a:lnTo>
                  <a:lnTo>
                    <a:pt x="6327" y="8066"/>
                  </a:lnTo>
                  <a:lnTo>
                    <a:pt x="6343" y="8090"/>
                  </a:lnTo>
                  <a:lnTo>
                    <a:pt x="6351" y="8121"/>
                  </a:lnTo>
                  <a:lnTo>
                    <a:pt x="6351" y="8161"/>
                  </a:lnTo>
                  <a:lnTo>
                    <a:pt x="6351" y="8408"/>
                  </a:lnTo>
                  <a:lnTo>
                    <a:pt x="6351" y="8408"/>
                  </a:lnTo>
                  <a:lnTo>
                    <a:pt x="6351" y="8431"/>
                  </a:lnTo>
                  <a:lnTo>
                    <a:pt x="6343" y="8463"/>
                  </a:lnTo>
                  <a:lnTo>
                    <a:pt x="6327" y="8487"/>
                  </a:lnTo>
                  <a:lnTo>
                    <a:pt x="6312" y="8510"/>
                  </a:lnTo>
                  <a:lnTo>
                    <a:pt x="6272" y="8550"/>
                  </a:lnTo>
                  <a:lnTo>
                    <a:pt x="6248" y="8558"/>
                  </a:lnTo>
                  <a:lnTo>
                    <a:pt x="6216" y="8566"/>
                  </a:lnTo>
                  <a:lnTo>
                    <a:pt x="6137" y="8566"/>
                  </a:lnTo>
                  <a:lnTo>
                    <a:pt x="6137" y="8566"/>
                  </a:lnTo>
                  <a:lnTo>
                    <a:pt x="6089" y="8543"/>
                  </a:lnTo>
                  <a:lnTo>
                    <a:pt x="6050" y="8510"/>
                  </a:lnTo>
                  <a:lnTo>
                    <a:pt x="6025" y="8463"/>
                  </a:lnTo>
                  <a:lnTo>
                    <a:pt x="6017" y="8431"/>
                  </a:lnTo>
                  <a:lnTo>
                    <a:pt x="6017" y="8408"/>
                  </a:lnTo>
                  <a:close/>
                  <a:moveTo>
                    <a:pt x="5930" y="413"/>
                  </a:moveTo>
                  <a:lnTo>
                    <a:pt x="5930" y="1136"/>
                  </a:lnTo>
                  <a:lnTo>
                    <a:pt x="5398" y="1136"/>
                  </a:lnTo>
                  <a:lnTo>
                    <a:pt x="5398" y="3351"/>
                  </a:lnTo>
                  <a:lnTo>
                    <a:pt x="6557" y="5423"/>
                  </a:lnTo>
                  <a:lnTo>
                    <a:pt x="3938" y="5423"/>
                  </a:lnTo>
                  <a:lnTo>
                    <a:pt x="3913" y="413"/>
                  </a:lnTo>
                  <a:lnTo>
                    <a:pt x="5930" y="413"/>
                  </a:lnTo>
                  <a:close/>
                  <a:moveTo>
                    <a:pt x="3008" y="3351"/>
                  </a:moveTo>
                  <a:lnTo>
                    <a:pt x="3008" y="1136"/>
                  </a:lnTo>
                  <a:lnTo>
                    <a:pt x="2476" y="1136"/>
                  </a:lnTo>
                  <a:lnTo>
                    <a:pt x="2476" y="413"/>
                  </a:lnTo>
                  <a:lnTo>
                    <a:pt x="3500" y="413"/>
                  </a:lnTo>
                  <a:lnTo>
                    <a:pt x="3533" y="5423"/>
                  </a:lnTo>
                  <a:lnTo>
                    <a:pt x="1857" y="5423"/>
                  </a:lnTo>
                  <a:lnTo>
                    <a:pt x="3008" y="3351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/>
            </a:p>
          </p:txBody>
        </p:sp>
        <p:sp>
          <p:nvSpPr>
            <p:cNvPr id="98" name="Freeform 2"/>
            <p:cNvSpPr>
              <a:spLocks noChangeArrowheads="1"/>
            </p:cNvSpPr>
            <p:nvPr/>
          </p:nvSpPr>
          <p:spPr bwMode="auto">
            <a:xfrm>
              <a:off x="8939538" y="3119281"/>
              <a:ext cx="33185" cy="44812"/>
            </a:xfrm>
            <a:custGeom>
              <a:avLst/>
              <a:gdLst>
                <a:gd name="T0" fmla="*/ 293 w 588"/>
                <a:gd name="T1" fmla="*/ 818 h 819"/>
                <a:gd name="T2" fmla="*/ 405 w 588"/>
                <a:gd name="T3" fmla="*/ 794 h 819"/>
                <a:gd name="T4" fmla="*/ 492 w 588"/>
                <a:gd name="T5" fmla="*/ 731 h 819"/>
                <a:gd name="T6" fmla="*/ 563 w 588"/>
                <a:gd name="T7" fmla="*/ 635 h 819"/>
                <a:gd name="T8" fmla="*/ 587 w 588"/>
                <a:gd name="T9" fmla="*/ 524 h 819"/>
                <a:gd name="T10" fmla="*/ 587 w 588"/>
                <a:gd name="T11" fmla="*/ 270 h 819"/>
                <a:gd name="T12" fmla="*/ 563 w 588"/>
                <a:gd name="T13" fmla="*/ 167 h 819"/>
                <a:gd name="T14" fmla="*/ 492 w 588"/>
                <a:gd name="T15" fmla="*/ 79 h 819"/>
                <a:gd name="T16" fmla="*/ 405 w 588"/>
                <a:gd name="T17" fmla="*/ 16 h 819"/>
                <a:gd name="T18" fmla="*/ 293 w 588"/>
                <a:gd name="T19" fmla="*/ 0 h 819"/>
                <a:gd name="T20" fmla="*/ 230 w 588"/>
                <a:gd name="T21" fmla="*/ 0 h 819"/>
                <a:gd name="T22" fmla="*/ 127 w 588"/>
                <a:gd name="T23" fmla="*/ 48 h 819"/>
                <a:gd name="T24" fmla="*/ 47 w 588"/>
                <a:gd name="T25" fmla="*/ 119 h 819"/>
                <a:gd name="T26" fmla="*/ 0 w 588"/>
                <a:gd name="T27" fmla="*/ 214 h 819"/>
                <a:gd name="T28" fmla="*/ 0 w 588"/>
                <a:gd name="T29" fmla="*/ 524 h 819"/>
                <a:gd name="T30" fmla="*/ 0 w 588"/>
                <a:gd name="T31" fmla="*/ 588 h 819"/>
                <a:gd name="T32" fmla="*/ 47 w 588"/>
                <a:gd name="T33" fmla="*/ 683 h 819"/>
                <a:gd name="T34" fmla="*/ 127 w 588"/>
                <a:gd name="T35" fmla="*/ 762 h 819"/>
                <a:gd name="T36" fmla="*/ 230 w 588"/>
                <a:gd name="T37" fmla="*/ 810 h 819"/>
                <a:gd name="T38" fmla="*/ 110 w 588"/>
                <a:gd name="T39" fmla="*/ 270 h 819"/>
                <a:gd name="T40" fmla="*/ 118 w 588"/>
                <a:gd name="T41" fmla="*/ 239 h 819"/>
                <a:gd name="T42" fmla="*/ 143 w 588"/>
                <a:gd name="T43" fmla="*/ 183 h 819"/>
                <a:gd name="T44" fmla="*/ 190 w 588"/>
                <a:gd name="T45" fmla="*/ 143 h 819"/>
                <a:gd name="T46" fmla="*/ 253 w 588"/>
                <a:gd name="T47" fmla="*/ 119 h 819"/>
                <a:gd name="T48" fmla="*/ 293 w 588"/>
                <a:gd name="T49" fmla="*/ 112 h 819"/>
                <a:gd name="T50" fmla="*/ 357 w 588"/>
                <a:gd name="T51" fmla="*/ 127 h 819"/>
                <a:gd name="T52" fmla="*/ 413 w 588"/>
                <a:gd name="T53" fmla="*/ 167 h 819"/>
                <a:gd name="T54" fmla="*/ 452 w 588"/>
                <a:gd name="T55" fmla="*/ 214 h 819"/>
                <a:gd name="T56" fmla="*/ 469 w 588"/>
                <a:gd name="T57" fmla="*/ 270 h 819"/>
                <a:gd name="T58" fmla="*/ 469 w 588"/>
                <a:gd name="T59" fmla="*/ 524 h 819"/>
                <a:gd name="T60" fmla="*/ 452 w 588"/>
                <a:gd name="T61" fmla="*/ 588 h 819"/>
                <a:gd name="T62" fmla="*/ 413 w 588"/>
                <a:gd name="T63" fmla="*/ 643 h 819"/>
                <a:gd name="T64" fmla="*/ 357 w 588"/>
                <a:gd name="T65" fmla="*/ 683 h 819"/>
                <a:gd name="T66" fmla="*/ 293 w 588"/>
                <a:gd name="T67" fmla="*/ 698 h 819"/>
                <a:gd name="T68" fmla="*/ 253 w 588"/>
                <a:gd name="T69" fmla="*/ 691 h 819"/>
                <a:gd name="T70" fmla="*/ 190 w 588"/>
                <a:gd name="T71" fmla="*/ 667 h 819"/>
                <a:gd name="T72" fmla="*/ 143 w 588"/>
                <a:gd name="T73" fmla="*/ 619 h 819"/>
                <a:gd name="T74" fmla="*/ 118 w 588"/>
                <a:gd name="T75" fmla="*/ 556 h 819"/>
                <a:gd name="T76" fmla="*/ 110 w 588"/>
                <a:gd name="T77" fmla="*/ 270 h 8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88" h="819">
                  <a:moveTo>
                    <a:pt x="293" y="818"/>
                  </a:moveTo>
                  <a:lnTo>
                    <a:pt x="293" y="818"/>
                  </a:lnTo>
                  <a:lnTo>
                    <a:pt x="349" y="810"/>
                  </a:lnTo>
                  <a:lnTo>
                    <a:pt x="405" y="794"/>
                  </a:lnTo>
                  <a:lnTo>
                    <a:pt x="452" y="762"/>
                  </a:lnTo>
                  <a:lnTo>
                    <a:pt x="492" y="731"/>
                  </a:lnTo>
                  <a:lnTo>
                    <a:pt x="531" y="683"/>
                  </a:lnTo>
                  <a:lnTo>
                    <a:pt x="563" y="635"/>
                  </a:lnTo>
                  <a:lnTo>
                    <a:pt x="579" y="580"/>
                  </a:lnTo>
                  <a:lnTo>
                    <a:pt x="587" y="524"/>
                  </a:lnTo>
                  <a:lnTo>
                    <a:pt x="587" y="270"/>
                  </a:lnTo>
                  <a:lnTo>
                    <a:pt x="587" y="270"/>
                  </a:lnTo>
                  <a:lnTo>
                    <a:pt x="579" y="214"/>
                  </a:lnTo>
                  <a:lnTo>
                    <a:pt x="563" y="167"/>
                  </a:lnTo>
                  <a:lnTo>
                    <a:pt x="531" y="119"/>
                  </a:lnTo>
                  <a:lnTo>
                    <a:pt x="492" y="79"/>
                  </a:lnTo>
                  <a:lnTo>
                    <a:pt x="452" y="48"/>
                  </a:lnTo>
                  <a:lnTo>
                    <a:pt x="405" y="16"/>
                  </a:lnTo>
                  <a:lnTo>
                    <a:pt x="349" y="0"/>
                  </a:lnTo>
                  <a:lnTo>
                    <a:pt x="293" y="0"/>
                  </a:lnTo>
                  <a:lnTo>
                    <a:pt x="293" y="0"/>
                  </a:lnTo>
                  <a:lnTo>
                    <a:pt x="230" y="0"/>
                  </a:lnTo>
                  <a:lnTo>
                    <a:pt x="174" y="16"/>
                  </a:lnTo>
                  <a:lnTo>
                    <a:pt x="127" y="48"/>
                  </a:lnTo>
                  <a:lnTo>
                    <a:pt x="87" y="79"/>
                  </a:lnTo>
                  <a:lnTo>
                    <a:pt x="47" y="119"/>
                  </a:lnTo>
                  <a:lnTo>
                    <a:pt x="23" y="167"/>
                  </a:lnTo>
                  <a:lnTo>
                    <a:pt x="0" y="214"/>
                  </a:lnTo>
                  <a:lnTo>
                    <a:pt x="0" y="270"/>
                  </a:lnTo>
                  <a:lnTo>
                    <a:pt x="0" y="524"/>
                  </a:lnTo>
                  <a:lnTo>
                    <a:pt x="0" y="524"/>
                  </a:lnTo>
                  <a:lnTo>
                    <a:pt x="0" y="588"/>
                  </a:lnTo>
                  <a:lnTo>
                    <a:pt x="23" y="635"/>
                  </a:lnTo>
                  <a:lnTo>
                    <a:pt x="47" y="683"/>
                  </a:lnTo>
                  <a:lnTo>
                    <a:pt x="87" y="731"/>
                  </a:lnTo>
                  <a:lnTo>
                    <a:pt x="127" y="762"/>
                  </a:lnTo>
                  <a:lnTo>
                    <a:pt x="182" y="794"/>
                  </a:lnTo>
                  <a:lnTo>
                    <a:pt x="230" y="810"/>
                  </a:lnTo>
                  <a:lnTo>
                    <a:pt x="293" y="818"/>
                  </a:lnTo>
                  <a:close/>
                  <a:moveTo>
                    <a:pt x="110" y="270"/>
                  </a:moveTo>
                  <a:lnTo>
                    <a:pt x="110" y="270"/>
                  </a:lnTo>
                  <a:lnTo>
                    <a:pt x="118" y="239"/>
                  </a:lnTo>
                  <a:lnTo>
                    <a:pt x="127" y="214"/>
                  </a:lnTo>
                  <a:lnTo>
                    <a:pt x="143" y="183"/>
                  </a:lnTo>
                  <a:lnTo>
                    <a:pt x="166" y="158"/>
                  </a:lnTo>
                  <a:lnTo>
                    <a:pt x="190" y="143"/>
                  </a:lnTo>
                  <a:lnTo>
                    <a:pt x="222" y="127"/>
                  </a:lnTo>
                  <a:lnTo>
                    <a:pt x="253" y="119"/>
                  </a:lnTo>
                  <a:lnTo>
                    <a:pt x="293" y="112"/>
                  </a:lnTo>
                  <a:lnTo>
                    <a:pt x="293" y="112"/>
                  </a:lnTo>
                  <a:lnTo>
                    <a:pt x="325" y="119"/>
                  </a:lnTo>
                  <a:lnTo>
                    <a:pt x="357" y="127"/>
                  </a:lnTo>
                  <a:lnTo>
                    <a:pt x="388" y="143"/>
                  </a:lnTo>
                  <a:lnTo>
                    <a:pt x="413" y="167"/>
                  </a:lnTo>
                  <a:lnTo>
                    <a:pt x="436" y="183"/>
                  </a:lnTo>
                  <a:lnTo>
                    <a:pt x="452" y="214"/>
                  </a:lnTo>
                  <a:lnTo>
                    <a:pt x="460" y="239"/>
                  </a:lnTo>
                  <a:lnTo>
                    <a:pt x="469" y="270"/>
                  </a:lnTo>
                  <a:lnTo>
                    <a:pt x="469" y="524"/>
                  </a:lnTo>
                  <a:lnTo>
                    <a:pt x="469" y="524"/>
                  </a:lnTo>
                  <a:lnTo>
                    <a:pt x="460" y="556"/>
                  </a:lnTo>
                  <a:lnTo>
                    <a:pt x="452" y="588"/>
                  </a:lnTo>
                  <a:lnTo>
                    <a:pt x="436" y="619"/>
                  </a:lnTo>
                  <a:lnTo>
                    <a:pt x="413" y="643"/>
                  </a:lnTo>
                  <a:lnTo>
                    <a:pt x="380" y="667"/>
                  </a:lnTo>
                  <a:lnTo>
                    <a:pt x="357" y="683"/>
                  </a:lnTo>
                  <a:lnTo>
                    <a:pt x="325" y="691"/>
                  </a:lnTo>
                  <a:lnTo>
                    <a:pt x="293" y="698"/>
                  </a:lnTo>
                  <a:lnTo>
                    <a:pt x="293" y="698"/>
                  </a:lnTo>
                  <a:lnTo>
                    <a:pt x="253" y="691"/>
                  </a:lnTo>
                  <a:lnTo>
                    <a:pt x="222" y="683"/>
                  </a:lnTo>
                  <a:lnTo>
                    <a:pt x="190" y="667"/>
                  </a:lnTo>
                  <a:lnTo>
                    <a:pt x="166" y="643"/>
                  </a:lnTo>
                  <a:lnTo>
                    <a:pt x="143" y="619"/>
                  </a:lnTo>
                  <a:lnTo>
                    <a:pt x="127" y="588"/>
                  </a:lnTo>
                  <a:lnTo>
                    <a:pt x="118" y="556"/>
                  </a:lnTo>
                  <a:lnTo>
                    <a:pt x="110" y="524"/>
                  </a:lnTo>
                  <a:lnTo>
                    <a:pt x="110" y="270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/>
            </a:p>
          </p:txBody>
        </p:sp>
        <p:sp>
          <p:nvSpPr>
            <p:cNvPr id="99" name="Freeform 3"/>
            <p:cNvSpPr>
              <a:spLocks noChangeArrowheads="1"/>
            </p:cNvSpPr>
            <p:nvPr/>
          </p:nvSpPr>
          <p:spPr bwMode="auto">
            <a:xfrm>
              <a:off x="8838736" y="3122413"/>
              <a:ext cx="6737" cy="37344"/>
            </a:xfrm>
            <a:custGeom>
              <a:avLst/>
              <a:gdLst>
                <a:gd name="T0" fmla="*/ 0 w 120"/>
                <a:gd name="T1" fmla="*/ 683 h 684"/>
                <a:gd name="T2" fmla="*/ 119 w 120"/>
                <a:gd name="T3" fmla="*/ 683 h 684"/>
                <a:gd name="T4" fmla="*/ 119 w 120"/>
                <a:gd name="T5" fmla="*/ 0 h 684"/>
                <a:gd name="T6" fmla="*/ 0 w 120"/>
                <a:gd name="T7" fmla="*/ 0 h 684"/>
                <a:gd name="T8" fmla="*/ 0 w 120"/>
                <a:gd name="T9" fmla="*/ 683 h 6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0" h="684">
                  <a:moveTo>
                    <a:pt x="0" y="683"/>
                  </a:moveTo>
                  <a:lnTo>
                    <a:pt x="119" y="683"/>
                  </a:lnTo>
                  <a:lnTo>
                    <a:pt x="119" y="0"/>
                  </a:lnTo>
                  <a:lnTo>
                    <a:pt x="0" y="0"/>
                  </a:lnTo>
                  <a:lnTo>
                    <a:pt x="0" y="683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/>
            </a:p>
          </p:txBody>
        </p:sp>
        <p:sp>
          <p:nvSpPr>
            <p:cNvPr id="100" name="Freeform 4"/>
            <p:cNvSpPr>
              <a:spLocks noChangeArrowheads="1"/>
            </p:cNvSpPr>
            <p:nvPr/>
          </p:nvSpPr>
          <p:spPr bwMode="auto">
            <a:xfrm>
              <a:off x="8914337" y="3122413"/>
              <a:ext cx="6737" cy="37344"/>
            </a:xfrm>
            <a:custGeom>
              <a:avLst/>
              <a:gdLst>
                <a:gd name="T0" fmla="*/ 0 w 120"/>
                <a:gd name="T1" fmla="*/ 683 h 684"/>
                <a:gd name="T2" fmla="*/ 119 w 120"/>
                <a:gd name="T3" fmla="*/ 683 h 684"/>
                <a:gd name="T4" fmla="*/ 119 w 120"/>
                <a:gd name="T5" fmla="*/ 0 h 684"/>
                <a:gd name="T6" fmla="*/ 0 w 120"/>
                <a:gd name="T7" fmla="*/ 0 h 684"/>
                <a:gd name="T8" fmla="*/ 0 w 120"/>
                <a:gd name="T9" fmla="*/ 683 h 6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0" h="684">
                  <a:moveTo>
                    <a:pt x="0" y="683"/>
                  </a:moveTo>
                  <a:lnTo>
                    <a:pt x="119" y="683"/>
                  </a:lnTo>
                  <a:lnTo>
                    <a:pt x="119" y="0"/>
                  </a:lnTo>
                  <a:lnTo>
                    <a:pt x="0" y="0"/>
                  </a:lnTo>
                  <a:lnTo>
                    <a:pt x="0" y="683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/>
            </a:p>
          </p:txBody>
        </p:sp>
        <p:sp>
          <p:nvSpPr>
            <p:cNvPr id="101" name="Freeform 5"/>
            <p:cNvSpPr>
              <a:spLocks noChangeArrowheads="1"/>
            </p:cNvSpPr>
            <p:nvPr/>
          </p:nvSpPr>
          <p:spPr bwMode="auto">
            <a:xfrm>
              <a:off x="8787088" y="3119281"/>
              <a:ext cx="33434" cy="44812"/>
            </a:xfrm>
            <a:custGeom>
              <a:avLst/>
              <a:gdLst>
                <a:gd name="T0" fmla="*/ 293 w 589"/>
                <a:gd name="T1" fmla="*/ 0 h 819"/>
                <a:gd name="T2" fmla="*/ 183 w 589"/>
                <a:gd name="T3" fmla="*/ 16 h 819"/>
                <a:gd name="T4" fmla="*/ 87 w 589"/>
                <a:gd name="T5" fmla="*/ 79 h 819"/>
                <a:gd name="T6" fmla="*/ 23 w 589"/>
                <a:gd name="T7" fmla="*/ 167 h 819"/>
                <a:gd name="T8" fmla="*/ 0 w 589"/>
                <a:gd name="T9" fmla="*/ 270 h 819"/>
                <a:gd name="T10" fmla="*/ 0 w 589"/>
                <a:gd name="T11" fmla="*/ 524 h 819"/>
                <a:gd name="T12" fmla="*/ 23 w 589"/>
                <a:gd name="T13" fmla="*/ 635 h 819"/>
                <a:gd name="T14" fmla="*/ 87 w 589"/>
                <a:gd name="T15" fmla="*/ 731 h 819"/>
                <a:gd name="T16" fmla="*/ 183 w 589"/>
                <a:gd name="T17" fmla="*/ 794 h 819"/>
                <a:gd name="T18" fmla="*/ 293 w 589"/>
                <a:gd name="T19" fmla="*/ 818 h 819"/>
                <a:gd name="T20" fmla="*/ 349 w 589"/>
                <a:gd name="T21" fmla="*/ 810 h 819"/>
                <a:gd name="T22" fmla="*/ 453 w 589"/>
                <a:gd name="T23" fmla="*/ 762 h 819"/>
                <a:gd name="T24" fmla="*/ 540 w 589"/>
                <a:gd name="T25" fmla="*/ 683 h 819"/>
                <a:gd name="T26" fmla="*/ 580 w 589"/>
                <a:gd name="T27" fmla="*/ 588 h 819"/>
                <a:gd name="T28" fmla="*/ 588 w 589"/>
                <a:gd name="T29" fmla="*/ 270 h 819"/>
                <a:gd name="T30" fmla="*/ 580 w 589"/>
                <a:gd name="T31" fmla="*/ 214 h 819"/>
                <a:gd name="T32" fmla="*/ 540 w 589"/>
                <a:gd name="T33" fmla="*/ 119 h 819"/>
                <a:gd name="T34" fmla="*/ 461 w 589"/>
                <a:gd name="T35" fmla="*/ 48 h 819"/>
                <a:gd name="T36" fmla="*/ 357 w 589"/>
                <a:gd name="T37" fmla="*/ 0 h 819"/>
                <a:gd name="T38" fmla="*/ 468 w 589"/>
                <a:gd name="T39" fmla="*/ 524 h 819"/>
                <a:gd name="T40" fmla="*/ 468 w 589"/>
                <a:gd name="T41" fmla="*/ 556 h 819"/>
                <a:gd name="T42" fmla="*/ 445 w 589"/>
                <a:gd name="T43" fmla="*/ 619 h 819"/>
                <a:gd name="T44" fmla="*/ 397 w 589"/>
                <a:gd name="T45" fmla="*/ 667 h 819"/>
                <a:gd name="T46" fmla="*/ 333 w 589"/>
                <a:gd name="T47" fmla="*/ 691 h 819"/>
                <a:gd name="T48" fmla="*/ 293 w 589"/>
                <a:gd name="T49" fmla="*/ 698 h 819"/>
                <a:gd name="T50" fmla="*/ 222 w 589"/>
                <a:gd name="T51" fmla="*/ 683 h 819"/>
                <a:gd name="T52" fmla="*/ 167 w 589"/>
                <a:gd name="T53" fmla="*/ 643 h 819"/>
                <a:gd name="T54" fmla="*/ 135 w 589"/>
                <a:gd name="T55" fmla="*/ 588 h 819"/>
                <a:gd name="T56" fmla="*/ 119 w 589"/>
                <a:gd name="T57" fmla="*/ 524 h 819"/>
                <a:gd name="T58" fmla="*/ 119 w 589"/>
                <a:gd name="T59" fmla="*/ 270 h 819"/>
                <a:gd name="T60" fmla="*/ 135 w 589"/>
                <a:gd name="T61" fmla="*/ 214 h 819"/>
                <a:gd name="T62" fmla="*/ 175 w 589"/>
                <a:gd name="T63" fmla="*/ 158 h 819"/>
                <a:gd name="T64" fmla="*/ 230 w 589"/>
                <a:gd name="T65" fmla="*/ 127 h 819"/>
                <a:gd name="T66" fmla="*/ 293 w 589"/>
                <a:gd name="T67" fmla="*/ 112 h 819"/>
                <a:gd name="T68" fmla="*/ 333 w 589"/>
                <a:gd name="T69" fmla="*/ 119 h 819"/>
                <a:gd name="T70" fmla="*/ 389 w 589"/>
                <a:gd name="T71" fmla="*/ 143 h 819"/>
                <a:gd name="T72" fmla="*/ 437 w 589"/>
                <a:gd name="T73" fmla="*/ 183 h 819"/>
                <a:gd name="T74" fmla="*/ 468 w 589"/>
                <a:gd name="T75" fmla="*/ 239 h 819"/>
                <a:gd name="T76" fmla="*/ 468 w 589"/>
                <a:gd name="T77" fmla="*/ 524 h 8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89" h="819">
                  <a:moveTo>
                    <a:pt x="293" y="0"/>
                  </a:moveTo>
                  <a:lnTo>
                    <a:pt x="293" y="0"/>
                  </a:lnTo>
                  <a:lnTo>
                    <a:pt x="239" y="0"/>
                  </a:lnTo>
                  <a:lnTo>
                    <a:pt x="183" y="16"/>
                  </a:lnTo>
                  <a:lnTo>
                    <a:pt x="127" y="48"/>
                  </a:lnTo>
                  <a:lnTo>
                    <a:pt x="87" y="79"/>
                  </a:lnTo>
                  <a:lnTo>
                    <a:pt x="48" y="119"/>
                  </a:lnTo>
                  <a:lnTo>
                    <a:pt x="23" y="167"/>
                  </a:lnTo>
                  <a:lnTo>
                    <a:pt x="8" y="214"/>
                  </a:lnTo>
                  <a:lnTo>
                    <a:pt x="0" y="270"/>
                  </a:lnTo>
                  <a:lnTo>
                    <a:pt x="0" y="524"/>
                  </a:lnTo>
                  <a:lnTo>
                    <a:pt x="0" y="524"/>
                  </a:lnTo>
                  <a:lnTo>
                    <a:pt x="8" y="588"/>
                  </a:lnTo>
                  <a:lnTo>
                    <a:pt x="23" y="635"/>
                  </a:lnTo>
                  <a:lnTo>
                    <a:pt x="56" y="683"/>
                  </a:lnTo>
                  <a:lnTo>
                    <a:pt x="87" y="731"/>
                  </a:lnTo>
                  <a:lnTo>
                    <a:pt x="135" y="762"/>
                  </a:lnTo>
                  <a:lnTo>
                    <a:pt x="183" y="794"/>
                  </a:lnTo>
                  <a:lnTo>
                    <a:pt x="239" y="810"/>
                  </a:lnTo>
                  <a:lnTo>
                    <a:pt x="293" y="818"/>
                  </a:lnTo>
                  <a:lnTo>
                    <a:pt x="293" y="818"/>
                  </a:lnTo>
                  <a:lnTo>
                    <a:pt x="349" y="810"/>
                  </a:lnTo>
                  <a:lnTo>
                    <a:pt x="405" y="794"/>
                  </a:lnTo>
                  <a:lnTo>
                    <a:pt x="453" y="762"/>
                  </a:lnTo>
                  <a:lnTo>
                    <a:pt x="500" y="731"/>
                  </a:lnTo>
                  <a:lnTo>
                    <a:pt x="540" y="683"/>
                  </a:lnTo>
                  <a:lnTo>
                    <a:pt x="563" y="635"/>
                  </a:lnTo>
                  <a:lnTo>
                    <a:pt x="580" y="588"/>
                  </a:lnTo>
                  <a:lnTo>
                    <a:pt x="588" y="524"/>
                  </a:lnTo>
                  <a:lnTo>
                    <a:pt x="588" y="270"/>
                  </a:lnTo>
                  <a:lnTo>
                    <a:pt x="588" y="270"/>
                  </a:lnTo>
                  <a:lnTo>
                    <a:pt x="580" y="214"/>
                  </a:lnTo>
                  <a:lnTo>
                    <a:pt x="563" y="167"/>
                  </a:lnTo>
                  <a:lnTo>
                    <a:pt x="540" y="119"/>
                  </a:lnTo>
                  <a:lnTo>
                    <a:pt x="500" y="79"/>
                  </a:lnTo>
                  <a:lnTo>
                    <a:pt x="461" y="48"/>
                  </a:lnTo>
                  <a:lnTo>
                    <a:pt x="413" y="16"/>
                  </a:lnTo>
                  <a:lnTo>
                    <a:pt x="357" y="0"/>
                  </a:lnTo>
                  <a:lnTo>
                    <a:pt x="293" y="0"/>
                  </a:lnTo>
                  <a:close/>
                  <a:moveTo>
                    <a:pt x="468" y="524"/>
                  </a:moveTo>
                  <a:lnTo>
                    <a:pt x="468" y="524"/>
                  </a:lnTo>
                  <a:lnTo>
                    <a:pt x="468" y="556"/>
                  </a:lnTo>
                  <a:lnTo>
                    <a:pt x="461" y="588"/>
                  </a:lnTo>
                  <a:lnTo>
                    <a:pt x="445" y="619"/>
                  </a:lnTo>
                  <a:lnTo>
                    <a:pt x="420" y="643"/>
                  </a:lnTo>
                  <a:lnTo>
                    <a:pt x="397" y="667"/>
                  </a:lnTo>
                  <a:lnTo>
                    <a:pt x="365" y="683"/>
                  </a:lnTo>
                  <a:lnTo>
                    <a:pt x="333" y="691"/>
                  </a:lnTo>
                  <a:lnTo>
                    <a:pt x="293" y="698"/>
                  </a:lnTo>
                  <a:lnTo>
                    <a:pt x="293" y="698"/>
                  </a:lnTo>
                  <a:lnTo>
                    <a:pt x="262" y="691"/>
                  </a:lnTo>
                  <a:lnTo>
                    <a:pt x="222" y="683"/>
                  </a:lnTo>
                  <a:lnTo>
                    <a:pt x="198" y="667"/>
                  </a:lnTo>
                  <a:lnTo>
                    <a:pt x="167" y="643"/>
                  </a:lnTo>
                  <a:lnTo>
                    <a:pt x="150" y="619"/>
                  </a:lnTo>
                  <a:lnTo>
                    <a:pt x="135" y="588"/>
                  </a:lnTo>
                  <a:lnTo>
                    <a:pt x="119" y="556"/>
                  </a:lnTo>
                  <a:lnTo>
                    <a:pt x="119" y="524"/>
                  </a:lnTo>
                  <a:lnTo>
                    <a:pt x="119" y="270"/>
                  </a:lnTo>
                  <a:lnTo>
                    <a:pt x="119" y="270"/>
                  </a:lnTo>
                  <a:lnTo>
                    <a:pt x="119" y="239"/>
                  </a:lnTo>
                  <a:lnTo>
                    <a:pt x="135" y="214"/>
                  </a:lnTo>
                  <a:lnTo>
                    <a:pt x="150" y="183"/>
                  </a:lnTo>
                  <a:lnTo>
                    <a:pt x="175" y="158"/>
                  </a:lnTo>
                  <a:lnTo>
                    <a:pt x="198" y="143"/>
                  </a:lnTo>
                  <a:lnTo>
                    <a:pt x="230" y="127"/>
                  </a:lnTo>
                  <a:lnTo>
                    <a:pt x="262" y="119"/>
                  </a:lnTo>
                  <a:lnTo>
                    <a:pt x="293" y="112"/>
                  </a:lnTo>
                  <a:lnTo>
                    <a:pt x="293" y="112"/>
                  </a:lnTo>
                  <a:lnTo>
                    <a:pt x="333" y="119"/>
                  </a:lnTo>
                  <a:lnTo>
                    <a:pt x="365" y="127"/>
                  </a:lnTo>
                  <a:lnTo>
                    <a:pt x="389" y="143"/>
                  </a:lnTo>
                  <a:lnTo>
                    <a:pt x="420" y="158"/>
                  </a:lnTo>
                  <a:lnTo>
                    <a:pt x="437" y="183"/>
                  </a:lnTo>
                  <a:lnTo>
                    <a:pt x="461" y="214"/>
                  </a:lnTo>
                  <a:lnTo>
                    <a:pt x="468" y="239"/>
                  </a:lnTo>
                  <a:lnTo>
                    <a:pt x="468" y="270"/>
                  </a:lnTo>
                  <a:lnTo>
                    <a:pt x="468" y="524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/>
            </a:p>
          </p:txBody>
        </p:sp>
        <p:sp>
          <p:nvSpPr>
            <p:cNvPr id="102" name="Freeform 6"/>
            <p:cNvSpPr>
              <a:spLocks noChangeArrowheads="1"/>
            </p:cNvSpPr>
            <p:nvPr/>
          </p:nvSpPr>
          <p:spPr bwMode="auto">
            <a:xfrm>
              <a:off x="8863438" y="3119281"/>
              <a:ext cx="32436" cy="44812"/>
            </a:xfrm>
            <a:custGeom>
              <a:avLst/>
              <a:gdLst>
                <a:gd name="T0" fmla="*/ 278 w 572"/>
                <a:gd name="T1" fmla="*/ 0 h 819"/>
                <a:gd name="T2" fmla="*/ 174 w 572"/>
                <a:gd name="T3" fmla="*/ 16 h 819"/>
                <a:gd name="T4" fmla="*/ 87 w 572"/>
                <a:gd name="T5" fmla="*/ 79 h 819"/>
                <a:gd name="T6" fmla="*/ 23 w 572"/>
                <a:gd name="T7" fmla="*/ 167 h 819"/>
                <a:gd name="T8" fmla="*/ 0 w 572"/>
                <a:gd name="T9" fmla="*/ 270 h 819"/>
                <a:gd name="T10" fmla="*/ 0 w 572"/>
                <a:gd name="T11" fmla="*/ 524 h 819"/>
                <a:gd name="T12" fmla="*/ 23 w 572"/>
                <a:gd name="T13" fmla="*/ 635 h 819"/>
                <a:gd name="T14" fmla="*/ 87 w 572"/>
                <a:gd name="T15" fmla="*/ 731 h 819"/>
                <a:gd name="T16" fmla="*/ 174 w 572"/>
                <a:gd name="T17" fmla="*/ 794 h 819"/>
                <a:gd name="T18" fmla="*/ 278 w 572"/>
                <a:gd name="T19" fmla="*/ 818 h 819"/>
                <a:gd name="T20" fmla="*/ 341 w 572"/>
                <a:gd name="T21" fmla="*/ 810 h 819"/>
                <a:gd name="T22" fmla="*/ 444 w 572"/>
                <a:gd name="T23" fmla="*/ 762 h 819"/>
                <a:gd name="T24" fmla="*/ 524 w 572"/>
                <a:gd name="T25" fmla="*/ 683 h 819"/>
                <a:gd name="T26" fmla="*/ 571 w 572"/>
                <a:gd name="T27" fmla="*/ 588 h 819"/>
                <a:gd name="T28" fmla="*/ 571 w 572"/>
                <a:gd name="T29" fmla="*/ 270 h 819"/>
                <a:gd name="T30" fmla="*/ 571 w 572"/>
                <a:gd name="T31" fmla="*/ 214 h 819"/>
                <a:gd name="T32" fmla="*/ 524 w 572"/>
                <a:gd name="T33" fmla="*/ 119 h 819"/>
                <a:gd name="T34" fmla="*/ 444 w 572"/>
                <a:gd name="T35" fmla="*/ 48 h 819"/>
                <a:gd name="T36" fmla="*/ 341 w 572"/>
                <a:gd name="T37" fmla="*/ 0 h 819"/>
                <a:gd name="T38" fmla="*/ 461 w 572"/>
                <a:gd name="T39" fmla="*/ 524 h 819"/>
                <a:gd name="T40" fmla="*/ 453 w 572"/>
                <a:gd name="T41" fmla="*/ 556 h 819"/>
                <a:gd name="T42" fmla="*/ 428 w 572"/>
                <a:gd name="T43" fmla="*/ 619 h 819"/>
                <a:gd name="T44" fmla="*/ 381 w 572"/>
                <a:gd name="T45" fmla="*/ 667 h 819"/>
                <a:gd name="T46" fmla="*/ 318 w 572"/>
                <a:gd name="T47" fmla="*/ 691 h 819"/>
                <a:gd name="T48" fmla="*/ 278 w 572"/>
                <a:gd name="T49" fmla="*/ 698 h 819"/>
                <a:gd name="T50" fmla="*/ 222 w 572"/>
                <a:gd name="T51" fmla="*/ 683 h 819"/>
                <a:gd name="T52" fmla="*/ 166 w 572"/>
                <a:gd name="T53" fmla="*/ 643 h 819"/>
                <a:gd name="T54" fmla="*/ 135 w 572"/>
                <a:gd name="T55" fmla="*/ 588 h 819"/>
                <a:gd name="T56" fmla="*/ 119 w 572"/>
                <a:gd name="T57" fmla="*/ 524 h 819"/>
                <a:gd name="T58" fmla="*/ 119 w 572"/>
                <a:gd name="T59" fmla="*/ 270 h 819"/>
                <a:gd name="T60" fmla="*/ 135 w 572"/>
                <a:gd name="T61" fmla="*/ 214 h 819"/>
                <a:gd name="T62" fmla="*/ 166 w 572"/>
                <a:gd name="T63" fmla="*/ 158 h 819"/>
                <a:gd name="T64" fmla="*/ 222 w 572"/>
                <a:gd name="T65" fmla="*/ 127 h 819"/>
                <a:gd name="T66" fmla="*/ 278 w 572"/>
                <a:gd name="T67" fmla="*/ 112 h 819"/>
                <a:gd name="T68" fmla="*/ 318 w 572"/>
                <a:gd name="T69" fmla="*/ 119 h 819"/>
                <a:gd name="T70" fmla="*/ 381 w 572"/>
                <a:gd name="T71" fmla="*/ 143 h 819"/>
                <a:gd name="T72" fmla="*/ 428 w 572"/>
                <a:gd name="T73" fmla="*/ 183 h 819"/>
                <a:gd name="T74" fmla="*/ 453 w 572"/>
                <a:gd name="T75" fmla="*/ 239 h 819"/>
                <a:gd name="T76" fmla="*/ 461 w 572"/>
                <a:gd name="T77" fmla="*/ 524 h 8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72" h="819">
                  <a:moveTo>
                    <a:pt x="278" y="0"/>
                  </a:moveTo>
                  <a:lnTo>
                    <a:pt x="278" y="0"/>
                  </a:lnTo>
                  <a:lnTo>
                    <a:pt x="230" y="0"/>
                  </a:lnTo>
                  <a:lnTo>
                    <a:pt x="174" y="16"/>
                  </a:lnTo>
                  <a:lnTo>
                    <a:pt x="127" y="48"/>
                  </a:lnTo>
                  <a:lnTo>
                    <a:pt x="87" y="79"/>
                  </a:lnTo>
                  <a:lnTo>
                    <a:pt x="56" y="119"/>
                  </a:lnTo>
                  <a:lnTo>
                    <a:pt x="23" y="167"/>
                  </a:lnTo>
                  <a:lnTo>
                    <a:pt x="8" y="214"/>
                  </a:lnTo>
                  <a:lnTo>
                    <a:pt x="0" y="270"/>
                  </a:lnTo>
                  <a:lnTo>
                    <a:pt x="0" y="524"/>
                  </a:lnTo>
                  <a:lnTo>
                    <a:pt x="0" y="524"/>
                  </a:lnTo>
                  <a:lnTo>
                    <a:pt x="8" y="580"/>
                  </a:lnTo>
                  <a:lnTo>
                    <a:pt x="23" y="635"/>
                  </a:lnTo>
                  <a:lnTo>
                    <a:pt x="56" y="683"/>
                  </a:lnTo>
                  <a:lnTo>
                    <a:pt x="87" y="731"/>
                  </a:lnTo>
                  <a:lnTo>
                    <a:pt x="127" y="762"/>
                  </a:lnTo>
                  <a:lnTo>
                    <a:pt x="174" y="794"/>
                  </a:lnTo>
                  <a:lnTo>
                    <a:pt x="230" y="810"/>
                  </a:lnTo>
                  <a:lnTo>
                    <a:pt x="278" y="818"/>
                  </a:lnTo>
                  <a:lnTo>
                    <a:pt x="278" y="818"/>
                  </a:lnTo>
                  <a:lnTo>
                    <a:pt x="341" y="810"/>
                  </a:lnTo>
                  <a:lnTo>
                    <a:pt x="397" y="794"/>
                  </a:lnTo>
                  <a:lnTo>
                    <a:pt x="444" y="762"/>
                  </a:lnTo>
                  <a:lnTo>
                    <a:pt x="484" y="731"/>
                  </a:lnTo>
                  <a:lnTo>
                    <a:pt x="524" y="683"/>
                  </a:lnTo>
                  <a:lnTo>
                    <a:pt x="548" y="635"/>
                  </a:lnTo>
                  <a:lnTo>
                    <a:pt x="571" y="588"/>
                  </a:lnTo>
                  <a:lnTo>
                    <a:pt x="571" y="524"/>
                  </a:lnTo>
                  <a:lnTo>
                    <a:pt x="571" y="270"/>
                  </a:lnTo>
                  <a:lnTo>
                    <a:pt x="571" y="270"/>
                  </a:lnTo>
                  <a:lnTo>
                    <a:pt x="571" y="214"/>
                  </a:lnTo>
                  <a:lnTo>
                    <a:pt x="555" y="167"/>
                  </a:lnTo>
                  <a:lnTo>
                    <a:pt x="524" y="119"/>
                  </a:lnTo>
                  <a:lnTo>
                    <a:pt x="492" y="79"/>
                  </a:lnTo>
                  <a:lnTo>
                    <a:pt x="444" y="48"/>
                  </a:lnTo>
                  <a:lnTo>
                    <a:pt x="397" y="16"/>
                  </a:lnTo>
                  <a:lnTo>
                    <a:pt x="341" y="0"/>
                  </a:lnTo>
                  <a:lnTo>
                    <a:pt x="278" y="0"/>
                  </a:lnTo>
                  <a:close/>
                  <a:moveTo>
                    <a:pt x="461" y="524"/>
                  </a:moveTo>
                  <a:lnTo>
                    <a:pt x="461" y="524"/>
                  </a:lnTo>
                  <a:lnTo>
                    <a:pt x="453" y="556"/>
                  </a:lnTo>
                  <a:lnTo>
                    <a:pt x="444" y="588"/>
                  </a:lnTo>
                  <a:lnTo>
                    <a:pt x="428" y="619"/>
                  </a:lnTo>
                  <a:lnTo>
                    <a:pt x="405" y="643"/>
                  </a:lnTo>
                  <a:lnTo>
                    <a:pt x="381" y="667"/>
                  </a:lnTo>
                  <a:lnTo>
                    <a:pt x="349" y="683"/>
                  </a:lnTo>
                  <a:lnTo>
                    <a:pt x="318" y="691"/>
                  </a:lnTo>
                  <a:lnTo>
                    <a:pt x="278" y="698"/>
                  </a:lnTo>
                  <a:lnTo>
                    <a:pt x="278" y="698"/>
                  </a:lnTo>
                  <a:lnTo>
                    <a:pt x="254" y="691"/>
                  </a:lnTo>
                  <a:lnTo>
                    <a:pt x="222" y="683"/>
                  </a:lnTo>
                  <a:lnTo>
                    <a:pt x="198" y="667"/>
                  </a:lnTo>
                  <a:lnTo>
                    <a:pt x="166" y="643"/>
                  </a:lnTo>
                  <a:lnTo>
                    <a:pt x="150" y="619"/>
                  </a:lnTo>
                  <a:lnTo>
                    <a:pt x="135" y="588"/>
                  </a:lnTo>
                  <a:lnTo>
                    <a:pt x="127" y="556"/>
                  </a:lnTo>
                  <a:lnTo>
                    <a:pt x="119" y="524"/>
                  </a:lnTo>
                  <a:lnTo>
                    <a:pt x="119" y="270"/>
                  </a:lnTo>
                  <a:lnTo>
                    <a:pt x="119" y="270"/>
                  </a:lnTo>
                  <a:lnTo>
                    <a:pt x="127" y="239"/>
                  </a:lnTo>
                  <a:lnTo>
                    <a:pt x="135" y="214"/>
                  </a:lnTo>
                  <a:lnTo>
                    <a:pt x="150" y="183"/>
                  </a:lnTo>
                  <a:lnTo>
                    <a:pt x="166" y="158"/>
                  </a:lnTo>
                  <a:lnTo>
                    <a:pt x="191" y="143"/>
                  </a:lnTo>
                  <a:lnTo>
                    <a:pt x="222" y="127"/>
                  </a:lnTo>
                  <a:lnTo>
                    <a:pt x="254" y="119"/>
                  </a:lnTo>
                  <a:lnTo>
                    <a:pt x="278" y="112"/>
                  </a:lnTo>
                  <a:lnTo>
                    <a:pt x="278" y="112"/>
                  </a:lnTo>
                  <a:lnTo>
                    <a:pt x="318" y="119"/>
                  </a:lnTo>
                  <a:lnTo>
                    <a:pt x="349" y="127"/>
                  </a:lnTo>
                  <a:lnTo>
                    <a:pt x="381" y="143"/>
                  </a:lnTo>
                  <a:lnTo>
                    <a:pt x="405" y="158"/>
                  </a:lnTo>
                  <a:lnTo>
                    <a:pt x="428" y="183"/>
                  </a:lnTo>
                  <a:lnTo>
                    <a:pt x="444" y="214"/>
                  </a:lnTo>
                  <a:lnTo>
                    <a:pt x="453" y="239"/>
                  </a:lnTo>
                  <a:lnTo>
                    <a:pt x="461" y="270"/>
                  </a:lnTo>
                  <a:lnTo>
                    <a:pt x="461" y="524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/>
            </a:p>
          </p:txBody>
        </p:sp>
        <p:sp>
          <p:nvSpPr>
            <p:cNvPr id="103" name="Freeform 7"/>
            <p:cNvSpPr>
              <a:spLocks noChangeArrowheads="1"/>
            </p:cNvSpPr>
            <p:nvPr/>
          </p:nvSpPr>
          <p:spPr bwMode="auto">
            <a:xfrm>
              <a:off x="8682045" y="3122413"/>
              <a:ext cx="6737" cy="37344"/>
            </a:xfrm>
            <a:custGeom>
              <a:avLst/>
              <a:gdLst>
                <a:gd name="T0" fmla="*/ 119 w 120"/>
                <a:gd name="T1" fmla="*/ 0 h 684"/>
                <a:gd name="T2" fmla="*/ 0 w 120"/>
                <a:gd name="T3" fmla="*/ 0 h 684"/>
                <a:gd name="T4" fmla="*/ 0 w 120"/>
                <a:gd name="T5" fmla="*/ 683 h 684"/>
                <a:gd name="T6" fmla="*/ 119 w 120"/>
                <a:gd name="T7" fmla="*/ 683 h 684"/>
                <a:gd name="T8" fmla="*/ 119 w 120"/>
                <a:gd name="T9" fmla="*/ 0 h 6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0" h="684">
                  <a:moveTo>
                    <a:pt x="119" y="0"/>
                  </a:moveTo>
                  <a:lnTo>
                    <a:pt x="0" y="0"/>
                  </a:lnTo>
                  <a:lnTo>
                    <a:pt x="0" y="683"/>
                  </a:lnTo>
                  <a:lnTo>
                    <a:pt x="119" y="683"/>
                  </a:lnTo>
                  <a:lnTo>
                    <a:pt x="119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/>
            </a:p>
          </p:txBody>
        </p:sp>
        <p:sp>
          <p:nvSpPr>
            <p:cNvPr id="104" name="Freeform 8"/>
            <p:cNvSpPr>
              <a:spLocks noChangeArrowheads="1"/>
            </p:cNvSpPr>
            <p:nvPr/>
          </p:nvSpPr>
          <p:spPr bwMode="auto">
            <a:xfrm>
              <a:off x="8631145" y="3119281"/>
              <a:ext cx="32935" cy="44812"/>
            </a:xfrm>
            <a:custGeom>
              <a:avLst/>
              <a:gdLst>
                <a:gd name="T0" fmla="*/ 286 w 580"/>
                <a:gd name="T1" fmla="*/ 818 h 819"/>
                <a:gd name="T2" fmla="*/ 396 w 580"/>
                <a:gd name="T3" fmla="*/ 794 h 819"/>
                <a:gd name="T4" fmla="*/ 484 w 580"/>
                <a:gd name="T5" fmla="*/ 731 h 819"/>
                <a:gd name="T6" fmla="*/ 556 w 580"/>
                <a:gd name="T7" fmla="*/ 635 h 819"/>
                <a:gd name="T8" fmla="*/ 579 w 580"/>
                <a:gd name="T9" fmla="*/ 524 h 819"/>
                <a:gd name="T10" fmla="*/ 579 w 580"/>
                <a:gd name="T11" fmla="*/ 270 h 819"/>
                <a:gd name="T12" fmla="*/ 556 w 580"/>
                <a:gd name="T13" fmla="*/ 167 h 819"/>
                <a:gd name="T14" fmla="*/ 492 w 580"/>
                <a:gd name="T15" fmla="*/ 79 h 819"/>
                <a:gd name="T16" fmla="*/ 396 w 580"/>
                <a:gd name="T17" fmla="*/ 16 h 819"/>
                <a:gd name="T18" fmla="*/ 286 w 580"/>
                <a:gd name="T19" fmla="*/ 0 h 819"/>
                <a:gd name="T20" fmla="*/ 230 w 580"/>
                <a:gd name="T21" fmla="*/ 0 h 819"/>
                <a:gd name="T22" fmla="*/ 126 w 580"/>
                <a:gd name="T23" fmla="*/ 48 h 819"/>
                <a:gd name="T24" fmla="*/ 55 w 580"/>
                <a:gd name="T25" fmla="*/ 119 h 819"/>
                <a:gd name="T26" fmla="*/ 8 w 580"/>
                <a:gd name="T27" fmla="*/ 214 h 819"/>
                <a:gd name="T28" fmla="*/ 0 w 580"/>
                <a:gd name="T29" fmla="*/ 524 h 819"/>
                <a:gd name="T30" fmla="*/ 8 w 580"/>
                <a:gd name="T31" fmla="*/ 580 h 819"/>
                <a:gd name="T32" fmla="*/ 55 w 580"/>
                <a:gd name="T33" fmla="*/ 683 h 819"/>
                <a:gd name="T34" fmla="*/ 126 w 580"/>
                <a:gd name="T35" fmla="*/ 762 h 819"/>
                <a:gd name="T36" fmla="*/ 230 w 580"/>
                <a:gd name="T37" fmla="*/ 810 h 819"/>
                <a:gd name="T38" fmla="*/ 118 w 580"/>
                <a:gd name="T39" fmla="*/ 270 h 819"/>
                <a:gd name="T40" fmla="*/ 126 w 580"/>
                <a:gd name="T41" fmla="*/ 239 h 819"/>
                <a:gd name="T42" fmla="*/ 151 w 580"/>
                <a:gd name="T43" fmla="*/ 183 h 819"/>
                <a:gd name="T44" fmla="*/ 190 w 580"/>
                <a:gd name="T45" fmla="*/ 143 h 819"/>
                <a:gd name="T46" fmla="*/ 253 w 580"/>
                <a:gd name="T47" fmla="*/ 119 h 819"/>
                <a:gd name="T48" fmla="*/ 286 w 580"/>
                <a:gd name="T49" fmla="*/ 112 h 819"/>
                <a:gd name="T50" fmla="*/ 349 w 580"/>
                <a:gd name="T51" fmla="*/ 127 h 819"/>
                <a:gd name="T52" fmla="*/ 405 w 580"/>
                <a:gd name="T53" fmla="*/ 158 h 819"/>
                <a:gd name="T54" fmla="*/ 444 w 580"/>
                <a:gd name="T55" fmla="*/ 214 h 819"/>
                <a:gd name="T56" fmla="*/ 460 w 580"/>
                <a:gd name="T57" fmla="*/ 270 h 819"/>
                <a:gd name="T58" fmla="*/ 460 w 580"/>
                <a:gd name="T59" fmla="*/ 524 h 819"/>
                <a:gd name="T60" fmla="*/ 444 w 580"/>
                <a:gd name="T61" fmla="*/ 588 h 819"/>
                <a:gd name="T62" fmla="*/ 405 w 580"/>
                <a:gd name="T63" fmla="*/ 643 h 819"/>
                <a:gd name="T64" fmla="*/ 349 w 580"/>
                <a:gd name="T65" fmla="*/ 683 h 819"/>
                <a:gd name="T66" fmla="*/ 286 w 580"/>
                <a:gd name="T67" fmla="*/ 698 h 819"/>
                <a:gd name="T68" fmla="*/ 253 w 580"/>
                <a:gd name="T69" fmla="*/ 691 h 819"/>
                <a:gd name="T70" fmla="*/ 198 w 580"/>
                <a:gd name="T71" fmla="*/ 667 h 819"/>
                <a:gd name="T72" fmla="*/ 151 w 580"/>
                <a:gd name="T73" fmla="*/ 619 h 819"/>
                <a:gd name="T74" fmla="*/ 126 w 580"/>
                <a:gd name="T75" fmla="*/ 556 h 819"/>
                <a:gd name="T76" fmla="*/ 118 w 580"/>
                <a:gd name="T77" fmla="*/ 270 h 8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80" h="819">
                  <a:moveTo>
                    <a:pt x="286" y="818"/>
                  </a:moveTo>
                  <a:lnTo>
                    <a:pt x="286" y="818"/>
                  </a:lnTo>
                  <a:lnTo>
                    <a:pt x="342" y="810"/>
                  </a:lnTo>
                  <a:lnTo>
                    <a:pt x="396" y="794"/>
                  </a:lnTo>
                  <a:lnTo>
                    <a:pt x="444" y="762"/>
                  </a:lnTo>
                  <a:lnTo>
                    <a:pt x="484" y="731"/>
                  </a:lnTo>
                  <a:lnTo>
                    <a:pt x="523" y="683"/>
                  </a:lnTo>
                  <a:lnTo>
                    <a:pt x="556" y="635"/>
                  </a:lnTo>
                  <a:lnTo>
                    <a:pt x="571" y="588"/>
                  </a:lnTo>
                  <a:lnTo>
                    <a:pt x="579" y="524"/>
                  </a:lnTo>
                  <a:lnTo>
                    <a:pt x="579" y="270"/>
                  </a:lnTo>
                  <a:lnTo>
                    <a:pt x="579" y="270"/>
                  </a:lnTo>
                  <a:lnTo>
                    <a:pt x="571" y="214"/>
                  </a:lnTo>
                  <a:lnTo>
                    <a:pt x="556" y="167"/>
                  </a:lnTo>
                  <a:lnTo>
                    <a:pt x="523" y="119"/>
                  </a:lnTo>
                  <a:lnTo>
                    <a:pt x="492" y="79"/>
                  </a:lnTo>
                  <a:lnTo>
                    <a:pt x="444" y="48"/>
                  </a:lnTo>
                  <a:lnTo>
                    <a:pt x="396" y="16"/>
                  </a:lnTo>
                  <a:lnTo>
                    <a:pt x="342" y="0"/>
                  </a:lnTo>
                  <a:lnTo>
                    <a:pt x="286" y="0"/>
                  </a:lnTo>
                  <a:lnTo>
                    <a:pt x="286" y="0"/>
                  </a:lnTo>
                  <a:lnTo>
                    <a:pt x="230" y="0"/>
                  </a:lnTo>
                  <a:lnTo>
                    <a:pt x="174" y="16"/>
                  </a:lnTo>
                  <a:lnTo>
                    <a:pt x="126" y="48"/>
                  </a:lnTo>
                  <a:lnTo>
                    <a:pt x="87" y="79"/>
                  </a:lnTo>
                  <a:lnTo>
                    <a:pt x="55" y="119"/>
                  </a:lnTo>
                  <a:lnTo>
                    <a:pt x="24" y="167"/>
                  </a:lnTo>
                  <a:lnTo>
                    <a:pt x="8" y="214"/>
                  </a:lnTo>
                  <a:lnTo>
                    <a:pt x="0" y="270"/>
                  </a:lnTo>
                  <a:lnTo>
                    <a:pt x="0" y="524"/>
                  </a:lnTo>
                  <a:lnTo>
                    <a:pt x="0" y="524"/>
                  </a:lnTo>
                  <a:lnTo>
                    <a:pt x="8" y="580"/>
                  </a:lnTo>
                  <a:lnTo>
                    <a:pt x="24" y="635"/>
                  </a:lnTo>
                  <a:lnTo>
                    <a:pt x="55" y="683"/>
                  </a:lnTo>
                  <a:lnTo>
                    <a:pt x="87" y="731"/>
                  </a:lnTo>
                  <a:lnTo>
                    <a:pt x="126" y="762"/>
                  </a:lnTo>
                  <a:lnTo>
                    <a:pt x="174" y="794"/>
                  </a:lnTo>
                  <a:lnTo>
                    <a:pt x="230" y="810"/>
                  </a:lnTo>
                  <a:lnTo>
                    <a:pt x="286" y="818"/>
                  </a:lnTo>
                  <a:close/>
                  <a:moveTo>
                    <a:pt x="118" y="270"/>
                  </a:moveTo>
                  <a:lnTo>
                    <a:pt x="118" y="270"/>
                  </a:lnTo>
                  <a:lnTo>
                    <a:pt x="126" y="239"/>
                  </a:lnTo>
                  <a:lnTo>
                    <a:pt x="135" y="214"/>
                  </a:lnTo>
                  <a:lnTo>
                    <a:pt x="151" y="183"/>
                  </a:lnTo>
                  <a:lnTo>
                    <a:pt x="166" y="158"/>
                  </a:lnTo>
                  <a:lnTo>
                    <a:pt x="190" y="143"/>
                  </a:lnTo>
                  <a:lnTo>
                    <a:pt x="222" y="127"/>
                  </a:lnTo>
                  <a:lnTo>
                    <a:pt x="253" y="119"/>
                  </a:lnTo>
                  <a:lnTo>
                    <a:pt x="286" y="112"/>
                  </a:lnTo>
                  <a:lnTo>
                    <a:pt x="286" y="112"/>
                  </a:lnTo>
                  <a:lnTo>
                    <a:pt x="317" y="119"/>
                  </a:lnTo>
                  <a:lnTo>
                    <a:pt x="349" y="127"/>
                  </a:lnTo>
                  <a:lnTo>
                    <a:pt x="381" y="143"/>
                  </a:lnTo>
                  <a:lnTo>
                    <a:pt x="405" y="158"/>
                  </a:lnTo>
                  <a:lnTo>
                    <a:pt x="429" y="183"/>
                  </a:lnTo>
                  <a:lnTo>
                    <a:pt x="444" y="214"/>
                  </a:lnTo>
                  <a:lnTo>
                    <a:pt x="452" y="239"/>
                  </a:lnTo>
                  <a:lnTo>
                    <a:pt x="460" y="270"/>
                  </a:lnTo>
                  <a:lnTo>
                    <a:pt x="460" y="524"/>
                  </a:lnTo>
                  <a:lnTo>
                    <a:pt x="460" y="524"/>
                  </a:lnTo>
                  <a:lnTo>
                    <a:pt x="452" y="556"/>
                  </a:lnTo>
                  <a:lnTo>
                    <a:pt x="444" y="588"/>
                  </a:lnTo>
                  <a:lnTo>
                    <a:pt x="429" y="619"/>
                  </a:lnTo>
                  <a:lnTo>
                    <a:pt x="405" y="643"/>
                  </a:lnTo>
                  <a:lnTo>
                    <a:pt x="381" y="667"/>
                  </a:lnTo>
                  <a:lnTo>
                    <a:pt x="349" y="683"/>
                  </a:lnTo>
                  <a:lnTo>
                    <a:pt x="317" y="691"/>
                  </a:lnTo>
                  <a:lnTo>
                    <a:pt x="286" y="698"/>
                  </a:lnTo>
                  <a:lnTo>
                    <a:pt x="286" y="698"/>
                  </a:lnTo>
                  <a:lnTo>
                    <a:pt x="253" y="691"/>
                  </a:lnTo>
                  <a:lnTo>
                    <a:pt x="222" y="683"/>
                  </a:lnTo>
                  <a:lnTo>
                    <a:pt x="198" y="667"/>
                  </a:lnTo>
                  <a:lnTo>
                    <a:pt x="174" y="643"/>
                  </a:lnTo>
                  <a:lnTo>
                    <a:pt x="151" y="619"/>
                  </a:lnTo>
                  <a:lnTo>
                    <a:pt x="135" y="588"/>
                  </a:lnTo>
                  <a:lnTo>
                    <a:pt x="126" y="556"/>
                  </a:lnTo>
                  <a:lnTo>
                    <a:pt x="118" y="524"/>
                  </a:lnTo>
                  <a:lnTo>
                    <a:pt x="118" y="270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/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3478634" y="2621061"/>
            <a:ext cx="887460" cy="854817"/>
            <a:chOff x="3277485" y="2324231"/>
            <a:chExt cx="529696" cy="510212"/>
          </a:xfrm>
          <a:solidFill>
            <a:srgbClr val="001F54"/>
          </a:solidFill>
        </p:grpSpPr>
        <p:sp>
          <p:nvSpPr>
            <p:cNvPr id="120" name="Freeform 67"/>
            <p:cNvSpPr>
              <a:spLocks noChangeArrowheads="1"/>
            </p:cNvSpPr>
            <p:nvPr/>
          </p:nvSpPr>
          <p:spPr bwMode="auto">
            <a:xfrm>
              <a:off x="3380075" y="2399423"/>
              <a:ext cx="128467" cy="25267"/>
            </a:xfrm>
            <a:custGeom>
              <a:avLst/>
              <a:gdLst>
                <a:gd name="T0" fmla="*/ 0 w 1859"/>
                <a:gd name="T1" fmla="*/ 365 h 366"/>
                <a:gd name="T2" fmla="*/ 0 w 1859"/>
                <a:gd name="T3" fmla="*/ 365 h 366"/>
                <a:gd name="T4" fmla="*/ 1858 w 1859"/>
                <a:gd name="T5" fmla="*/ 365 h 366"/>
                <a:gd name="T6" fmla="*/ 1858 w 1859"/>
                <a:gd name="T7" fmla="*/ 0 h 366"/>
                <a:gd name="T8" fmla="*/ 1858 w 1859"/>
                <a:gd name="T9" fmla="*/ 0 h 366"/>
                <a:gd name="T10" fmla="*/ 0 w 1859"/>
                <a:gd name="T11" fmla="*/ 0 h 366"/>
                <a:gd name="T12" fmla="*/ 0 w 1859"/>
                <a:gd name="T13" fmla="*/ 0 h 366"/>
                <a:gd name="T14" fmla="*/ 0 w 1859"/>
                <a:gd name="T15" fmla="*/ 365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59" h="366">
                  <a:moveTo>
                    <a:pt x="0" y="365"/>
                  </a:moveTo>
                  <a:lnTo>
                    <a:pt x="0" y="365"/>
                  </a:lnTo>
                  <a:lnTo>
                    <a:pt x="1858" y="365"/>
                  </a:lnTo>
                  <a:lnTo>
                    <a:pt x="1858" y="0"/>
                  </a:lnTo>
                  <a:lnTo>
                    <a:pt x="1858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65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/>
            </a:p>
          </p:txBody>
        </p:sp>
        <p:sp>
          <p:nvSpPr>
            <p:cNvPr id="121" name="Freeform 68"/>
            <p:cNvSpPr>
              <a:spLocks noChangeArrowheads="1"/>
            </p:cNvSpPr>
            <p:nvPr/>
          </p:nvSpPr>
          <p:spPr bwMode="auto">
            <a:xfrm>
              <a:off x="3380075" y="2474311"/>
              <a:ext cx="128467" cy="25267"/>
            </a:xfrm>
            <a:custGeom>
              <a:avLst/>
              <a:gdLst>
                <a:gd name="T0" fmla="*/ 0 w 1859"/>
                <a:gd name="T1" fmla="*/ 366 h 367"/>
                <a:gd name="T2" fmla="*/ 0 w 1859"/>
                <a:gd name="T3" fmla="*/ 366 h 367"/>
                <a:gd name="T4" fmla="*/ 1858 w 1859"/>
                <a:gd name="T5" fmla="*/ 366 h 367"/>
                <a:gd name="T6" fmla="*/ 1858 w 1859"/>
                <a:gd name="T7" fmla="*/ 0 h 367"/>
                <a:gd name="T8" fmla="*/ 1858 w 1859"/>
                <a:gd name="T9" fmla="*/ 0 h 367"/>
                <a:gd name="T10" fmla="*/ 0 w 1859"/>
                <a:gd name="T11" fmla="*/ 0 h 367"/>
                <a:gd name="T12" fmla="*/ 0 w 1859"/>
                <a:gd name="T13" fmla="*/ 0 h 367"/>
                <a:gd name="T14" fmla="*/ 0 w 1859"/>
                <a:gd name="T15" fmla="*/ 366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59" h="367">
                  <a:moveTo>
                    <a:pt x="0" y="366"/>
                  </a:moveTo>
                  <a:lnTo>
                    <a:pt x="0" y="366"/>
                  </a:lnTo>
                  <a:lnTo>
                    <a:pt x="1858" y="366"/>
                  </a:lnTo>
                  <a:lnTo>
                    <a:pt x="1858" y="0"/>
                  </a:lnTo>
                  <a:lnTo>
                    <a:pt x="1858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66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/>
            </a:p>
          </p:txBody>
        </p:sp>
        <p:sp>
          <p:nvSpPr>
            <p:cNvPr id="122" name="Freeform 69"/>
            <p:cNvSpPr>
              <a:spLocks noChangeArrowheads="1"/>
            </p:cNvSpPr>
            <p:nvPr/>
          </p:nvSpPr>
          <p:spPr bwMode="auto">
            <a:xfrm>
              <a:off x="3329237" y="2549504"/>
              <a:ext cx="25267" cy="25267"/>
            </a:xfrm>
            <a:custGeom>
              <a:avLst/>
              <a:gdLst>
                <a:gd name="T0" fmla="*/ 0 w 366"/>
                <a:gd name="T1" fmla="*/ 366 h 367"/>
                <a:gd name="T2" fmla="*/ 0 w 366"/>
                <a:gd name="T3" fmla="*/ 366 h 367"/>
                <a:gd name="T4" fmla="*/ 365 w 366"/>
                <a:gd name="T5" fmla="*/ 366 h 367"/>
                <a:gd name="T6" fmla="*/ 365 w 366"/>
                <a:gd name="T7" fmla="*/ 0 h 367"/>
                <a:gd name="T8" fmla="*/ 365 w 366"/>
                <a:gd name="T9" fmla="*/ 0 h 367"/>
                <a:gd name="T10" fmla="*/ 0 w 366"/>
                <a:gd name="T11" fmla="*/ 0 h 367"/>
                <a:gd name="T12" fmla="*/ 0 w 366"/>
                <a:gd name="T13" fmla="*/ 0 h 367"/>
                <a:gd name="T14" fmla="*/ 0 w 366"/>
                <a:gd name="T15" fmla="*/ 366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6" h="367">
                  <a:moveTo>
                    <a:pt x="0" y="366"/>
                  </a:moveTo>
                  <a:lnTo>
                    <a:pt x="0" y="366"/>
                  </a:lnTo>
                  <a:lnTo>
                    <a:pt x="365" y="366"/>
                  </a:lnTo>
                  <a:lnTo>
                    <a:pt x="365" y="0"/>
                  </a:lnTo>
                  <a:lnTo>
                    <a:pt x="365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66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/>
            </a:p>
          </p:txBody>
        </p:sp>
        <p:sp>
          <p:nvSpPr>
            <p:cNvPr id="123" name="Freeform 70"/>
            <p:cNvSpPr>
              <a:spLocks noChangeArrowheads="1"/>
            </p:cNvSpPr>
            <p:nvPr/>
          </p:nvSpPr>
          <p:spPr bwMode="auto">
            <a:xfrm>
              <a:off x="3380075" y="2549504"/>
              <a:ext cx="128467" cy="25267"/>
            </a:xfrm>
            <a:custGeom>
              <a:avLst/>
              <a:gdLst>
                <a:gd name="T0" fmla="*/ 0 w 1859"/>
                <a:gd name="T1" fmla="*/ 366 h 367"/>
                <a:gd name="T2" fmla="*/ 0 w 1859"/>
                <a:gd name="T3" fmla="*/ 366 h 367"/>
                <a:gd name="T4" fmla="*/ 1858 w 1859"/>
                <a:gd name="T5" fmla="*/ 366 h 367"/>
                <a:gd name="T6" fmla="*/ 1858 w 1859"/>
                <a:gd name="T7" fmla="*/ 0 h 367"/>
                <a:gd name="T8" fmla="*/ 1858 w 1859"/>
                <a:gd name="T9" fmla="*/ 0 h 367"/>
                <a:gd name="T10" fmla="*/ 0 w 1859"/>
                <a:gd name="T11" fmla="*/ 0 h 367"/>
                <a:gd name="T12" fmla="*/ 0 w 1859"/>
                <a:gd name="T13" fmla="*/ 0 h 367"/>
                <a:gd name="T14" fmla="*/ 0 w 1859"/>
                <a:gd name="T15" fmla="*/ 366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59" h="367">
                  <a:moveTo>
                    <a:pt x="0" y="366"/>
                  </a:moveTo>
                  <a:lnTo>
                    <a:pt x="0" y="366"/>
                  </a:lnTo>
                  <a:lnTo>
                    <a:pt x="1858" y="366"/>
                  </a:lnTo>
                  <a:lnTo>
                    <a:pt x="1858" y="0"/>
                  </a:lnTo>
                  <a:lnTo>
                    <a:pt x="1858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66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/>
            </a:p>
          </p:txBody>
        </p:sp>
        <p:sp>
          <p:nvSpPr>
            <p:cNvPr id="124" name="Freeform 71"/>
            <p:cNvSpPr>
              <a:spLocks noChangeArrowheads="1"/>
            </p:cNvSpPr>
            <p:nvPr/>
          </p:nvSpPr>
          <p:spPr bwMode="auto">
            <a:xfrm>
              <a:off x="3329237" y="2474311"/>
              <a:ext cx="25267" cy="25267"/>
            </a:xfrm>
            <a:custGeom>
              <a:avLst/>
              <a:gdLst>
                <a:gd name="T0" fmla="*/ 0 w 366"/>
                <a:gd name="T1" fmla="*/ 366 h 367"/>
                <a:gd name="T2" fmla="*/ 0 w 366"/>
                <a:gd name="T3" fmla="*/ 366 h 367"/>
                <a:gd name="T4" fmla="*/ 365 w 366"/>
                <a:gd name="T5" fmla="*/ 366 h 367"/>
                <a:gd name="T6" fmla="*/ 365 w 366"/>
                <a:gd name="T7" fmla="*/ 0 h 367"/>
                <a:gd name="T8" fmla="*/ 365 w 366"/>
                <a:gd name="T9" fmla="*/ 0 h 367"/>
                <a:gd name="T10" fmla="*/ 0 w 366"/>
                <a:gd name="T11" fmla="*/ 0 h 367"/>
                <a:gd name="T12" fmla="*/ 0 w 366"/>
                <a:gd name="T13" fmla="*/ 0 h 367"/>
                <a:gd name="T14" fmla="*/ 0 w 366"/>
                <a:gd name="T15" fmla="*/ 366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6" h="367">
                  <a:moveTo>
                    <a:pt x="0" y="366"/>
                  </a:moveTo>
                  <a:lnTo>
                    <a:pt x="0" y="366"/>
                  </a:lnTo>
                  <a:lnTo>
                    <a:pt x="365" y="366"/>
                  </a:lnTo>
                  <a:lnTo>
                    <a:pt x="365" y="0"/>
                  </a:lnTo>
                  <a:lnTo>
                    <a:pt x="365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66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/>
            </a:p>
          </p:txBody>
        </p:sp>
        <p:sp>
          <p:nvSpPr>
            <p:cNvPr id="125" name="Freeform 72"/>
            <p:cNvSpPr>
              <a:spLocks noChangeArrowheads="1"/>
            </p:cNvSpPr>
            <p:nvPr/>
          </p:nvSpPr>
          <p:spPr bwMode="auto">
            <a:xfrm>
              <a:off x="3329237" y="2399423"/>
              <a:ext cx="25267" cy="25267"/>
            </a:xfrm>
            <a:custGeom>
              <a:avLst/>
              <a:gdLst>
                <a:gd name="T0" fmla="*/ 0 w 366"/>
                <a:gd name="T1" fmla="*/ 365 h 366"/>
                <a:gd name="T2" fmla="*/ 0 w 366"/>
                <a:gd name="T3" fmla="*/ 365 h 366"/>
                <a:gd name="T4" fmla="*/ 365 w 366"/>
                <a:gd name="T5" fmla="*/ 365 h 366"/>
                <a:gd name="T6" fmla="*/ 365 w 366"/>
                <a:gd name="T7" fmla="*/ 0 h 366"/>
                <a:gd name="T8" fmla="*/ 365 w 366"/>
                <a:gd name="T9" fmla="*/ 0 h 366"/>
                <a:gd name="T10" fmla="*/ 0 w 366"/>
                <a:gd name="T11" fmla="*/ 0 h 366"/>
                <a:gd name="T12" fmla="*/ 0 w 366"/>
                <a:gd name="T13" fmla="*/ 0 h 366"/>
                <a:gd name="T14" fmla="*/ 0 w 366"/>
                <a:gd name="T15" fmla="*/ 365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6" h="366">
                  <a:moveTo>
                    <a:pt x="0" y="365"/>
                  </a:moveTo>
                  <a:lnTo>
                    <a:pt x="0" y="365"/>
                  </a:lnTo>
                  <a:lnTo>
                    <a:pt x="365" y="365"/>
                  </a:lnTo>
                  <a:lnTo>
                    <a:pt x="365" y="0"/>
                  </a:lnTo>
                  <a:lnTo>
                    <a:pt x="365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65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/>
            </a:p>
          </p:txBody>
        </p:sp>
        <p:sp>
          <p:nvSpPr>
            <p:cNvPr id="126" name="Freeform 73"/>
            <p:cNvSpPr>
              <a:spLocks noChangeArrowheads="1"/>
            </p:cNvSpPr>
            <p:nvPr/>
          </p:nvSpPr>
          <p:spPr bwMode="auto">
            <a:xfrm>
              <a:off x="3277485" y="2324231"/>
              <a:ext cx="529696" cy="510212"/>
            </a:xfrm>
            <a:custGeom>
              <a:avLst/>
              <a:gdLst>
                <a:gd name="T0" fmla="*/ 6479 w 7671"/>
                <a:gd name="T1" fmla="*/ 2549 h 7392"/>
                <a:gd name="T2" fmla="*/ 6225 w 7671"/>
                <a:gd name="T3" fmla="*/ 2549 h 7392"/>
                <a:gd name="T4" fmla="*/ 6145 w 7671"/>
                <a:gd name="T5" fmla="*/ 2374 h 7392"/>
                <a:gd name="T6" fmla="*/ 7075 w 7671"/>
                <a:gd name="T7" fmla="*/ 1358 h 7392"/>
                <a:gd name="T8" fmla="*/ 6463 w 7671"/>
                <a:gd name="T9" fmla="*/ 1072 h 7392"/>
                <a:gd name="T10" fmla="*/ 5987 w 7671"/>
                <a:gd name="T11" fmla="*/ 1041 h 7392"/>
                <a:gd name="T12" fmla="*/ 5146 w 7671"/>
                <a:gd name="T13" fmla="*/ 1405 h 7392"/>
                <a:gd name="T14" fmla="*/ 4804 w 7671"/>
                <a:gd name="T15" fmla="*/ 1795 h 7392"/>
                <a:gd name="T16" fmla="*/ 4621 w 7671"/>
                <a:gd name="T17" fmla="*/ 2295 h 7392"/>
                <a:gd name="T18" fmla="*/ 4629 w 7671"/>
                <a:gd name="T19" fmla="*/ 2842 h 7392"/>
                <a:gd name="T20" fmla="*/ 0 w 7671"/>
                <a:gd name="T21" fmla="*/ 0 h 7392"/>
                <a:gd name="T22" fmla="*/ 40 w 7671"/>
                <a:gd name="T23" fmla="*/ 4438 h 7392"/>
                <a:gd name="T24" fmla="*/ 341 w 7671"/>
                <a:gd name="T25" fmla="*/ 4866 h 7392"/>
                <a:gd name="T26" fmla="*/ 833 w 7671"/>
                <a:gd name="T27" fmla="*/ 5073 h 7392"/>
                <a:gd name="T28" fmla="*/ 1524 w 7671"/>
                <a:gd name="T29" fmla="*/ 5914 h 7392"/>
                <a:gd name="T30" fmla="*/ 1263 w 7671"/>
                <a:gd name="T31" fmla="*/ 6351 h 7392"/>
                <a:gd name="T32" fmla="*/ 1286 w 7671"/>
                <a:gd name="T33" fmla="*/ 6804 h 7392"/>
                <a:gd name="T34" fmla="*/ 1524 w 7671"/>
                <a:gd name="T35" fmla="*/ 7177 h 7392"/>
                <a:gd name="T36" fmla="*/ 1969 w 7671"/>
                <a:gd name="T37" fmla="*/ 7383 h 7392"/>
                <a:gd name="T38" fmla="*/ 2382 w 7671"/>
                <a:gd name="T39" fmla="*/ 7367 h 7392"/>
                <a:gd name="T40" fmla="*/ 2747 w 7671"/>
                <a:gd name="T41" fmla="*/ 7177 h 7392"/>
                <a:gd name="T42" fmla="*/ 6455 w 7671"/>
                <a:gd name="T43" fmla="*/ 4072 h 7392"/>
                <a:gd name="T44" fmla="*/ 7241 w 7671"/>
                <a:gd name="T45" fmla="*/ 3659 h 7392"/>
                <a:gd name="T46" fmla="*/ 7559 w 7671"/>
                <a:gd name="T47" fmla="*/ 3183 h 7392"/>
                <a:gd name="T48" fmla="*/ 7670 w 7671"/>
                <a:gd name="T49" fmla="*/ 2493 h 7392"/>
                <a:gd name="T50" fmla="*/ 1485 w 7671"/>
                <a:gd name="T51" fmla="*/ 4168 h 7392"/>
                <a:gd name="T52" fmla="*/ 1414 w 7671"/>
                <a:gd name="T53" fmla="*/ 4438 h 7392"/>
                <a:gd name="T54" fmla="*/ 1183 w 7671"/>
                <a:gd name="T55" fmla="*/ 4652 h 7392"/>
                <a:gd name="T56" fmla="*/ 929 w 7671"/>
                <a:gd name="T57" fmla="*/ 4708 h 7392"/>
                <a:gd name="T58" fmla="*/ 611 w 7671"/>
                <a:gd name="T59" fmla="*/ 4620 h 7392"/>
                <a:gd name="T60" fmla="*/ 413 w 7671"/>
                <a:gd name="T61" fmla="*/ 4390 h 7392"/>
                <a:gd name="T62" fmla="*/ 373 w 7671"/>
                <a:gd name="T63" fmla="*/ 366 h 7392"/>
                <a:gd name="T64" fmla="*/ 3716 w 7671"/>
                <a:gd name="T65" fmla="*/ 3985 h 7392"/>
                <a:gd name="T66" fmla="*/ 1485 w 7671"/>
                <a:gd name="T67" fmla="*/ 4168 h 7392"/>
                <a:gd name="T68" fmla="*/ 1811 w 7671"/>
                <a:gd name="T69" fmla="*/ 4398 h 7392"/>
                <a:gd name="T70" fmla="*/ 3716 w 7671"/>
                <a:gd name="T71" fmla="*/ 4350 h 7392"/>
                <a:gd name="T72" fmla="*/ 3835 w 7671"/>
                <a:gd name="T73" fmla="*/ 4612 h 7392"/>
                <a:gd name="T74" fmla="*/ 3350 w 7671"/>
                <a:gd name="T75" fmla="*/ 4708 h 7392"/>
                <a:gd name="T76" fmla="*/ 6908 w 7671"/>
                <a:gd name="T77" fmla="*/ 3389 h 7392"/>
                <a:gd name="T78" fmla="*/ 6217 w 7671"/>
                <a:gd name="T79" fmla="*/ 3699 h 7392"/>
                <a:gd name="T80" fmla="*/ 5852 w 7671"/>
                <a:gd name="T81" fmla="*/ 3659 h 7392"/>
                <a:gd name="T82" fmla="*/ 2398 w 7671"/>
                <a:gd name="T83" fmla="*/ 6899 h 7392"/>
                <a:gd name="T84" fmla="*/ 1865 w 7671"/>
                <a:gd name="T85" fmla="*/ 6899 h 7392"/>
                <a:gd name="T86" fmla="*/ 1699 w 7671"/>
                <a:gd name="T87" fmla="*/ 6629 h 7392"/>
                <a:gd name="T88" fmla="*/ 1723 w 7671"/>
                <a:gd name="T89" fmla="*/ 6359 h 7392"/>
                <a:gd name="T90" fmla="*/ 3526 w 7671"/>
                <a:gd name="T91" fmla="*/ 5073 h 7392"/>
                <a:gd name="T92" fmla="*/ 3970 w 7671"/>
                <a:gd name="T93" fmla="*/ 4961 h 7392"/>
                <a:gd name="T94" fmla="*/ 4343 w 7671"/>
                <a:gd name="T95" fmla="*/ 4596 h 7392"/>
                <a:gd name="T96" fmla="*/ 4454 w 7671"/>
                <a:gd name="T97" fmla="*/ 4168 h 7392"/>
                <a:gd name="T98" fmla="*/ 4089 w 7671"/>
                <a:gd name="T99" fmla="*/ 3985 h 7392"/>
                <a:gd name="T100" fmla="*/ 5042 w 7671"/>
                <a:gd name="T101" fmla="*/ 2747 h 7392"/>
                <a:gd name="T102" fmla="*/ 5113 w 7671"/>
                <a:gd name="T103" fmla="*/ 2167 h 7392"/>
                <a:gd name="T104" fmla="*/ 5352 w 7671"/>
                <a:gd name="T105" fmla="*/ 1795 h 7392"/>
                <a:gd name="T106" fmla="*/ 5923 w 7671"/>
                <a:gd name="T107" fmla="*/ 1493 h 7392"/>
                <a:gd name="T108" fmla="*/ 6257 w 7671"/>
                <a:gd name="T109" fmla="*/ 1517 h 7392"/>
                <a:gd name="T110" fmla="*/ 5821 w 7671"/>
                <a:gd name="T111" fmla="*/ 2017 h 7392"/>
                <a:gd name="T112" fmla="*/ 5701 w 7671"/>
                <a:gd name="T113" fmla="*/ 2374 h 7392"/>
                <a:gd name="T114" fmla="*/ 5821 w 7671"/>
                <a:gd name="T115" fmla="*/ 2732 h 7392"/>
                <a:gd name="T116" fmla="*/ 6058 w 7671"/>
                <a:gd name="T117" fmla="*/ 2937 h 7392"/>
                <a:gd name="T118" fmla="*/ 6423 w 7671"/>
                <a:gd name="T119" fmla="*/ 3001 h 7392"/>
                <a:gd name="T120" fmla="*/ 6797 w 7671"/>
                <a:gd name="T121" fmla="*/ 2882 h 7392"/>
                <a:gd name="T122" fmla="*/ 7250 w 7671"/>
                <a:gd name="T123" fmla="*/ 2700 h 7392"/>
                <a:gd name="T124" fmla="*/ 6908 w 7671"/>
                <a:gd name="T125" fmla="*/ 3389 h 7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671" h="7392">
                  <a:moveTo>
                    <a:pt x="7520" y="1906"/>
                  </a:moveTo>
                  <a:lnTo>
                    <a:pt x="7408" y="1636"/>
                  </a:lnTo>
                  <a:lnTo>
                    <a:pt x="7408" y="1636"/>
                  </a:lnTo>
                  <a:lnTo>
                    <a:pt x="6519" y="2509"/>
                  </a:lnTo>
                  <a:lnTo>
                    <a:pt x="6519" y="2509"/>
                  </a:lnTo>
                  <a:lnTo>
                    <a:pt x="6479" y="2549"/>
                  </a:lnTo>
                  <a:lnTo>
                    <a:pt x="6440" y="2572"/>
                  </a:lnTo>
                  <a:lnTo>
                    <a:pt x="6392" y="2589"/>
                  </a:lnTo>
                  <a:lnTo>
                    <a:pt x="6352" y="2597"/>
                  </a:lnTo>
                  <a:lnTo>
                    <a:pt x="6313" y="2589"/>
                  </a:lnTo>
                  <a:lnTo>
                    <a:pt x="6272" y="2572"/>
                  </a:lnTo>
                  <a:lnTo>
                    <a:pt x="6225" y="2549"/>
                  </a:lnTo>
                  <a:lnTo>
                    <a:pt x="6185" y="2509"/>
                  </a:lnTo>
                  <a:lnTo>
                    <a:pt x="6185" y="2509"/>
                  </a:lnTo>
                  <a:lnTo>
                    <a:pt x="6170" y="2485"/>
                  </a:lnTo>
                  <a:lnTo>
                    <a:pt x="6153" y="2454"/>
                  </a:lnTo>
                  <a:lnTo>
                    <a:pt x="6145" y="2414"/>
                  </a:lnTo>
                  <a:lnTo>
                    <a:pt x="6145" y="2374"/>
                  </a:lnTo>
                  <a:lnTo>
                    <a:pt x="6145" y="2335"/>
                  </a:lnTo>
                  <a:lnTo>
                    <a:pt x="6153" y="2295"/>
                  </a:lnTo>
                  <a:lnTo>
                    <a:pt x="6170" y="2263"/>
                  </a:lnTo>
                  <a:lnTo>
                    <a:pt x="6185" y="2239"/>
                  </a:lnTo>
                  <a:lnTo>
                    <a:pt x="6185" y="2239"/>
                  </a:lnTo>
                  <a:lnTo>
                    <a:pt x="7075" y="1358"/>
                  </a:lnTo>
                  <a:lnTo>
                    <a:pt x="7075" y="1358"/>
                  </a:lnTo>
                  <a:lnTo>
                    <a:pt x="6797" y="1191"/>
                  </a:lnTo>
                  <a:lnTo>
                    <a:pt x="6797" y="1191"/>
                  </a:lnTo>
                  <a:lnTo>
                    <a:pt x="6630" y="1120"/>
                  </a:lnTo>
                  <a:lnTo>
                    <a:pt x="6550" y="1096"/>
                  </a:lnTo>
                  <a:lnTo>
                    <a:pt x="6463" y="1072"/>
                  </a:lnTo>
                  <a:lnTo>
                    <a:pt x="6384" y="1048"/>
                  </a:lnTo>
                  <a:lnTo>
                    <a:pt x="6297" y="1041"/>
                  </a:lnTo>
                  <a:lnTo>
                    <a:pt x="6217" y="1033"/>
                  </a:lnTo>
                  <a:lnTo>
                    <a:pt x="6130" y="1033"/>
                  </a:lnTo>
                  <a:lnTo>
                    <a:pt x="6130" y="1033"/>
                  </a:lnTo>
                  <a:lnTo>
                    <a:pt x="5987" y="1041"/>
                  </a:lnTo>
                  <a:lnTo>
                    <a:pt x="5844" y="1056"/>
                  </a:lnTo>
                  <a:lnTo>
                    <a:pt x="5701" y="1096"/>
                  </a:lnTo>
                  <a:lnTo>
                    <a:pt x="5558" y="1151"/>
                  </a:lnTo>
                  <a:lnTo>
                    <a:pt x="5416" y="1223"/>
                  </a:lnTo>
                  <a:lnTo>
                    <a:pt x="5281" y="1311"/>
                  </a:lnTo>
                  <a:lnTo>
                    <a:pt x="5146" y="1405"/>
                  </a:lnTo>
                  <a:lnTo>
                    <a:pt x="5018" y="1525"/>
                  </a:lnTo>
                  <a:lnTo>
                    <a:pt x="5018" y="1525"/>
                  </a:lnTo>
                  <a:lnTo>
                    <a:pt x="4963" y="1588"/>
                  </a:lnTo>
                  <a:lnTo>
                    <a:pt x="4907" y="1652"/>
                  </a:lnTo>
                  <a:lnTo>
                    <a:pt x="4851" y="1723"/>
                  </a:lnTo>
                  <a:lnTo>
                    <a:pt x="4804" y="1795"/>
                  </a:lnTo>
                  <a:lnTo>
                    <a:pt x="4764" y="1874"/>
                  </a:lnTo>
                  <a:lnTo>
                    <a:pt x="4724" y="1953"/>
                  </a:lnTo>
                  <a:lnTo>
                    <a:pt x="4685" y="2032"/>
                  </a:lnTo>
                  <a:lnTo>
                    <a:pt x="4661" y="2120"/>
                  </a:lnTo>
                  <a:lnTo>
                    <a:pt x="4637" y="2208"/>
                  </a:lnTo>
                  <a:lnTo>
                    <a:pt x="4621" y="2295"/>
                  </a:lnTo>
                  <a:lnTo>
                    <a:pt x="4606" y="2382"/>
                  </a:lnTo>
                  <a:lnTo>
                    <a:pt x="4598" y="2470"/>
                  </a:lnTo>
                  <a:lnTo>
                    <a:pt x="4598" y="2565"/>
                  </a:lnTo>
                  <a:lnTo>
                    <a:pt x="4606" y="2652"/>
                  </a:lnTo>
                  <a:lnTo>
                    <a:pt x="4613" y="2747"/>
                  </a:lnTo>
                  <a:lnTo>
                    <a:pt x="4629" y="2842"/>
                  </a:lnTo>
                  <a:lnTo>
                    <a:pt x="4629" y="2842"/>
                  </a:lnTo>
                  <a:lnTo>
                    <a:pt x="4089" y="3381"/>
                  </a:lnTo>
                  <a:lnTo>
                    <a:pt x="4089" y="3381"/>
                  </a:lnTo>
                  <a:lnTo>
                    <a:pt x="4089" y="0"/>
                  </a:lnTo>
                  <a:lnTo>
                    <a:pt x="4089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168"/>
                  </a:lnTo>
                  <a:lnTo>
                    <a:pt x="0" y="4168"/>
                  </a:lnTo>
                  <a:lnTo>
                    <a:pt x="8" y="4263"/>
                  </a:lnTo>
                  <a:lnTo>
                    <a:pt x="16" y="4350"/>
                  </a:lnTo>
                  <a:lnTo>
                    <a:pt x="40" y="4438"/>
                  </a:lnTo>
                  <a:lnTo>
                    <a:pt x="71" y="4517"/>
                  </a:lnTo>
                  <a:lnTo>
                    <a:pt x="112" y="4596"/>
                  </a:lnTo>
                  <a:lnTo>
                    <a:pt x="158" y="4675"/>
                  </a:lnTo>
                  <a:lnTo>
                    <a:pt x="214" y="4739"/>
                  </a:lnTo>
                  <a:lnTo>
                    <a:pt x="270" y="4810"/>
                  </a:lnTo>
                  <a:lnTo>
                    <a:pt x="341" y="4866"/>
                  </a:lnTo>
                  <a:lnTo>
                    <a:pt x="413" y="4922"/>
                  </a:lnTo>
                  <a:lnTo>
                    <a:pt x="484" y="4961"/>
                  </a:lnTo>
                  <a:lnTo>
                    <a:pt x="571" y="5001"/>
                  </a:lnTo>
                  <a:lnTo>
                    <a:pt x="652" y="5033"/>
                  </a:lnTo>
                  <a:lnTo>
                    <a:pt x="746" y="5057"/>
                  </a:lnTo>
                  <a:lnTo>
                    <a:pt x="833" y="5073"/>
                  </a:lnTo>
                  <a:lnTo>
                    <a:pt x="929" y="5073"/>
                  </a:lnTo>
                  <a:lnTo>
                    <a:pt x="929" y="5073"/>
                  </a:lnTo>
                  <a:lnTo>
                    <a:pt x="2374" y="5073"/>
                  </a:lnTo>
                  <a:lnTo>
                    <a:pt x="2374" y="5073"/>
                  </a:lnTo>
                  <a:lnTo>
                    <a:pt x="1524" y="5914"/>
                  </a:lnTo>
                  <a:lnTo>
                    <a:pt x="1524" y="5914"/>
                  </a:lnTo>
                  <a:lnTo>
                    <a:pt x="1461" y="5977"/>
                  </a:lnTo>
                  <a:lnTo>
                    <a:pt x="1406" y="6049"/>
                  </a:lnTo>
                  <a:lnTo>
                    <a:pt x="1358" y="6121"/>
                  </a:lnTo>
                  <a:lnTo>
                    <a:pt x="1318" y="6193"/>
                  </a:lnTo>
                  <a:lnTo>
                    <a:pt x="1286" y="6272"/>
                  </a:lnTo>
                  <a:lnTo>
                    <a:pt x="1263" y="6351"/>
                  </a:lnTo>
                  <a:lnTo>
                    <a:pt x="1246" y="6430"/>
                  </a:lnTo>
                  <a:lnTo>
                    <a:pt x="1246" y="6517"/>
                  </a:lnTo>
                  <a:lnTo>
                    <a:pt x="1246" y="6517"/>
                  </a:lnTo>
                  <a:lnTo>
                    <a:pt x="1246" y="6613"/>
                  </a:lnTo>
                  <a:lnTo>
                    <a:pt x="1263" y="6708"/>
                  </a:lnTo>
                  <a:lnTo>
                    <a:pt x="1286" y="6804"/>
                  </a:lnTo>
                  <a:lnTo>
                    <a:pt x="1318" y="6883"/>
                  </a:lnTo>
                  <a:lnTo>
                    <a:pt x="1358" y="6970"/>
                  </a:lnTo>
                  <a:lnTo>
                    <a:pt x="1406" y="7042"/>
                  </a:lnTo>
                  <a:lnTo>
                    <a:pt x="1461" y="7113"/>
                  </a:lnTo>
                  <a:lnTo>
                    <a:pt x="1524" y="7177"/>
                  </a:lnTo>
                  <a:lnTo>
                    <a:pt x="1524" y="7177"/>
                  </a:lnTo>
                  <a:lnTo>
                    <a:pt x="1588" y="7232"/>
                  </a:lnTo>
                  <a:lnTo>
                    <a:pt x="1659" y="7280"/>
                  </a:lnTo>
                  <a:lnTo>
                    <a:pt x="1730" y="7319"/>
                  </a:lnTo>
                  <a:lnTo>
                    <a:pt x="1802" y="7343"/>
                  </a:lnTo>
                  <a:lnTo>
                    <a:pt x="1882" y="7367"/>
                  </a:lnTo>
                  <a:lnTo>
                    <a:pt x="1969" y="7383"/>
                  </a:lnTo>
                  <a:lnTo>
                    <a:pt x="2048" y="7391"/>
                  </a:lnTo>
                  <a:lnTo>
                    <a:pt x="2135" y="7391"/>
                  </a:lnTo>
                  <a:lnTo>
                    <a:pt x="2135" y="7391"/>
                  </a:lnTo>
                  <a:lnTo>
                    <a:pt x="2216" y="7391"/>
                  </a:lnTo>
                  <a:lnTo>
                    <a:pt x="2295" y="7383"/>
                  </a:lnTo>
                  <a:lnTo>
                    <a:pt x="2382" y="7367"/>
                  </a:lnTo>
                  <a:lnTo>
                    <a:pt x="2461" y="7343"/>
                  </a:lnTo>
                  <a:lnTo>
                    <a:pt x="2533" y="7319"/>
                  </a:lnTo>
                  <a:lnTo>
                    <a:pt x="2612" y="7280"/>
                  </a:lnTo>
                  <a:lnTo>
                    <a:pt x="2675" y="7232"/>
                  </a:lnTo>
                  <a:lnTo>
                    <a:pt x="2747" y="7177"/>
                  </a:lnTo>
                  <a:lnTo>
                    <a:pt x="2747" y="7177"/>
                  </a:lnTo>
                  <a:lnTo>
                    <a:pt x="5852" y="4104"/>
                  </a:lnTo>
                  <a:lnTo>
                    <a:pt x="5852" y="4104"/>
                  </a:lnTo>
                  <a:lnTo>
                    <a:pt x="6130" y="4104"/>
                  </a:lnTo>
                  <a:lnTo>
                    <a:pt x="6130" y="4104"/>
                  </a:lnTo>
                  <a:lnTo>
                    <a:pt x="6297" y="4096"/>
                  </a:lnTo>
                  <a:lnTo>
                    <a:pt x="6455" y="4072"/>
                  </a:lnTo>
                  <a:lnTo>
                    <a:pt x="6606" y="4033"/>
                  </a:lnTo>
                  <a:lnTo>
                    <a:pt x="6749" y="3985"/>
                  </a:lnTo>
                  <a:lnTo>
                    <a:pt x="6884" y="3921"/>
                  </a:lnTo>
                  <a:lnTo>
                    <a:pt x="7011" y="3850"/>
                  </a:lnTo>
                  <a:lnTo>
                    <a:pt x="7130" y="3763"/>
                  </a:lnTo>
                  <a:lnTo>
                    <a:pt x="7241" y="3659"/>
                  </a:lnTo>
                  <a:lnTo>
                    <a:pt x="7241" y="3659"/>
                  </a:lnTo>
                  <a:lnTo>
                    <a:pt x="7321" y="3580"/>
                  </a:lnTo>
                  <a:lnTo>
                    <a:pt x="7393" y="3485"/>
                  </a:lnTo>
                  <a:lnTo>
                    <a:pt x="7456" y="3389"/>
                  </a:lnTo>
                  <a:lnTo>
                    <a:pt x="7511" y="3286"/>
                  </a:lnTo>
                  <a:lnTo>
                    <a:pt x="7559" y="3183"/>
                  </a:lnTo>
                  <a:lnTo>
                    <a:pt x="7599" y="3072"/>
                  </a:lnTo>
                  <a:lnTo>
                    <a:pt x="7630" y="2961"/>
                  </a:lnTo>
                  <a:lnTo>
                    <a:pt x="7654" y="2850"/>
                  </a:lnTo>
                  <a:lnTo>
                    <a:pt x="7663" y="2732"/>
                  </a:lnTo>
                  <a:lnTo>
                    <a:pt x="7670" y="2613"/>
                  </a:lnTo>
                  <a:lnTo>
                    <a:pt x="7670" y="2493"/>
                  </a:lnTo>
                  <a:lnTo>
                    <a:pt x="7654" y="2374"/>
                  </a:lnTo>
                  <a:lnTo>
                    <a:pt x="7638" y="2255"/>
                  </a:lnTo>
                  <a:lnTo>
                    <a:pt x="7607" y="2136"/>
                  </a:lnTo>
                  <a:lnTo>
                    <a:pt x="7567" y="2025"/>
                  </a:lnTo>
                  <a:lnTo>
                    <a:pt x="7520" y="1906"/>
                  </a:lnTo>
                  <a:close/>
                  <a:moveTo>
                    <a:pt x="1485" y="4168"/>
                  </a:moveTo>
                  <a:lnTo>
                    <a:pt x="1485" y="4168"/>
                  </a:lnTo>
                  <a:lnTo>
                    <a:pt x="1485" y="4224"/>
                  </a:lnTo>
                  <a:lnTo>
                    <a:pt x="1477" y="4278"/>
                  </a:lnTo>
                  <a:lnTo>
                    <a:pt x="1461" y="4334"/>
                  </a:lnTo>
                  <a:lnTo>
                    <a:pt x="1437" y="4390"/>
                  </a:lnTo>
                  <a:lnTo>
                    <a:pt x="1414" y="4438"/>
                  </a:lnTo>
                  <a:lnTo>
                    <a:pt x="1381" y="4477"/>
                  </a:lnTo>
                  <a:lnTo>
                    <a:pt x="1350" y="4517"/>
                  </a:lnTo>
                  <a:lnTo>
                    <a:pt x="1310" y="4557"/>
                  </a:lnTo>
                  <a:lnTo>
                    <a:pt x="1271" y="4596"/>
                  </a:lnTo>
                  <a:lnTo>
                    <a:pt x="1231" y="4620"/>
                  </a:lnTo>
                  <a:lnTo>
                    <a:pt x="1183" y="4652"/>
                  </a:lnTo>
                  <a:lnTo>
                    <a:pt x="1136" y="4668"/>
                  </a:lnTo>
                  <a:lnTo>
                    <a:pt x="1088" y="4691"/>
                  </a:lnTo>
                  <a:lnTo>
                    <a:pt x="1032" y="4700"/>
                  </a:lnTo>
                  <a:lnTo>
                    <a:pt x="984" y="4708"/>
                  </a:lnTo>
                  <a:lnTo>
                    <a:pt x="929" y="4708"/>
                  </a:lnTo>
                  <a:lnTo>
                    <a:pt x="929" y="4708"/>
                  </a:lnTo>
                  <a:lnTo>
                    <a:pt x="866" y="4708"/>
                  </a:lnTo>
                  <a:lnTo>
                    <a:pt x="810" y="4700"/>
                  </a:lnTo>
                  <a:lnTo>
                    <a:pt x="754" y="4691"/>
                  </a:lnTo>
                  <a:lnTo>
                    <a:pt x="706" y="4668"/>
                  </a:lnTo>
                  <a:lnTo>
                    <a:pt x="659" y="4652"/>
                  </a:lnTo>
                  <a:lnTo>
                    <a:pt x="611" y="4620"/>
                  </a:lnTo>
                  <a:lnTo>
                    <a:pt x="563" y="4596"/>
                  </a:lnTo>
                  <a:lnTo>
                    <a:pt x="532" y="4557"/>
                  </a:lnTo>
                  <a:lnTo>
                    <a:pt x="492" y="4517"/>
                  </a:lnTo>
                  <a:lnTo>
                    <a:pt x="461" y="4477"/>
                  </a:lnTo>
                  <a:lnTo>
                    <a:pt x="436" y="4438"/>
                  </a:lnTo>
                  <a:lnTo>
                    <a:pt x="413" y="4390"/>
                  </a:lnTo>
                  <a:lnTo>
                    <a:pt x="397" y="4334"/>
                  </a:lnTo>
                  <a:lnTo>
                    <a:pt x="382" y="4278"/>
                  </a:lnTo>
                  <a:lnTo>
                    <a:pt x="373" y="4224"/>
                  </a:lnTo>
                  <a:lnTo>
                    <a:pt x="373" y="4168"/>
                  </a:lnTo>
                  <a:lnTo>
                    <a:pt x="373" y="4168"/>
                  </a:lnTo>
                  <a:lnTo>
                    <a:pt x="373" y="366"/>
                  </a:lnTo>
                  <a:lnTo>
                    <a:pt x="373" y="366"/>
                  </a:lnTo>
                  <a:lnTo>
                    <a:pt x="3716" y="366"/>
                  </a:lnTo>
                  <a:lnTo>
                    <a:pt x="3716" y="366"/>
                  </a:lnTo>
                  <a:lnTo>
                    <a:pt x="3716" y="3747"/>
                  </a:lnTo>
                  <a:lnTo>
                    <a:pt x="3716" y="3747"/>
                  </a:lnTo>
                  <a:lnTo>
                    <a:pt x="3716" y="3985"/>
                  </a:lnTo>
                  <a:lnTo>
                    <a:pt x="3716" y="3985"/>
                  </a:lnTo>
                  <a:lnTo>
                    <a:pt x="3470" y="3985"/>
                  </a:lnTo>
                  <a:lnTo>
                    <a:pt x="3470" y="3985"/>
                  </a:lnTo>
                  <a:lnTo>
                    <a:pt x="1485" y="3985"/>
                  </a:lnTo>
                  <a:lnTo>
                    <a:pt x="1485" y="3985"/>
                  </a:lnTo>
                  <a:lnTo>
                    <a:pt x="1485" y="4168"/>
                  </a:lnTo>
                  <a:close/>
                  <a:moveTo>
                    <a:pt x="1676" y="4708"/>
                  </a:moveTo>
                  <a:lnTo>
                    <a:pt x="1676" y="4708"/>
                  </a:lnTo>
                  <a:lnTo>
                    <a:pt x="1715" y="4636"/>
                  </a:lnTo>
                  <a:lnTo>
                    <a:pt x="1763" y="4548"/>
                  </a:lnTo>
                  <a:lnTo>
                    <a:pt x="1794" y="4453"/>
                  </a:lnTo>
                  <a:lnTo>
                    <a:pt x="1811" y="4398"/>
                  </a:lnTo>
                  <a:lnTo>
                    <a:pt x="1811" y="4350"/>
                  </a:lnTo>
                  <a:lnTo>
                    <a:pt x="1811" y="4350"/>
                  </a:lnTo>
                  <a:lnTo>
                    <a:pt x="3105" y="4350"/>
                  </a:lnTo>
                  <a:lnTo>
                    <a:pt x="3105" y="4350"/>
                  </a:lnTo>
                  <a:lnTo>
                    <a:pt x="3716" y="4350"/>
                  </a:lnTo>
                  <a:lnTo>
                    <a:pt x="3716" y="4350"/>
                  </a:lnTo>
                  <a:lnTo>
                    <a:pt x="4041" y="4350"/>
                  </a:lnTo>
                  <a:lnTo>
                    <a:pt x="4041" y="4350"/>
                  </a:lnTo>
                  <a:lnTo>
                    <a:pt x="4002" y="4430"/>
                  </a:lnTo>
                  <a:lnTo>
                    <a:pt x="3954" y="4501"/>
                  </a:lnTo>
                  <a:lnTo>
                    <a:pt x="3898" y="4565"/>
                  </a:lnTo>
                  <a:lnTo>
                    <a:pt x="3835" y="4612"/>
                  </a:lnTo>
                  <a:lnTo>
                    <a:pt x="3771" y="4660"/>
                  </a:lnTo>
                  <a:lnTo>
                    <a:pt x="3692" y="4683"/>
                  </a:lnTo>
                  <a:lnTo>
                    <a:pt x="3613" y="4708"/>
                  </a:lnTo>
                  <a:lnTo>
                    <a:pt x="3526" y="4708"/>
                  </a:lnTo>
                  <a:lnTo>
                    <a:pt x="3526" y="4708"/>
                  </a:lnTo>
                  <a:lnTo>
                    <a:pt x="3350" y="4708"/>
                  </a:lnTo>
                  <a:lnTo>
                    <a:pt x="3350" y="4708"/>
                  </a:lnTo>
                  <a:lnTo>
                    <a:pt x="2739" y="4708"/>
                  </a:lnTo>
                  <a:lnTo>
                    <a:pt x="2739" y="4708"/>
                  </a:lnTo>
                  <a:lnTo>
                    <a:pt x="1676" y="4708"/>
                  </a:lnTo>
                  <a:close/>
                  <a:moveTo>
                    <a:pt x="6908" y="3389"/>
                  </a:moveTo>
                  <a:lnTo>
                    <a:pt x="6908" y="3389"/>
                  </a:lnTo>
                  <a:lnTo>
                    <a:pt x="6797" y="3485"/>
                  </a:lnTo>
                  <a:lnTo>
                    <a:pt x="6685" y="3564"/>
                  </a:lnTo>
                  <a:lnTo>
                    <a:pt x="6558" y="3628"/>
                  </a:lnTo>
                  <a:lnTo>
                    <a:pt x="6423" y="3667"/>
                  </a:lnTo>
                  <a:lnTo>
                    <a:pt x="6288" y="3699"/>
                  </a:lnTo>
                  <a:lnTo>
                    <a:pt x="6217" y="3699"/>
                  </a:lnTo>
                  <a:lnTo>
                    <a:pt x="6145" y="3707"/>
                  </a:lnTo>
                  <a:lnTo>
                    <a:pt x="6074" y="3699"/>
                  </a:lnTo>
                  <a:lnTo>
                    <a:pt x="6002" y="3691"/>
                  </a:lnTo>
                  <a:lnTo>
                    <a:pt x="5923" y="3684"/>
                  </a:lnTo>
                  <a:lnTo>
                    <a:pt x="5852" y="3659"/>
                  </a:lnTo>
                  <a:lnTo>
                    <a:pt x="5852" y="3659"/>
                  </a:lnTo>
                  <a:lnTo>
                    <a:pt x="5740" y="3604"/>
                  </a:lnTo>
                  <a:lnTo>
                    <a:pt x="5740" y="3604"/>
                  </a:lnTo>
                  <a:lnTo>
                    <a:pt x="2469" y="6843"/>
                  </a:lnTo>
                  <a:lnTo>
                    <a:pt x="2469" y="6843"/>
                  </a:lnTo>
                  <a:lnTo>
                    <a:pt x="2430" y="6875"/>
                  </a:lnTo>
                  <a:lnTo>
                    <a:pt x="2398" y="6899"/>
                  </a:lnTo>
                  <a:lnTo>
                    <a:pt x="2318" y="6939"/>
                  </a:lnTo>
                  <a:lnTo>
                    <a:pt x="2224" y="6962"/>
                  </a:lnTo>
                  <a:lnTo>
                    <a:pt x="2135" y="6970"/>
                  </a:lnTo>
                  <a:lnTo>
                    <a:pt x="2041" y="6962"/>
                  </a:lnTo>
                  <a:lnTo>
                    <a:pt x="1954" y="6939"/>
                  </a:lnTo>
                  <a:lnTo>
                    <a:pt x="1865" y="6899"/>
                  </a:lnTo>
                  <a:lnTo>
                    <a:pt x="1834" y="6875"/>
                  </a:lnTo>
                  <a:lnTo>
                    <a:pt x="1802" y="6843"/>
                  </a:lnTo>
                  <a:lnTo>
                    <a:pt x="1802" y="6843"/>
                  </a:lnTo>
                  <a:lnTo>
                    <a:pt x="1755" y="6795"/>
                  </a:lnTo>
                  <a:lnTo>
                    <a:pt x="1723" y="6724"/>
                  </a:lnTo>
                  <a:lnTo>
                    <a:pt x="1699" y="6629"/>
                  </a:lnTo>
                  <a:lnTo>
                    <a:pt x="1691" y="6573"/>
                  </a:lnTo>
                  <a:lnTo>
                    <a:pt x="1691" y="6517"/>
                  </a:lnTo>
                  <a:lnTo>
                    <a:pt x="1691" y="6517"/>
                  </a:lnTo>
                  <a:lnTo>
                    <a:pt x="1691" y="6478"/>
                  </a:lnTo>
                  <a:lnTo>
                    <a:pt x="1699" y="6438"/>
                  </a:lnTo>
                  <a:lnTo>
                    <a:pt x="1723" y="6359"/>
                  </a:lnTo>
                  <a:lnTo>
                    <a:pt x="1755" y="6295"/>
                  </a:lnTo>
                  <a:lnTo>
                    <a:pt x="1802" y="6239"/>
                  </a:lnTo>
                  <a:lnTo>
                    <a:pt x="1802" y="6239"/>
                  </a:lnTo>
                  <a:lnTo>
                    <a:pt x="2978" y="5073"/>
                  </a:lnTo>
                  <a:lnTo>
                    <a:pt x="2978" y="5073"/>
                  </a:lnTo>
                  <a:lnTo>
                    <a:pt x="3526" y="5073"/>
                  </a:lnTo>
                  <a:lnTo>
                    <a:pt x="3526" y="5073"/>
                  </a:lnTo>
                  <a:lnTo>
                    <a:pt x="3620" y="5073"/>
                  </a:lnTo>
                  <a:lnTo>
                    <a:pt x="3716" y="5057"/>
                  </a:lnTo>
                  <a:lnTo>
                    <a:pt x="3803" y="5033"/>
                  </a:lnTo>
                  <a:lnTo>
                    <a:pt x="3890" y="5001"/>
                  </a:lnTo>
                  <a:lnTo>
                    <a:pt x="3970" y="4961"/>
                  </a:lnTo>
                  <a:lnTo>
                    <a:pt x="4050" y="4922"/>
                  </a:lnTo>
                  <a:lnTo>
                    <a:pt x="4121" y="4866"/>
                  </a:lnTo>
                  <a:lnTo>
                    <a:pt x="4185" y="4810"/>
                  </a:lnTo>
                  <a:lnTo>
                    <a:pt x="4247" y="4739"/>
                  </a:lnTo>
                  <a:lnTo>
                    <a:pt x="4295" y="4675"/>
                  </a:lnTo>
                  <a:lnTo>
                    <a:pt x="4343" y="4596"/>
                  </a:lnTo>
                  <a:lnTo>
                    <a:pt x="4382" y="4517"/>
                  </a:lnTo>
                  <a:lnTo>
                    <a:pt x="4415" y="4438"/>
                  </a:lnTo>
                  <a:lnTo>
                    <a:pt x="4438" y="4350"/>
                  </a:lnTo>
                  <a:lnTo>
                    <a:pt x="4454" y="4263"/>
                  </a:lnTo>
                  <a:lnTo>
                    <a:pt x="4454" y="4168"/>
                  </a:lnTo>
                  <a:lnTo>
                    <a:pt x="4454" y="4168"/>
                  </a:lnTo>
                  <a:lnTo>
                    <a:pt x="4454" y="3985"/>
                  </a:lnTo>
                  <a:lnTo>
                    <a:pt x="4454" y="3985"/>
                  </a:lnTo>
                  <a:lnTo>
                    <a:pt x="4089" y="3985"/>
                  </a:lnTo>
                  <a:lnTo>
                    <a:pt x="4089" y="3985"/>
                  </a:lnTo>
                  <a:lnTo>
                    <a:pt x="4089" y="3985"/>
                  </a:lnTo>
                  <a:lnTo>
                    <a:pt x="4089" y="3985"/>
                  </a:lnTo>
                  <a:lnTo>
                    <a:pt x="5074" y="3001"/>
                  </a:lnTo>
                  <a:lnTo>
                    <a:pt x="5074" y="3001"/>
                  </a:lnTo>
                  <a:lnTo>
                    <a:pt x="5074" y="2898"/>
                  </a:lnTo>
                  <a:lnTo>
                    <a:pt x="5074" y="2898"/>
                  </a:lnTo>
                  <a:lnTo>
                    <a:pt x="5057" y="2819"/>
                  </a:lnTo>
                  <a:lnTo>
                    <a:pt x="5042" y="2747"/>
                  </a:lnTo>
                  <a:lnTo>
                    <a:pt x="5034" y="2676"/>
                  </a:lnTo>
                  <a:lnTo>
                    <a:pt x="5034" y="2597"/>
                  </a:lnTo>
                  <a:lnTo>
                    <a:pt x="5034" y="2525"/>
                  </a:lnTo>
                  <a:lnTo>
                    <a:pt x="5042" y="2454"/>
                  </a:lnTo>
                  <a:lnTo>
                    <a:pt x="5066" y="2302"/>
                  </a:lnTo>
                  <a:lnTo>
                    <a:pt x="5113" y="2167"/>
                  </a:lnTo>
                  <a:lnTo>
                    <a:pt x="5146" y="2096"/>
                  </a:lnTo>
                  <a:lnTo>
                    <a:pt x="5177" y="2032"/>
                  </a:lnTo>
                  <a:lnTo>
                    <a:pt x="5217" y="1969"/>
                  </a:lnTo>
                  <a:lnTo>
                    <a:pt x="5256" y="1906"/>
                  </a:lnTo>
                  <a:lnTo>
                    <a:pt x="5304" y="1851"/>
                  </a:lnTo>
                  <a:lnTo>
                    <a:pt x="5352" y="1795"/>
                  </a:lnTo>
                  <a:lnTo>
                    <a:pt x="5352" y="1795"/>
                  </a:lnTo>
                  <a:lnTo>
                    <a:pt x="5526" y="1675"/>
                  </a:lnTo>
                  <a:lnTo>
                    <a:pt x="5622" y="1620"/>
                  </a:lnTo>
                  <a:lnTo>
                    <a:pt x="5725" y="1573"/>
                  </a:lnTo>
                  <a:lnTo>
                    <a:pt x="5821" y="1533"/>
                  </a:lnTo>
                  <a:lnTo>
                    <a:pt x="5923" y="1493"/>
                  </a:lnTo>
                  <a:lnTo>
                    <a:pt x="6027" y="1477"/>
                  </a:lnTo>
                  <a:lnTo>
                    <a:pt x="6130" y="1469"/>
                  </a:lnTo>
                  <a:lnTo>
                    <a:pt x="6130" y="1469"/>
                  </a:lnTo>
                  <a:lnTo>
                    <a:pt x="6170" y="1477"/>
                  </a:lnTo>
                  <a:lnTo>
                    <a:pt x="6217" y="1493"/>
                  </a:lnTo>
                  <a:lnTo>
                    <a:pt x="6257" y="1517"/>
                  </a:lnTo>
                  <a:lnTo>
                    <a:pt x="6297" y="1525"/>
                  </a:lnTo>
                  <a:lnTo>
                    <a:pt x="6297" y="1525"/>
                  </a:lnTo>
                  <a:lnTo>
                    <a:pt x="5908" y="1906"/>
                  </a:lnTo>
                  <a:lnTo>
                    <a:pt x="5908" y="1906"/>
                  </a:lnTo>
                  <a:lnTo>
                    <a:pt x="5860" y="1961"/>
                  </a:lnTo>
                  <a:lnTo>
                    <a:pt x="5821" y="2017"/>
                  </a:lnTo>
                  <a:lnTo>
                    <a:pt x="5780" y="2073"/>
                  </a:lnTo>
                  <a:lnTo>
                    <a:pt x="5757" y="2128"/>
                  </a:lnTo>
                  <a:lnTo>
                    <a:pt x="5732" y="2192"/>
                  </a:lnTo>
                  <a:lnTo>
                    <a:pt x="5717" y="2247"/>
                  </a:lnTo>
                  <a:lnTo>
                    <a:pt x="5701" y="2310"/>
                  </a:lnTo>
                  <a:lnTo>
                    <a:pt x="5701" y="2374"/>
                  </a:lnTo>
                  <a:lnTo>
                    <a:pt x="5701" y="2437"/>
                  </a:lnTo>
                  <a:lnTo>
                    <a:pt x="5717" y="2493"/>
                  </a:lnTo>
                  <a:lnTo>
                    <a:pt x="5732" y="2557"/>
                  </a:lnTo>
                  <a:lnTo>
                    <a:pt x="5757" y="2620"/>
                  </a:lnTo>
                  <a:lnTo>
                    <a:pt x="5780" y="2676"/>
                  </a:lnTo>
                  <a:lnTo>
                    <a:pt x="5821" y="2732"/>
                  </a:lnTo>
                  <a:lnTo>
                    <a:pt x="5860" y="2787"/>
                  </a:lnTo>
                  <a:lnTo>
                    <a:pt x="5908" y="2842"/>
                  </a:lnTo>
                  <a:lnTo>
                    <a:pt x="5908" y="2842"/>
                  </a:lnTo>
                  <a:lnTo>
                    <a:pt x="5955" y="2882"/>
                  </a:lnTo>
                  <a:lnTo>
                    <a:pt x="6002" y="2914"/>
                  </a:lnTo>
                  <a:lnTo>
                    <a:pt x="6058" y="2937"/>
                  </a:lnTo>
                  <a:lnTo>
                    <a:pt x="6114" y="2961"/>
                  </a:lnTo>
                  <a:lnTo>
                    <a:pt x="6170" y="2976"/>
                  </a:lnTo>
                  <a:lnTo>
                    <a:pt x="6233" y="2992"/>
                  </a:lnTo>
                  <a:lnTo>
                    <a:pt x="6297" y="3001"/>
                  </a:lnTo>
                  <a:lnTo>
                    <a:pt x="6360" y="3001"/>
                  </a:lnTo>
                  <a:lnTo>
                    <a:pt x="6423" y="3001"/>
                  </a:lnTo>
                  <a:lnTo>
                    <a:pt x="6495" y="2992"/>
                  </a:lnTo>
                  <a:lnTo>
                    <a:pt x="6558" y="2976"/>
                  </a:lnTo>
                  <a:lnTo>
                    <a:pt x="6622" y="2961"/>
                  </a:lnTo>
                  <a:lnTo>
                    <a:pt x="6685" y="2937"/>
                  </a:lnTo>
                  <a:lnTo>
                    <a:pt x="6741" y="2914"/>
                  </a:lnTo>
                  <a:lnTo>
                    <a:pt x="6797" y="2882"/>
                  </a:lnTo>
                  <a:lnTo>
                    <a:pt x="6853" y="2842"/>
                  </a:lnTo>
                  <a:lnTo>
                    <a:pt x="6853" y="2842"/>
                  </a:lnTo>
                  <a:lnTo>
                    <a:pt x="7241" y="2454"/>
                  </a:lnTo>
                  <a:lnTo>
                    <a:pt x="7241" y="2454"/>
                  </a:lnTo>
                  <a:lnTo>
                    <a:pt x="7258" y="2580"/>
                  </a:lnTo>
                  <a:lnTo>
                    <a:pt x="7250" y="2700"/>
                  </a:lnTo>
                  <a:lnTo>
                    <a:pt x="7233" y="2827"/>
                  </a:lnTo>
                  <a:lnTo>
                    <a:pt x="7202" y="2945"/>
                  </a:lnTo>
                  <a:lnTo>
                    <a:pt x="7154" y="3056"/>
                  </a:lnTo>
                  <a:lnTo>
                    <a:pt x="7082" y="3175"/>
                  </a:lnTo>
                  <a:lnTo>
                    <a:pt x="7003" y="3286"/>
                  </a:lnTo>
                  <a:lnTo>
                    <a:pt x="6908" y="3389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/>
            </a:p>
          </p:txBody>
        </p:sp>
      </p:grpSp>
      <p:sp>
        <p:nvSpPr>
          <p:cNvPr id="108" name="Rectangle 107"/>
          <p:cNvSpPr/>
          <p:nvPr/>
        </p:nvSpPr>
        <p:spPr>
          <a:xfrm>
            <a:off x="6049925" y="5385049"/>
            <a:ext cx="1667940" cy="79855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4488" kern="0" spc="50" dirty="0">
                <a:ln w="3175">
                  <a:noFill/>
                </a:ln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zure</a:t>
            </a:r>
            <a:endParaRPr lang="en-US" sz="4488" dirty="0">
              <a:solidFill>
                <a:schemeClr val="tx2"/>
              </a:solidFill>
            </a:endParaRPr>
          </a:p>
        </p:txBody>
      </p:sp>
      <p:grpSp>
        <p:nvGrpSpPr>
          <p:cNvPr id="192" name="Group 191"/>
          <p:cNvGrpSpPr/>
          <p:nvPr/>
        </p:nvGrpSpPr>
        <p:grpSpPr>
          <a:xfrm>
            <a:off x="9909168" y="2651685"/>
            <a:ext cx="791826" cy="793568"/>
            <a:chOff x="3630613" y="2355850"/>
            <a:chExt cx="2882900" cy="2889250"/>
          </a:xfrm>
          <a:solidFill>
            <a:srgbClr val="001F54"/>
          </a:solidFill>
        </p:grpSpPr>
        <p:sp>
          <p:nvSpPr>
            <p:cNvPr id="197" name="Freeform 1"/>
            <p:cNvSpPr>
              <a:spLocks noChangeArrowheads="1"/>
            </p:cNvSpPr>
            <p:nvPr/>
          </p:nvSpPr>
          <p:spPr bwMode="auto">
            <a:xfrm>
              <a:off x="3630613" y="2355850"/>
              <a:ext cx="2882900" cy="2889250"/>
            </a:xfrm>
            <a:custGeom>
              <a:avLst/>
              <a:gdLst>
                <a:gd name="T0" fmla="*/ 5482 w 8008"/>
                <a:gd name="T1" fmla="*/ 8025 h 8026"/>
                <a:gd name="T2" fmla="*/ 5482 w 8008"/>
                <a:gd name="T3" fmla="*/ 6824 h 8026"/>
                <a:gd name="T4" fmla="*/ 4246 w 8008"/>
                <a:gd name="T5" fmla="*/ 6824 h 8026"/>
                <a:gd name="T6" fmla="*/ 4246 w 8008"/>
                <a:gd name="T7" fmla="*/ 8016 h 8026"/>
                <a:gd name="T8" fmla="*/ 3770 w 8008"/>
                <a:gd name="T9" fmla="*/ 8016 h 8026"/>
                <a:gd name="T10" fmla="*/ 3770 w 8008"/>
                <a:gd name="T11" fmla="*/ 6815 h 8026"/>
                <a:gd name="T12" fmla="*/ 2552 w 8008"/>
                <a:gd name="T13" fmla="*/ 6815 h 8026"/>
                <a:gd name="T14" fmla="*/ 2552 w 8008"/>
                <a:gd name="T15" fmla="*/ 8025 h 8026"/>
                <a:gd name="T16" fmla="*/ 2092 w 8008"/>
                <a:gd name="T17" fmla="*/ 8025 h 8026"/>
                <a:gd name="T18" fmla="*/ 2092 w 8008"/>
                <a:gd name="T19" fmla="*/ 6807 h 8026"/>
                <a:gd name="T20" fmla="*/ 1245 w 8008"/>
                <a:gd name="T21" fmla="*/ 6807 h 8026"/>
                <a:gd name="T22" fmla="*/ 1245 w 8008"/>
                <a:gd name="T23" fmla="*/ 5959 h 8026"/>
                <a:gd name="T24" fmla="*/ 0 w 8008"/>
                <a:gd name="T25" fmla="*/ 5959 h 8026"/>
                <a:gd name="T26" fmla="*/ 0 w 8008"/>
                <a:gd name="T27" fmla="*/ 5500 h 8026"/>
                <a:gd name="T28" fmla="*/ 1210 w 8008"/>
                <a:gd name="T29" fmla="*/ 5500 h 8026"/>
                <a:gd name="T30" fmla="*/ 1210 w 8008"/>
                <a:gd name="T31" fmla="*/ 4264 h 8026"/>
                <a:gd name="T32" fmla="*/ 9 w 8008"/>
                <a:gd name="T33" fmla="*/ 4264 h 8026"/>
                <a:gd name="T34" fmla="*/ 9 w 8008"/>
                <a:gd name="T35" fmla="*/ 3788 h 8026"/>
                <a:gd name="T36" fmla="*/ 1201 w 8008"/>
                <a:gd name="T37" fmla="*/ 3788 h 8026"/>
                <a:gd name="T38" fmla="*/ 1201 w 8008"/>
                <a:gd name="T39" fmla="*/ 2552 h 8026"/>
                <a:gd name="T40" fmla="*/ 0 w 8008"/>
                <a:gd name="T41" fmla="*/ 2552 h 8026"/>
                <a:gd name="T42" fmla="*/ 0 w 8008"/>
                <a:gd name="T43" fmla="*/ 2110 h 8026"/>
                <a:gd name="T44" fmla="*/ 1201 w 8008"/>
                <a:gd name="T45" fmla="*/ 2110 h 8026"/>
                <a:gd name="T46" fmla="*/ 1201 w 8008"/>
                <a:gd name="T47" fmla="*/ 1245 h 8026"/>
                <a:gd name="T48" fmla="*/ 2066 w 8008"/>
                <a:gd name="T49" fmla="*/ 1245 h 8026"/>
                <a:gd name="T50" fmla="*/ 2066 w 8008"/>
                <a:gd name="T51" fmla="*/ 9 h 8026"/>
                <a:gd name="T52" fmla="*/ 2525 w 8008"/>
                <a:gd name="T53" fmla="*/ 9 h 8026"/>
                <a:gd name="T54" fmla="*/ 2525 w 8008"/>
                <a:gd name="T55" fmla="*/ 1210 h 8026"/>
                <a:gd name="T56" fmla="*/ 3761 w 8008"/>
                <a:gd name="T57" fmla="*/ 1210 h 8026"/>
                <a:gd name="T58" fmla="*/ 3761 w 8008"/>
                <a:gd name="T59" fmla="*/ 0 h 8026"/>
                <a:gd name="T60" fmla="*/ 4219 w 8008"/>
                <a:gd name="T61" fmla="*/ 0 h 8026"/>
                <a:gd name="T62" fmla="*/ 4219 w 8008"/>
                <a:gd name="T63" fmla="*/ 1201 h 8026"/>
                <a:gd name="T64" fmla="*/ 5455 w 8008"/>
                <a:gd name="T65" fmla="*/ 1201 h 8026"/>
                <a:gd name="T66" fmla="*/ 5455 w 8008"/>
                <a:gd name="T67" fmla="*/ 18 h 8026"/>
                <a:gd name="T68" fmla="*/ 5932 w 8008"/>
                <a:gd name="T69" fmla="*/ 18 h 8026"/>
                <a:gd name="T70" fmla="*/ 5932 w 8008"/>
                <a:gd name="T71" fmla="*/ 1218 h 8026"/>
                <a:gd name="T72" fmla="*/ 6762 w 8008"/>
                <a:gd name="T73" fmla="*/ 1218 h 8026"/>
                <a:gd name="T74" fmla="*/ 6762 w 8008"/>
                <a:gd name="T75" fmla="*/ 2066 h 8026"/>
                <a:gd name="T76" fmla="*/ 7998 w 8008"/>
                <a:gd name="T77" fmla="*/ 2066 h 8026"/>
                <a:gd name="T78" fmla="*/ 7998 w 8008"/>
                <a:gd name="T79" fmla="*/ 2543 h 8026"/>
                <a:gd name="T80" fmla="*/ 6815 w 8008"/>
                <a:gd name="T81" fmla="*/ 2543 h 8026"/>
                <a:gd name="T82" fmla="*/ 6815 w 8008"/>
                <a:gd name="T83" fmla="*/ 3779 h 8026"/>
                <a:gd name="T84" fmla="*/ 8007 w 8008"/>
                <a:gd name="T85" fmla="*/ 3779 h 8026"/>
                <a:gd name="T86" fmla="*/ 8007 w 8008"/>
                <a:gd name="T87" fmla="*/ 4219 h 8026"/>
                <a:gd name="T88" fmla="*/ 6824 w 8008"/>
                <a:gd name="T89" fmla="*/ 4219 h 8026"/>
                <a:gd name="T90" fmla="*/ 6824 w 8008"/>
                <a:gd name="T91" fmla="*/ 5456 h 8026"/>
                <a:gd name="T92" fmla="*/ 7998 w 8008"/>
                <a:gd name="T93" fmla="*/ 5456 h 8026"/>
                <a:gd name="T94" fmla="*/ 7998 w 8008"/>
                <a:gd name="T95" fmla="*/ 5932 h 8026"/>
                <a:gd name="T96" fmla="*/ 6815 w 8008"/>
                <a:gd name="T97" fmla="*/ 5932 h 8026"/>
                <a:gd name="T98" fmla="*/ 6771 w 8008"/>
                <a:gd name="T99" fmla="*/ 6780 h 8026"/>
                <a:gd name="T100" fmla="*/ 5941 w 8008"/>
                <a:gd name="T101" fmla="*/ 6780 h 8026"/>
                <a:gd name="T102" fmla="*/ 5941 w 8008"/>
                <a:gd name="T103" fmla="*/ 8025 h 8026"/>
                <a:gd name="T104" fmla="*/ 5482 w 8008"/>
                <a:gd name="T105" fmla="*/ 8025 h 8026"/>
                <a:gd name="T106" fmla="*/ 1722 w 8008"/>
                <a:gd name="T107" fmla="*/ 6286 h 8026"/>
                <a:gd name="T108" fmla="*/ 6276 w 8008"/>
                <a:gd name="T109" fmla="*/ 6286 h 8026"/>
                <a:gd name="T110" fmla="*/ 6276 w 8008"/>
                <a:gd name="T111" fmla="*/ 1731 h 8026"/>
                <a:gd name="T112" fmla="*/ 1722 w 8008"/>
                <a:gd name="T113" fmla="*/ 1731 h 8026"/>
                <a:gd name="T114" fmla="*/ 1722 w 8008"/>
                <a:gd name="T115" fmla="*/ 6286 h 80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008" h="8026">
                  <a:moveTo>
                    <a:pt x="5482" y="8025"/>
                  </a:moveTo>
                  <a:lnTo>
                    <a:pt x="5482" y="6824"/>
                  </a:lnTo>
                  <a:lnTo>
                    <a:pt x="4246" y="6824"/>
                  </a:lnTo>
                  <a:lnTo>
                    <a:pt x="4246" y="8016"/>
                  </a:lnTo>
                  <a:lnTo>
                    <a:pt x="3770" y="8016"/>
                  </a:lnTo>
                  <a:lnTo>
                    <a:pt x="3770" y="6815"/>
                  </a:lnTo>
                  <a:lnTo>
                    <a:pt x="2552" y="6815"/>
                  </a:lnTo>
                  <a:lnTo>
                    <a:pt x="2552" y="8025"/>
                  </a:lnTo>
                  <a:lnTo>
                    <a:pt x="2092" y="8025"/>
                  </a:lnTo>
                  <a:lnTo>
                    <a:pt x="2092" y="6807"/>
                  </a:lnTo>
                  <a:lnTo>
                    <a:pt x="1245" y="6807"/>
                  </a:lnTo>
                  <a:lnTo>
                    <a:pt x="1245" y="5959"/>
                  </a:lnTo>
                  <a:lnTo>
                    <a:pt x="0" y="5959"/>
                  </a:lnTo>
                  <a:lnTo>
                    <a:pt x="0" y="5500"/>
                  </a:lnTo>
                  <a:lnTo>
                    <a:pt x="1210" y="5500"/>
                  </a:lnTo>
                  <a:lnTo>
                    <a:pt x="1210" y="4264"/>
                  </a:lnTo>
                  <a:lnTo>
                    <a:pt x="9" y="4264"/>
                  </a:lnTo>
                  <a:lnTo>
                    <a:pt x="9" y="3788"/>
                  </a:lnTo>
                  <a:lnTo>
                    <a:pt x="1201" y="3788"/>
                  </a:lnTo>
                  <a:lnTo>
                    <a:pt x="1201" y="2552"/>
                  </a:lnTo>
                  <a:lnTo>
                    <a:pt x="0" y="2552"/>
                  </a:lnTo>
                  <a:lnTo>
                    <a:pt x="0" y="2110"/>
                  </a:lnTo>
                  <a:lnTo>
                    <a:pt x="1201" y="2110"/>
                  </a:lnTo>
                  <a:lnTo>
                    <a:pt x="1201" y="1245"/>
                  </a:lnTo>
                  <a:lnTo>
                    <a:pt x="2066" y="1245"/>
                  </a:lnTo>
                  <a:lnTo>
                    <a:pt x="2066" y="9"/>
                  </a:lnTo>
                  <a:lnTo>
                    <a:pt x="2525" y="9"/>
                  </a:lnTo>
                  <a:lnTo>
                    <a:pt x="2525" y="1210"/>
                  </a:lnTo>
                  <a:lnTo>
                    <a:pt x="3761" y="1210"/>
                  </a:lnTo>
                  <a:lnTo>
                    <a:pt x="3761" y="0"/>
                  </a:lnTo>
                  <a:lnTo>
                    <a:pt x="4219" y="0"/>
                  </a:lnTo>
                  <a:lnTo>
                    <a:pt x="4219" y="1201"/>
                  </a:lnTo>
                  <a:lnTo>
                    <a:pt x="5455" y="1201"/>
                  </a:lnTo>
                  <a:lnTo>
                    <a:pt x="5455" y="18"/>
                  </a:lnTo>
                  <a:lnTo>
                    <a:pt x="5932" y="18"/>
                  </a:lnTo>
                  <a:lnTo>
                    <a:pt x="5932" y="1218"/>
                  </a:lnTo>
                  <a:lnTo>
                    <a:pt x="6762" y="1218"/>
                  </a:lnTo>
                  <a:lnTo>
                    <a:pt x="6762" y="2066"/>
                  </a:lnTo>
                  <a:lnTo>
                    <a:pt x="7998" y="2066"/>
                  </a:lnTo>
                  <a:lnTo>
                    <a:pt x="7998" y="2543"/>
                  </a:lnTo>
                  <a:lnTo>
                    <a:pt x="6815" y="2543"/>
                  </a:lnTo>
                  <a:lnTo>
                    <a:pt x="6815" y="3779"/>
                  </a:lnTo>
                  <a:lnTo>
                    <a:pt x="8007" y="3779"/>
                  </a:lnTo>
                  <a:lnTo>
                    <a:pt x="8007" y="4219"/>
                  </a:lnTo>
                  <a:lnTo>
                    <a:pt x="6824" y="4219"/>
                  </a:lnTo>
                  <a:lnTo>
                    <a:pt x="6824" y="5456"/>
                  </a:lnTo>
                  <a:lnTo>
                    <a:pt x="7998" y="5456"/>
                  </a:lnTo>
                  <a:lnTo>
                    <a:pt x="7998" y="5932"/>
                  </a:lnTo>
                  <a:lnTo>
                    <a:pt x="6815" y="5932"/>
                  </a:lnTo>
                  <a:lnTo>
                    <a:pt x="6771" y="6780"/>
                  </a:lnTo>
                  <a:lnTo>
                    <a:pt x="5941" y="6780"/>
                  </a:lnTo>
                  <a:lnTo>
                    <a:pt x="5941" y="8025"/>
                  </a:lnTo>
                  <a:lnTo>
                    <a:pt x="5482" y="8025"/>
                  </a:lnTo>
                  <a:close/>
                  <a:moveTo>
                    <a:pt x="1722" y="6286"/>
                  </a:moveTo>
                  <a:lnTo>
                    <a:pt x="6276" y="6286"/>
                  </a:lnTo>
                  <a:lnTo>
                    <a:pt x="6276" y="1731"/>
                  </a:lnTo>
                  <a:lnTo>
                    <a:pt x="1722" y="1731"/>
                  </a:lnTo>
                  <a:lnTo>
                    <a:pt x="1722" y="6286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/>
            </a:p>
          </p:txBody>
        </p:sp>
        <p:sp>
          <p:nvSpPr>
            <p:cNvPr id="198" name="Freeform 2"/>
            <p:cNvSpPr>
              <a:spLocks noChangeArrowheads="1"/>
            </p:cNvSpPr>
            <p:nvPr/>
          </p:nvSpPr>
          <p:spPr bwMode="auto">
            <a:xfrm>
              <a:off x="4694238" y="3421063"/>
              <a:ext cx="755650" cy="766762"/>
            </a:xfrm>
            <a:custGeom>
              <a:avLst/>
              <a:gdLst>
                <a:gd name="T0" fmla="*/ 0 w 2101"/>
                <a:gd name="T1" fmla="*/ 2127 h 2128"/>
                <a:gd name="T2" fmla="*/ 0 w 2101"/>
                <a:gd name="T3" fmla="*/ 0 h 2128"/>
                <a:gd name="T4" fmla="*/ 2100 w 2101"/>
                <a:gd name="T5" fmla="*/ 0 h 2128"/>
                <a:gd name="T6" fmla="*/ 2100 w 2101"/>
                <a:gd name="T7" fmla="*/ 2127 h 2128"/>
                <a:gd name="T8" fmla="*/ 0 w 2101"/>
                <a:gd name="T9" fmla="*/ 2127 h 2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01" h="2128">
                  <a:moveTo>
                    <a:pt x="0" y="2127"/>
                  </a:moveTo>
                  <a:lnTo>
                    <a:pt x="0" y="0"/>
                  </a:lnTo>
                  <a:lnTo>
                    <a:pt x="2100" y="0"/>
                  </a:lnTo>
                  <a:lnTo>
                    <a:pt x="2100" y="2127"/>
                  </a:lnTo>
                  <a:lnTo>
                    <a:pt x="0" y="212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/>
            </a:p>
          </p:txBody>
        </p:sp>
      </p:grpSp>
      <p:sp>
        <p:nvSpPr>
          <p:cNvPr id="58" name="Rectangle 57">
            <a:extLst>
              <a:ext uri="{FF2B5EF4-FFF2-40B4-BE49-F238E27FC236}">
                <a16:creationId xmlns:a16="http://schemas.microsoft.com/office/drawing/2014/main" id="{6BBCB851-E6EE-4C48-9545-DDAB86416409}"/>
              </a:ext>
            </a:extLst>
          </p:cNvPr>
          <p:cNvSpPr/>
          <p:nvPr/>
        </p:nvSpPr>
        <p:spPr bwMode="auto">
          <a:xfrm>
            <a:off x="1863101" y="472296"/>
            <a:ext cx="10077120" cy="1299145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0" rIns="0" bIns="46630" numCol="1" rtlCol="0" anchor="ctr" anchorCtr="0" compatLnSpc="1">
            <a:prstTxWarp prst="textNoShape">
              <a:avLst/>
            </a:prstTxWarp>
          </a:bodyPr>
          <a:lstStyle/>
          <a:p>
            <a:pPr algn="ctr" defTabSz="932384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defRPr/>
            </a:pPr>
            <a:r>
              <a:rPr lang="en-US" sz="4399" spc="-102" dirty="0">
                <a:ln w="3175">
                  <a:noFill/>
                </a:ln>
                <a:gradFill>
                  <a:gsLst>
                    <a:gs pos="6952">
                      <a:srgbClr val="353535"/>
                    </a:gs>
                    <a:gs pos="18182">
                      <a:srgbClr val="353535"/>
                    </a:gs>
                  </a:gsLst>
                  <a:lin ang="0" scaled="0"/>
                </a:gradFill>
                <a:latin typeface="Segoe UI Light"/>
                <a:cs typeface="Segoe UI" pitchFamily="34" charset="0"/>
              </a:rPr>
              <a:t>Comprehensive deep learning, </a:t>
            </a:r>
          </a:p>
          <a:p>
            <a:pPr algn="ctr" defTabSz="932384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defRPr/>
            </a:pPr>
            <a:r>
              <a:rPr lang="en-US" sz="4399" spc="-102" dirty="0">
                <a:ln w="3175">
                  <a:noFill/>
                </a:ln>
                <a:gradFill>
                  <a:gsLst>
                    <a:gs pos="6952">
                      <a:srgbClr val="353535"/>
                    </a:gs>
                    <a:gs pos="18182">
                      <a:srgbClr val="353535"/>
                    </a:gs>
                  </a:gsLst>
                  <a:lin ang="0" scaled="0"/>
                </a:gradFill>
                <a:latin typeface="Segoe UI Light"/>
                <a:cs typeface="Segoe UI" pitchFamily="34" charset="0"/>
              </a:rPr>
              <a:t>machine learning as a service</a:t>
            </a: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11D12DB0-8BDD-42D8-B0A7-892C0F2202AD}"/>
              </a:ext>
            </a:extLst>
          </p:cNvPr>
          <p:cNvCxnSpPr>
            <a:cxnSpLocks/>
            <a:stCxn id="59" idx="4"/>
          </p:cNvCxnSpPr>
          <p:nvPr/>
        </p:nvCxnSpPr>
        <p:spPr>
          <a:xfrm flipH="1" flipV="1">
            <a:off x="3922365" y="5114541"/>
            <a:ext cx="6474158" cy="1"/>
          </a:xfrm>
          <a:prstGeom prst="line">
            <a:avLst/>
          </a:prstGeom>
          <a:noFill/>
          <a:ln w="19050">
            <a:solidFill>
              <a:schemeClr val="tx1">
                <a:alpha val="40000"/>
              </a:schemeClr>
            </a:solidFill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6" name="Oval 55">
            <a:extLst>
              <a:ext uri="{FF2B5EF4-FFF2-40B4-BE49-F238E27FC236}">
                <a16:creationId xmlns:a16="http://schemas.microsoft.com/office/drawing/2014/main" id="{8356B447-D388-4785-B3F6-4488C99BB77B}"/>
              </a:ext>
            </a:extLst>
          </p:cNvPr>
          <p:cNvSpPr/>
          <p:nvPr/>
        </p:nvSpPr>
        <p:spPr bwMode="auto">
          <a:xfrm rot="16200000">
            <a:off x="3772528" y="5039623"/>
            <a:ext cx="149837" cy="149837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0" rIns="0" bIns="46630" numCol="1" rtlCol="0" anchor="ctr" anchorCtr="0" compatLnSpc="1">
            <a:prstTxWarp prst="textNoShape">
              <a:avLst/>
            </a:prstTxWarp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8356B447-D388-4785-B3F6-4488C99BB77B}"/>
              </a:ext>
            </a:extLst>
          </p:cNvPr>
          <p:cNvSpPr/>
          <p:nvPr/>
        </p:nvSpPr>
        <p:spPr bwMode="auto">
          <a:xfrm rot="16200000">
            <a:off x="6827141" y="5039623"/>
            <a:ext cx="149837" cy="149837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0" rIns="0" bIns="46630" numCol="1" rtlCol="0" anchor="ctr" anchorCtr="0" compatLnSpc="1">
            <a:prstTxWarp prst="textNoShape">
              <a:avLst/>
            </a:prstTxWarp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8356B447-D388-4785-B3F6-4488C99BB77B}"/>
              </a:ext>
            </a:extLst>
          </p:cNvPr>
          <p:cNvSpPr/>
          <p:nvPr/>
        </p:nvSpPr>
        <p:spPr bwMode="auto">
          <a:xfrm rot="16200000">
            <a:off x="10246686" y="5039623"/>
            <a:ext cx="149837" cy="149837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0" rIns="0" bIns="46630" numCol="1" rtlCol="0" anchor="ctr" anchorCtr="0" compatLnSpc="1">
            <a:prstTxWarp prst="textNoShape">
              <a:avLst/>
            </a:prstTxWarp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</a:endParaRPr>
          </a:p>
        </p:txBody>
      </p:sp>
    </p:spTree>
    <p:extLst>
      <p:ext uri="{BB962C8B-B14F-4D97-AF65-F5344CB8AC3E}">
        <p14:creationId xmlns:p14="http://schemas.microsoft.com/office/powerpoint/2010/main" val="265687471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3" presetClass="entr" presetSubtype="27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23" presetClass="entr" presetSubtype="27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23" presetClass="entr" presetSubtype="27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8" grpId="0"/>
      <p:bldP spid="56" grpId="0" animBg="1"/>
      <p:bldP spid="57" grpId="0" animBg="1"/>
      <p:bldP spid="59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6" name="Straight Connector 135"/>
          <p:cNvCxnSpPr/>
          <p:nvPr/>
        </p:nvCxnSpPr>
        <p:spPr>
          <a:xfrm>
            <a:off x="2619632" y="2832564"/>
            <a:ext cx="928465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Straight Connector 137"/>
          <p:cNvCxnSpPr/>
          <p:nvPr/>
        </p:nvCxnSpPr>
        <p:spPr>
          <a:xfrm>
            <a:off x="2619632" y="4917693"/>
            <a:ext cx="928465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AA159894-4777-4BD4-80D1-FD09090A8EAF}"/>
              </a:ext>
            </a:extLst>
          </p:cNvPr>
          <p:cNvSpPr/>
          <p:nvPr/>
        </p:nvSpPr>
        <p:spPr>
          <a:xfrm>
            <a:off x="412602" y="5684634"/>
            <a:ext cx="1273926" cy="4708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2400" kern="0" spc="5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usted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008378F-748F-4973-91D2-AE64A243C214}"/>
              </a:ext>
            </a:extLst>
          </p:cNvPr>
          <p:cNvSpPr/>
          <p:nvPr/>
        </p:nvSpPr>
        <p:spPr>
          <a:xfrm>
            <a:off x="456745" y="4337287"/>
            <a:ext cx="1185640" cy="345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1599" kern="0" spc="50">
                <a:solidFill>
                  <a:srgbClr val="353535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telligent</a:t>
            </a: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D075AD67-B61E-4831-83EC-2AF66D0FDBB2}"/>
              </a:ext>
            </a:extLst>
          </p:cNvPr>
          <p:cNvCxnSpPr>
            <a:cxnSpLocks/>
          </p:cNvCxnSpPr>
          <p:nvPr/>
        </p:nvCxnSpPr>
        <p:spPr>
          <a:xfrm>
            <a:off x="1994007" y="496"/>
            <a:ext cx="0" cy="7025446"/>
          </a:xfrm>
          <a:prstGeom prst="line">
            <a:avLst/>
          </a:prstGeom>
          <a:noFill/>
          <a:ln w="19050" cap="flat">
            <a:solidFill>
              <a:schemeClr val="bg1">
                <a:lumMod val="75000"/>
                <a:alpha val="70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cxnSp>
      <p:sp>
        <p:nvSpPr>
          <p:cNvPr id="96" name="light">
            <a:extLst>
              <a:ext uri="{FF2B5EF4-FFF2-40B4-BE49-F238E27FC236}">
                <a16:creationId xmlns:a16="http://schemas.microsoft.com/office/drawing/2014/main" id="{38BAE752-BE22-4707-B0F9-4C08A401389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89768" y="3872325"/>
            <a:ext cx="291439" cy="432683"/>
          </a:xfrm>
          <a:custGeom>
            <a:avLst/>
            <a:gdLst>
              <a:gd name="T0" fmla="*/ 156 w 224"/>
              <a:gd name="T1" fmla="*/ 312 h 334"/>
              <a:gd name="T2" fmla="*/ 134 w 224"/>
              <a:gd name="T3" fmla="*/ 334 h 334"/>
              <a:gd name="T4" fmla="*/ 89 w 224"/>
              <a:gd name="T5" fmla="*/ 334 h 334"/>
              <a:gd name="T6" fmla="*/ 67 w 224"/>
              <a:gd name="T7" fmla="*/ 312 h 334"/>
              <a:gd name="T8" fmla="*/ 67 w 224"/>
              <a:gd name="T9" fmla="*/ 261 h 334"/>
              <a:gd name="T10" fmla="*/ 37 w 224"/>
              <a:gd name="T11" fmla="*/ 195 h 334"/>
              <a:gd name="T12" fmla="*/ 27 w 224"/>
              <a:gd name="T13" fmla="*/ 185 h 334"/>
              <a:gd name="T14" fmla="*/ 0 w 224"/>
              <a:gd name="T15" fmla="*/ 112 h 334"/>
              <a:gd name="T16" fmla="*/ 112 w 224"/>
              <a:gd name="T17" fmla="*/ 0 h 334"/>
              <a:gd name="T18" fmla="*/ 224 w 224"/>
              <a:gd name="T19" fmla="*/ 112 h 334"/>
              <a:gd name="T20" fmla="*/ 197 w 224"/>
              <a:gd name="T21" fmla="*/ 185 h 334"/>
              <a:gd name="T22" fmla="*/ 200 w 224"/>
              <a:gd name="T23" fmla="*/ 181 h 334"/>
              <a:gd name="T24" fmla="*/ 197 w 224"/>
              <a:gd name="T25" fmla="*/ 185 h 334"/>
              <a:gd name="T26" fmla="*/ 156 w 224"/>
              <a:gd name="T27" fmla="*/ 265 h 334"/>
              <a:gd name="T28" fmla="*/ 156 w 224"/>
              <a:gd name="T29" fmla="*/ 312 h 334"/>
              <a:gd name="T30" fmla="*/ 156 w 224"/>
              <a:gd name="T31" fmla="*/ 312 h 334"/>
              <a:gd name="T32" fmla="*/ 67 w 224"/>
              <a:gd name="T33" fmla="*/ 269 h 334"/>
              <a:gd name="T34" fmla="*/ 156 w 224"/>
              <a:gd name="T35" fmla="*/ 269 h 3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24" h="334">
                <a:moveTo>
                  <a:pt x="156" y="312"/>
                </a:moveTo>
                <a:cubicBezTo>
                  <a:pt x="156" y="324"/>
                  <a:pt x="146" y="334"/>
                  <a:pt x="134" y="334"/>
                </a:cubicBezTo>
                <a:cubicBezTo>
                  <a:pt x="89" y="334"/>
                  <a:pt x="89" y="334"/>
                  <a:pt x="89" y="334"/>
                </a:cubicBezTo>
                <a:cubicBezTo>
                  <a:pt x="76" y="334"/>
                  <a:pt x="67" y="324"/>
                  <a:pt x="67" y="312"/>
                </a:cubicBezTo>
                <a:cubicBezTo>
                  <a:pt x="67" y="312"/>
                  <a:pt x="67" y="300"/>
                  <a:pt x="67" y="261"/>
                </a:cubicBezTo>
                <a:cubicBezTo>
                  <a:pt x="67" y="221"/>
                  <a:pt x="37" y="195"/>
                  <a:pt x="37" y="195"/>
                </a:cubicBezTo>
                <a:cubicBezTo>
                  <a:pt x="27" y="185"/>
                  <a:pt x="27" y="185"/>
                  <a:pt x="27" y="185"/>
                </a:cubicBezTo>
                <a:cubicBezTo>
                  <a:pt x="10" y="166"/>
                  <a:pt x="0" y="140"/>
                  <a:pt x="0" y="112"/>
                </a:cubicBezTo>
                <a:cubicBezTo>
                  <a:pt x="0" y="50"/>
                  <a:pt x="50" y="0"/>
                  <a:pt x="112" y="0"/>
                </a:cubicBezTo>
                <a:cubicBezTo>
                  <a:pt x="174" y="0"/>
                  <a:pt x="224" y="50"/>
                  <a:pt x="224" y="112"/>
                </a:cubicBezTo>
                <a:cubicBezTo>
                  <a:pt x="224" y="140"/>
                  <a:pt x="214" y="166"/>
                  <a:pt x="197" y="185"/>
                </a:cubicBezTo>
                <a:moveTo>
                  <a:pt x="200" y="181"/>
                </a:moveTo>
                <a:cubicBezTo>
                  <a:pt x="197" y="185"/>
                  <a:pt x="197" y="185"/>
                  <a:pt x="197" y="185"/>
                </a:cubicBezTo>
                <a:cubicBezTo>
                  <a:pt x="197" y="185"/>
                  <a:pt x="156" y="217"/>
                  <a:pt x="156" y="265"/>
                </a:cubicBezTo>
                <a:cubicBezTo>
                  <a:pt x="156" y="312"/>
                  <a:pt x="156" y="312"/>
                  <a:pt x="156" y="312"/>
                </a:cubicBezTo>
                <a:cubicBezTo>
                  <a:pt x="156" y="312"/>
                  <a:pt x="156" y="312"/>
                  <a:pt x="156" y="312"/>
                </a:cubicBezTo>
                <a:moveTo>
                  <a:pt x="67" y="269"/>
                </a:moveTo>
                <a:cubicBezTo>
                  <a:pt x="156" y="269"/>
                  <a:pt x="156" y="269"/>
                  <a:pt x="156" y="269"/>
                </a:cubicBezTo>
              </a:path>
            </a:pathLst>
          </a:custGeom>
          <a:noFill/>
          <a:ln w="28575">
            <a:solidFill>
              <a:srgbClr val="B3B2B4"/>
            </a:solidFill>
            <a:headEnd type="none" w="med" len="med"/>
            <a:tailEnd type="none" w="med" len="med"/>
          </a:ln>
          <a:effectLst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sp>
        <p:nvSpPr>
          <p:cNvPr id="101" name="Freeform 100"/>
          <p:cNvSpPr>
            <a:spLocks noChangeArrowheads="1"/>
          </p:cNvSpPr>
          <p:nvPr/>
        </p:nvSpPr>
        <p:spPr bwMode="auto">
          <a:xfrm>
            <a:off x="711136" y="4920775"/>
            <a:ext cx="659508" cy="652579"/>
          </a:xfrm>
          <a:custGeom>
            <a:avLst/>
            <a:gdLst>
              <a:gd name="T0" fmla="*/ 3212 w 13440"/>
              <a:gd name="T1" fmla="*/ 3671 h 13299"/>
              <a:gd name="T2" fmla="*/ 3433 w 13440"/>
              <a:gd name="T3" fmla="*/ 3583 h 13299"/>
              <a:gd name="T4" fmla="*/ 3600 w 13440"/>
              <a:gd name="T5" fmla="*/ 3415 h 13299"/>
              <a:gd name="T6" fmla="*/ 3689 w 13440"/>
              <a:gd name="T7" fmla="*/ 3194 h 13299"/>
              <a:gd name="T8" fmla="*/ 3697 w 13440"/>
              <a:gd name="T9" fmla="*/ 3009 h 13299"/>
              <a:gd name="T10" fmla="*/ 3627 w 13440"/>
              <a:gd name="T11" fmla="*/ 2762 h 13299"/>
              <a:gd name="T12" fmla="*/ 3477 w 13440"/>
              <a:gd name="T13" fmla="*/ 2577 h 13299"/>
              <a:gd name="T14" fmla="*/ 3274 w 13440"/>
              <a:gd name="T15" fmla="*/ 2462 h 13299"/>
              <a:gd name="T16" fmla="*/ 3088 w 13440"/>
              <a:gd name="T17" fmla="*/ 2427 h 13299"/>
              <a:gd name="T18" fmla="*/ 2833 w 13440"/>
              <a:gd name="T19" fmla="*/ 2480 h 13299"/>
              <a:gd name="T20" fmla="*/ 2630 w 13440"/>
              <a:gd name="T21" fmla="*/ 2621 h 13299"/>
              <a:gd name="T22" fmla="*/ 2488 w 13440"/>
              <a:gd name="T23" fmla="*/ 2824 h 13299"/>
              <a:gd name="T24" fmla="*/ 2444 w 13440"/>
              <a:gd name="T25" fmla="*/ 3080 h 13299"/>
              <a:gd name="T26" fmla="*/ 2471 w 13440"/>
              <a:gd name="T27" fmla="*/ 3256 h 13299"/>
              <a:gd name="T28" fmla="*/ 2585 w 13440"/>
              <a:gd name="T29" fmla="*/ 3459 h 13299"/>
              <a:gd name="T30" fmla="*/ 2780 w 13440"/>
              <a:gd name="T31" fmla="*/ 3609 h 13299"/>
              <a:gd name="T32" fmla="*/ 3027 w 13440"/>
              <a:gd name="T33" fmla="*/ 3680 h 13299"/>
              <a:gd name="T34" fmla="*/ 6988 w 13440"/>
              <a:gd name="T35" fmla="*/ 8127 h 13299"/>
              <a:gd name="T36" fmla="*/ 6380 w 13440"/>
              <a:gd name="T37" fmla="*/ 8480 h 13299"/>
              <a:gd name="T38" fmla="*/ 5718 w 13440"/>
              <a:gd name="T39" fmla="*/ 8736 h 13299"/>
              <a:gd name="T40" fmla="*/ 5004 w 13440"/>
              <a:gd name="T41" fmla="*/ 8886 h 13299"/>
              <a:gd name="T42" fmla="*/ 4439 w 13440"/>
              <a:gd name="T43" fmla="*/ 8921 h 13299"/>
              <a:gd name="T44" fmla="*/ 3547 w 13440"/>
              <a:gd name="T45" fmla="*/ 8824 h 13299"/>
              <a:gd name="T46" fmla="*/ 2709 w 13440"/>
              <a:gd name="T47" fmla="*/ 8568 h 13299"/>
              <a:gd name="T48" fmla="*/ 1959 w 13440"/>
              <a:gd name="T49" fmla="*/ 8153 h 13299"/>
              <a:gd name="T50" fmla="*/ 1297 w 13440"/>
              <a:gd name="T51" fmla="*/ 7615 h 13299"/>
              <a:gd name="T52" fmla="*/ 759 w 13440"/>
              <a:gd name="T53" fmla="*/ 6953 h 13299"/>
              <a:gd name="T54" fmla="*/ 344 w 13440"/>
              <a:gd name="T55" fmla="*/ 6195 h 13299"/>
              <a:gd name="T56" fmla="*/ 88 w 13440"/>
              <a:gd name="T57" fmla="*/ 5357 h 13299"/>
              <a:gd name="T58" fmla="*/ 0 w 13440"/>
              <a:gd name="T59" fmla="*/ 4456 h 13299"/>
              <a:gd name="T60" fmla="*/ 44 w 13440"/>
              <a:gd name="T61" fmla="*/ 3777 h 13299"/>
              <a:gd name="T62" fmla="*/ 264 w 13440"/>
              <a:gd name="T63" fmla="*/ 2921 h 13299"/>
              <a:gd name="T64" fmla="*/ 644 w 13440"/>
              <a:gd name="T65" fmla="*/ 2135 h 13299"/>
              <a:gd name="T66" fmla="*/ 1156 w 13440"/>
              <a:gd name="T67" fmla="*/ 1456 h 13299"/>
              <a:gd name="T68" fmla="*/ 1782 w 13440"/>
              <a:gd name="T69" fmla="*/ 882 h 13299"/>
              <a:gd name="T70" fmla="*/ 2515 w 13440"/>
              <a:gd name="T71" fmla="*/ 432 h 13299"/>
              <a:gd name="T72" fmla="*/ 3327 w 13440"/>
              <a:gd name="T73" fmla="*/ 132 h 13299"/>
              <a:gd name="T74" fmla="*/ 4209 w 13440"/>
              <a:gd name="T75" fmla="*/ 0 h 13299"/>
              <a:gd name="T76" fmla="*/ 4898 w 13440"/>
              <a:gd name="T77" fmla="*/ 17 h 13299"/>
              <a:gd name="T78" fmla="*/ 5771 w 13440"/>
              <a:gd name="T79" fmla="*/ 194 h 13299"/>
              <a:gd name="T80" fmla="*/ 6574 w 13440"/>
              <a:gd name="T81" fmla="*/ 529 h 13299"/>
              <a:gd name="T82" fmla="*/ 7288 w 13440"/>
              <a:gd name="T83" fmla="*/ 1015 h 13299"/>
              <a:gd name="T84" fmla="*/ 7897 w 13440"/>
              <a:gd name="T85" fmla="*/ 1615 h 13299"/>
              <a:gd name="T86" fmla="*/ 8383 w 13440"/>
              <a:gd name="T87" fmla="*/ 2329 h 13299"/>
              <a:gd name="T88" fmla="*/ 8718 w 13440"/>
              <a:gd name="T89" fmla="*/ 3124 h 13299"/>
              <a:gd name="T90" fmla="*/ 8894 w 13440"/>
              <a:gd name="T91" fmla="*/ 3997 h 13299"/>
              <a:gd name="T92" fmla="*/ 8912 w 13440"/>
              <a:gd name="T93" fmla="*/ 4642 h 13299"/>
              <a:gd name="T94" fmla="*/ 8833 w 13440"/>
              <a:gd name="T95" fmla="*/ 5321 h 13299"/>
              <a:gd name="T96" fmla="*/ 13439 w 13440"/>
              <a:gd name="T97" fmla="*/ 10456 h 13299"/>
              <a:gd name="T98" fmla="*/ 10748 w 13440"/>
              <a:gd name="T99" fmla="*/ 13298 h 13299"/>
              <a:gd name="T100" fmla="*/ 9000 w 13440"/>
              <a:gd name="T101" fmla="*/ 11471 h 13299"/>
              <a:gd name="T102" fmla="*/ 7129 w 13440"/>
              <a:gd name="T103" fmla="*/ 9689 h 13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3440" h="13299">
                <a:moveTo>
                  <a:pt x="3088" y="3689"/>
                </a:moveTo>
                <a:lnTo>
                  <a:pt x="3088" y="3689"/>
                </a:lnTo>
                <a:lnTo>
                  <a:pt x="3150" y="3680"/>
                </a:lnTo>
                <a:lnTo>
                  <a:pt x="3212" y="3671"/>
                </a:lnTo>
                <a:lnTo>
                  <a:pt x="3274" y="3662"/>
                </a:lnTo>
                <a:lnTo>
                  <a:pt x="3327" y="3636"/>
                </a:lnTo>
                <a:lnTo>
                  <a:pt x="3380" y="3609"/>
                </a:lnTo>
                <a:lnTo>
                  <a:pt x="3433" y="3583"/>
                </a:lnTo>
                <a:lnTo>
                  <a:pt x="3477" y="3547"/>
                </a:lnTo>
                <a:lnTo>
                  <a:pt x="3521" y="3503"/>
                </a:lnTo>
                <a:lnTo>
                  <a:pt x="3556" y="3459"/>
                </a:lnTo>
                <a:lnTo>
                  <a:pt x="3600" y="3415"/>
                </a:lnTo>
                <a:lnTo>
                  <a:pt x="3627" y="3362"/>
                </a:lnTo>
                <a:lnTo>
                  <a:pt x="3653" y="3309"/>
                </a:lnTo>
                <a:lnTo>
                  <a:pt x="3671" y="3256"/>
                </a:lnTo>
                <a:lnTo>
                  <a:pt x="3689" y="3194"/>
                </a:lnTo>
                <a:lnTo>
                  <a:pt x="3697" y="3141"/>
                </a:lnTo>
                <a:lnTo>
                  <a:pt x="3706" y="3080"/>
                </a:lnTo>
                <a:lnTo>
                  <a:pt x="3706" y="3080"/>
                </a:lnTo>
                <a:lnTo>
                  <a:pt x="3697" y="3009"/>
                </a:lnTo>
                <a:lnTo>
                  <a:pt x="3689" y="2947"/>
                </a:lnTo>
                <a:lnTo>
                  <a:pt x="3671" y="2885"/>
                </a:lnTo>
                <a:lnTo>
                  <a:pt x="3653" y="2824"/>
                </a:lnTo>
                <a:lnTo>
                  <a:pt x="3627" y="2762"/>
                </a:lnTo>
                <a:lnTo>
                  <a:pt x="3600" y="2709"/>
                </a:lnTo>
                <a:lnTo>
                  <a:pt x="3556" y="2665"/>
                </a:lnTo>
                <a:lnTo>
                  <a:pt x="3521" y="2621"/>
                </a:lnTo>
                <a:lnTo>
                  <a:pt x="3477" y="2577"/>
                </a:lnTo>
                <a:lnTo>
                  <a:pt x="3433" y="2541"/>
                </a:lnTo>
                <a:lnTo>
                  <a:pt x="3380" y="2506"/>
                </a:lnTo>
                <a:lnTo>
                  <a:pt x="3327" y="2480"/>
                </a:lnTo>
                <a:lnTo>
                  <a:pt x="3274" y="2462"/>
                </a:lnTo>
                <a:lnTo>
                  <a:pt x="3212" y="2444"/>
                </a:lnTo>
                <a:lnTo>
                  <a:pt x="3150" y="2435"/>
                </a:lnTo>
                <a:lnTo>
                  <a:pt x="3088" y="2427"/>
                </a:lnTo>
                <a:lnTo>
                  <a:pt x="3088" y="2427"/>
                </a:lnTo>
                <a:lnTo>
                  <a:pt x="3027" y="2435"/>
                </a:lnTo>
                <a:lnTo>
                  <a:pt x="2956" y="2444"/>
                </a:lnTo>
                <a:lnTo>
                  <a:pt x="2894" y="2462"/>
                </a:lnTo>
                <a:lnTo>
                  <a:pt x="2833" y="2480"/>
                </a:lnTo>
                <a:lnTo>
                  <a:pt x="2780" y="2506"/>
                </a:lnTo>
                <a:lnTo>
                  <a:pt x="2727" y="2541"/>
                </a:lnTo>
                <a:lnTo>
                  <a:pt x="2674" y="2577"/>
                </a:lnTo>
                <a:lnTo>
                  <a:pt x="2630" y="2621"/>
                </a:lnTo>
                <a:lnTo>
                  <a:pt x="2585" y="2665"/>
                </a:lnTo>
                <a:lnTo>
                  <a:pt x="2550" y="2709"/>
                </a:lnTo>
                <a:lnTo>
                  <a:pt x="2515" y="2762"/>
                </a:lnTo>
                <a:lnTo>
                  <a:pt x="2488" y="2824"/>
                </a:lnTo>
                <a:lnTo>
                  <a:pt x="2471" y="2885"/>
                </a:lnTo>
                <a:lnTo>
                  <a:pt x="2453" y="2947"/>
                </a:lnTo>
                <a:lnTo>
                  <a:pt x="2444" y="3009"/>
                </a:lnTo>
                <a:lnTo>
                  <a:pt x="2444" y="3080"/>
                </a:lnTo>
                <a:lnTo>
                  <a:pt x="2444" y="3080"/>
                </a:lnTo>
                <a:lnTo>
                  <a:pt x="2444" y="3141"/>
                </a:lnTo>
                <a:lnTo>
                  <a:pt x="2453" y="3194"/>
                </a:lnTo>
                <a:lnTo>
                  <a:pt x="2471" y="3256"/>
                </a:lnTo>
                <a:lnTo>
                  <a:pt x="2488" y="3309"/>
                </a:lnTo>
                <a:lnTo>
                  <a:pt x="2515" y="3362"/>
                </a:lnTo>
                <a:lnTo>
                  <a:pt x="2550" y="3415"/>
                </a:lnTo>
                <a:lnTo>
                  <a:pt x="2585" y="3459"/>
                </a:lnTo>
                <a:lnTo>
                  <a:pt x="2630" y="3503"/>
                </a:lnTo>
                <a:lnTo>
                  <a:pt x="2674" y="3547"/>
                </a:lnTo>
                <a:lnTo>
                  <a:pt x="2727" y="3583"/>
                </a:lnTo>
                <a:lnTo>
                  <a:pt x="2780" y="3609"/>
                </a:lnTo>
                <a:lnTo>
                  <a:pt x="2833" y="3636"/>
                </a:lnTo>
                <a:lnTo>
                  <a:pt x="2894" y="3662"/>
                </a:lnTo>
                <a:lnTo>
                  <a:pt x="2956" y="3671"/>
                </a:lnTo>
                <a:lnTo>
                  <a:pt x="3027" y="3680"/>
                </a:lnTo>
                <a:lnTo>
                  <a:pt x="3088" y="3689"/>
                </a:lnTo>
                <a:close/>
                <a:moveTo>
                  <a:pt x="7129" y="8021"/>
                </a:moveTo>
                <a:lnTo>
                  <a:pt x="7129" y="8021"/>
                </a:lnTo>
                <a:lnTo>
                  <a:pt x="6988" y="8127"/>
                </a:lnTo>
                <a:lnTo>
                  <a:pt x="6838" y="8224"/>
                </a:lnTo>
                <a:lnTo>
                  <a:pt x="6689" y="8321"/>
                </a:lnTo>
                <a:lnTo>
                  <a:pt x="6539" y="8400"/>
                </a:lnTo>
                <a:lnTo>
                  <a:pt x="6380" y="8480"/>
                </a:lnTo>
                <a:lnTo>
                  <a:pt x="6221" y="8559"/>
                </a:lnTo>
                <a:lnTo>
                  <a:pt x="6054" y="8621"/>
                </a:lnTo>
                <a:lnTo>
                  <a:pt x="5886" y="8683"/>
                </a:lnTo>
                <a:lnTo>
                  <a:pt x="5718" y="8736"/>
                </a:lnTo>
                <a:lnTo>
                  <a:pt x="5542" y="8789"/>
                </a:lnTo>
                <a:lnTo>
                  <a:pt x="5365" y="8824"/>
                </a:lnTo>
                <a:lnTo>
                  <a:pt x="5180" y="8859"/>
                </a:lnTo>
                <a:lnTo>
                  <a:pt x="5004" y="8886"/>
                </a:lnTo>
                <a:lnTo>
                  <a:pt x="4818" y="8903"/>
                </a:lnTo>
                <a:lnTo>
                  <a:pt x="4624" y="8912"/>
                </a:lnTo>
                <a:lnTo>
                  <a:pt x="4439" y="8921"/>
                </a:lnTo>
                <a:lnTo>
                  <a:pt x="4439" y="8921"/>
                </a:lnTo>
                <a:lnTo>
                  <a:pt x="4209" y="8912"/>
                </a:lnTo>
                <a:lnTo>
                  <a:pt x="3989" y="8894"/>
                </a:lnTo>
                <a:lnTo>
                  <a:pt x="3759" y="8868"/>
                </a:lnTo>
                <a:lnTo>
                  <a:pt x="3547" y="8824"/>
                </a:lnTo>
                <a:lnTo>
                  <a:pt x="3327" y="8780"/>
                </a:lnTo>
                <a:lnTo>
                  <a:pt x="3124" y="8718"/>
                </a:lnTo>
                <a:lnTo>
                  <a:pt x="2912" y="8647"/>
                </a:lnTo>
                <a:lnTo>
                  <a:pt x="2709" y="8568"/>
                </a:lnTo>
                <a:lnTo>
                  <a:pt x="2515" y="8480"/>
                </a:lnTo>
                <a:lnTo>
                  <a:pt x="2321" y="8383"/>
                </a:lnTo>
                <a:lnTo>
                  <a:pt x="2135" y="8277"/>
                </a:lnTo>
                <a:lnTo>
                  <a:pt x="1959" y="8153"/>
                </a:lnTo>
                <a:lnTo>
                  <a:pt x="1782" y="8030"/>
                </a:lnTo>
                <a:lnTo>
                  <a:pt x="1615" y="7897"/>
                </a:lnTo>
                <a:lnTo>
                  <a:pt x="1456" y="7765"/>
                </a:lnTo>
                <a:lnTo>
                  <a:pt x="1297" y="7615"/>
                </a:lnTo>
                <a:lnTo>
                  <a:pt x="1156" y="7456"/>
                </a:lnTo>
                <a:lnTo>
                  <a:pt x="1015" y="7297"/>
                </a:lnTo>
                <a:lnTo>
                  <a:pt x="882" y="7129"/>
                </a:lnTo>
                <a:lnTo>
                  <a:pt x="759" y="6953"/>
                </a:lnTo>
                <a:lnTo>
                  <a:pt x="644" y="6776"/>
                </a:lnTo>
                <a:lnTo>
                  <a:pt x="529" y="6583"/>
                </a:lnTo>
                <a:lnTo>
                  <a:pt x="432" y="6398"/>
                </a:lnTo>
                <a:lnTo>
                  <a:pt x="344" y="6195"/>
                </a:lnTo>
                <a:lnTo>
                  <a:pt x="264" y="5992"/>
                </a:lnTo>
                <a:lnTo>
                  <a:pt x="194" y="5789"/>
                </a:lnTo>
                <a:lnTo>
                  <a:pt x="132" y="5577"/>
                </a:lnTo>
                <a:lnTo>
                  <a:pt x="88" y="5357"/>
                </a:lnTo>
                <a:lnTo>
                  <a:pt x="44" y="5136"/>
                </a:lnTo>
                <a:lnTo>
                  <a:pt x="17" y="4915"/>
                </a:lnTo>
                <a:lnTo>
                  <a:pt x="0" y="4686"/>
                </a:lnTo>
                <a:lnTo>
                  <a:pt x="0" y="4456"/>
                </a:lnTo>
                <a:lnTo>
                  <a:pt x="0" y="4456"/>
                </a:lnTo>
                <a:lnTo>
                  <a:pt x="0" y="4227"/>
                </a:lnTo>
                <a:lnTo>
                  <a:pt x="17" y="3997"/>
                </a:lnTo>
                <a:lnTo>
                  <a:pt x="44" y="3777"/>
                </a:lnTo>
                <a:lnTo>
                  <a:pt x="88" y="3556"/>
                </a:lnTo>
                <a:lnTo>
                  <a:pt x="132" y="3336"/>
                </a:lnTo>
                <a:lnTo>
                  <a:pt x="194" y="3124"/>
                </a:lnTo>
                <a:lnTo>
                  <a:pt x="264" y="2921"/>
                </a:lnTo>
                <a:lnTo>
                  <a:pt x="344" y="2718"/>
                </a:lnTo>
                <a:lnTo>
                  <a:pt x="432" y="2515"/>
                </a:lnTo>
                <a:lnTo>
                  <a:pt x="529" y="2329"/>
                </a:lnTo>
                <a:lnTo>
                  <a:pt x="644" y="2135"/>
                </a:lnTo>
                <a:lnTo>
                  <a:pt x="759" y="1959"/>
                </a:lnTo>
                <a:lnTo>
                  <a:pt x="882" y="1782"/>
                </a:lnTo>
                <a:lnTo>
                  <a:pt x="1015" y="1615"/>
                </a:lnTo>
                <a:lnTo>
                  <a:pt x="1156" y="1456"/>
                </a:lnTo>
                <a:lnTo>
                  <a:pt x="1297" y="1297"/>
                </a:lnTo>
                <a:lnTo>
                  <a:pt x="1456" y="1147"/>
                </a:lnTo>
                <a:lnTo>
                  <a:pt x="1615" y="1015"/>
                </a:lnTo>
                <a:lnTo>
                  <a:pt x="1782" y="882"/>
                </a:lnTo>
                <a:lnTo>
                  <a:pt x="1959" y="759"/>
                </a:lnTo>
                <a:lnTo>
                  <a:pt x="2135" y="635"/>
                </a:lnTo>
                <a:lnTo>
                  <a:pt x="2321" y="529"/>
                </a:lnTo>
                <a:lnTo>
                  <a:pt x="2515" y="432"/>
                </a:lnTo>
                <a:lnTo>
                  <a:pt x="2709" y="344"/>
                </a:lnTo>
                <a:lnTo>
                  <a:pt x="2912" y="264"/>
                </a:lnTo>
                <a:lnTo>
                  <a:pt x="3124" y="194"/>
                </a:lnTo>
                <a:lnTo>
                  <a:pt x="3327" y="132"/>
                </a:lnTo>
                <a:lnTo>
                  <a:pt x="3547" y="88"/>
                </a:lnTo>
                <a:lnTo>
                  <a:pt x="3759" y="44"/>
                </a:lnTo>
                <a:lnTo>
                  <a:pt x="3989" y="17"/>
                </a:lnTo>
                <a:lnTo>
                  <a:pt x="4209" y="0"/>
                </a:lnTo>
                <a:lnTo>
                  <a:pt x="4439" y="0"/>
                </a:lnTo>
                <a:lnTo>
                  <a:pt x="4439" y="0"/>
                </a:lnTo>
                <a:lnTo>
                  <a:pt x="4668" y="0"/>
                </a:lnTo>
                <a:lnTo>
                  <a:pt x="4898" y="17"/>
                </a:lnTo>
                <a:lnTo>
                  <a:pt x="5118" y="44"/>
                </a:lnTo>
                <a:lnTo>
                  <a:pt x="5348" y="88"/>
                </a:lnTo>
                <a:lnTo>
                  <a:pt x="5559" y="132"/>
                </a:lnTo>
                <a:lnTo>
                  <a:pt x="5771" y="194"/>
                </a:lnTo>
                <a:lnTo>
                  <a:pt x="5983" y="264"/>
                </a:lnTo>
                <a:lnTo>
                  <a:pt x="6186" y="344"/>
                </a:lnTo>
                <a:lnTo>
                  <a:pt x="6389" y="432"/>
                </a:lnTo>
                <a:lnTo>
                  <a:pt x="6574" y="529"/>
                </a:lnTo>
                <a:lnTo>
                  <a:pt x="6768" y="635"/>
                </a:lnTo>
                <a:lnTo>
                  <a:pt x="6944" y="759"/>
                </a:lnTo>
                <a:lnTo>
                  <a:pt x="7121" y="882"/>
                </a:lnTo>
                <a:lnTo>
                  <a:pt x="7288" y="1015"/>
                </a:lnTo>
                <a:lnTo>
                  <a:pt x="7456" y="1147"/>
                </a:lnTo>
                <a:lnTo>
                  <a:pt x="7606" y="1297"/>
                </a:lnTo>
                <a:lnTo>
                  <a:pt x="7756" y="1456"/>
                </a:lnTo>
                <a:lnTo>
                  <a:pt x="7897" y="1615"/>
                </a:lnTo>
                <a:lnTo>
                  <a:pt x="8030" y="1782"/>
                </a:lnTo>
                <a:lnTo>
                  <a:pt x="8153" y="1959"/>
                </a:lnTo>
                <a:lnTo>
                  <a:pt x="8268" y="2135"/>
                </a:lnTo>
                <a:lnTo>
                  <a:pt x="8383" y="2329"/>
                </a:lnTo>
                <a:lnTo>
                  <a:pt x="8480" y="2515"/>
                </a:lnTo>
                <a:lnTo>
                  <a:pt x="8568" y="2718"/>
                </a:lnTo>
                <a:lnTo>
                  <a:pt x="8647" y="2921"/>
                </a:lnTo>
                <a:lnTo>
                  <a:pt x="8718" y="3124"/>
                </a:lnTo>
                <a:lnTo>
                  <a:pt x="8780" y="3336"/>
                </a:lnTo>
                <a:lnTo>
                  <a:pt x="8824" y="3556"/>
                </a:lnTo>
                <a:lnTo>
                  <a:pt x="8868" y="3777"/>
                </a:lnTo>
                <a:lnTo>
                  <a:pt x="8894" y="3997"/>
                </a:lnTo>
                <a:lnTo>
                  <a:pt x="8912" y="4227"/>
                </a:lnTo>
                <a:lnTo>
                  <a:pt x="8921" y="4456"/>
                </a:lnTo>
                <a:lnTo>
                  <a:pt x="8921" y="4456"/>
                </a:lnTo>
                <a:lnTo>
                  <a:pt x="8912" y="4642"/>
                </a:lnTo>
                <a:lnTo>
                  <a:pt x="8903" y="4818"/>
                </a:lnTo>
                <a:lnTo>
                  <a:pt x="8886" y="4986"/>
                </a:lnTo>
                <a:lnTo>
                  <a:pt x="8859" y="5154"/>
                </a:lnTo>
                <a:lnTo>
                  <a:pt x="8833" y="5321"/>
                </a:lnTo>
                <a:lnTo>
                  <a:pt x="8797" y="5480"/>
                </a:lnTo>
                <a:lnTo>
                  <a:pt x="8718" y="5798"/>
                </a:lnTo>
                <a:lnTo>
                  <a:pt x="8718" y="5798"/>
                </a:lnTo>
                <a:lnTo>
                  <a:pt x="13439" y="10456"/>
                </a:lnTo>
                <a:lnTo>
                  <a:pt x="13439" y="10456"/>
                </a:lnTo>
                <a:lnTo>
                  <a:pt x="13439" y="13298"/>
                </a:lnTo>
                <a:lnTo>
                  <a:pt x="13439" y="13298"/>
                </a:lnTo>
                <a:lnTo>
                  <a:pt x="10748" y="13298"/>
                </a:lnTo>
                <a:lnTo>
                  <a:pt x="10748" y="13298"/>
                </a:lnTo>
                <a:lnTo>
                  <a:pt x="10748" y="11471"/>
                </a:lnTo>
                <a:lnTo>
                  <a:pt x="10748" y="11471"/>
                </a:lnTo>
                <a:lnTo>
                  <a:pt x="9000" y="11471"/>
                </a:lnTo>
                <a:lnTo>
                  <a:pt x="9000" y="11471"/>
                </a:lnTo>
                <a:lnTo>
                  <a:pt x="9000" y="9689"/>
                </a:lnTo>
                <a:lnTo>
                  <a:pt x="9000" y="9689"/>
                </a:lnTo>
                <a:lnTo>
                  <a:pt x="7129" y="9689"/>
                </a:lnTo>
                <a:lnTo>
                  <a:pt x="7129" y="8021"/>
                </a:lnTo>
                <a:close/>
              </a:path>
            </a:pathLst>
          </a:custGeom>
          <a:noFill/>
          <a:ln w="28575" cap="flat">
            <a:solidFill>
              <a:srgbClr val="001F50"/>
            </a:solidFill>
            <a:bevel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32597">
              <a:defRPr/>
            </a:pPr>
            <a:endParaRPr lang="en-US" sz="1836">
              <a:solidFill>
                <a:srgbClr val="505050"/>
              </a:solidFill>
              <a:latin typeface="Segoe UI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EA67D13E-22CD-4486-A9F2-CD3317A182A1}"/>
              </a:ext>
            </a:extLst>
          </p:cNvPr>
          <p:cNvSpPr/>
          <p:nvPr/>
        </p:nvSpPr>
        <p:spPr>
          <a:xfrm>
            <a:off x="607542" y="3164637"/>
            <a:ext cx="845579" cy="345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1599" kern="0" spc="50">
                <a:solidFill>
                  <a:srgbClr val="353535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ybrid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1F09D33A-7652-4476-AC65-D2723CB89576}"/>
              </a:ext>
            </a:extLst>
          </p:cNvPr>
          <p:cNvSpPr/>
          <p:nvPr/>
        </p:nvSpPr>
        <p:spPr>
          <a:xfrm>
            <a:off x="413806" y="1826914"/>
            <a:ext cx="1233053" cy="345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1599" kern="0" spc="50">
                <a:solidFill>
                  <a:srgbClr val="353535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ductive</a:t>
            </a:r>
          </a:p>
        </p:txBody>
      </p:sp>
      <p:sp>
        <p:nvSpPr>
          <p:cNvPr id="94" name="speedometer_2">
            <a:extLst>
              <a:ext uri="{FF2B5EF4-FFF2-40B4-BE49-F238E27FC236}">
                <a16:creationId xmlns:a16="http://schemas.microsoft.com/office/drawing/2014/main" id="{C66B6F8E-3B6A-4D8E-AF1A-5DB38875608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17775" y="1183560"/>
            <a:ext cx="439680" cy="439678"/>
          </a:xfrm>
          <a:custGeom>
            <a:avLst/>
            <a:gdLst>
              <a:gd name="T0" fmla="*/ 155 w 281"/>
              <a:gd name="T1" fmla="*/ 155 h 281"/>
              <a:gd name="T2" fmla="*/ 126 w 281"/>
              <a:gd name="T3" fmla="*/ 155 h 281"/>
              <a:gd name="T4" fmla="*/ 126 w 281"/>
              <a:gd name="T5" fmla="*/ 126 h 281"/>
              <a:gd name="T6" fmla="*/ 155 w 281"/>
              <a:gd name="T7" fmla="*/ 126 h 281"/>
              <a:gd name="T8" fmla="*/ 155 w 281"/>
              <a:gd name="T9" fmla="*/ 155 h 281"/>
              <a:gd name="T10" fmla="*/ 140 w 281"/>
              <a:gd name="T11" fmla="*/ 0 h 281"/>
              <a:gd name="T12" fmla="*/ 0 w 281"/>
              <a:gd name="T13" fmla="*/ 141 h 281"/>
              <a:gd name="T14" fmla="*/ 140 w 281"/>
              <a:gd name="T15" fmla="*/ 281 h 281"/>
              <a:gd name="T16" fmla="*/ 281 w 281"/>
              <a:gd name="T17" fmla="*/ 141 h 281"/>
              <a:gd name="T18" fmla="*/ 140 w 281"/>
              <a:gd name="T19" fmla="*/ 0 h 281"/>
              <a:gd name="T20" fmla="*/ 214 w 281"/>
              <a:gd name="T21" fmla="*/ 210 h 281"/>
              <a:gd name="T22" fmla="*/ 241 w 281"/>
              <a:gd name="T23" fmla="*/ 141 h 281"/>
              <a:gd name="T24" fmla="*/ 235 w 281"/>
              <a:gd name="T25" fmla="*/ 105 h 281"/>
              <a:gd name="T26" fmla="*/ 174 w 281"/>
              <a:gd name="T27" fmla="*/ 45 h 281"/>
              <a:gd name="T28" fmla="*/ 140 w 281"/>
              <a:gd name="T29" fmla="*/ 40 h 281"/>
              <a:gd name="T30" fmla="*/ 40 w 281"/>
              <a:gd name="T31" fmla="*/ 141 h 281"/>
              <a:gd name="T32" fmla="*/ 67 w 281"/>
              <a:gd name="T33" fmla="*/ 210 h 281"/>
              <a:gd name="T34" fmla="*/ 212 w 281"/>
              <a:gd name="T35" fmla="*/ 69 h 281"/>
              <a:gd name="T36" fmla="*/ 157 w 281"/>
              <a:gd name="T37" fmla="*/ 124 h 2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81" h="281">
                <a:moveTo>
                  <a:pt x="155" y="155"/>
                </a:moveTo>
                <a:cubicBezTo>
                  <a:pt x="147" y="164"/>
                  <a:pt x="134" y="164"/>
                  <a:pt x="126" y="155"/>
                </a:cubicBezTo>
                <a:cubicBezTo>
                  <a:pt x="117" y="147"/>
                  <a:pt x="117" y="134"/>
                  <a:pt x="126" y="126"/>
                </a:cubicBezTo>
                <a:cubicBezTo>
                  <a:pt x="134" y="118"/>
                  <a:pt x="147" y="117"/>
                  <a:pt x="155" y="126"/>
                </a:cubicBezTo>
                <a:cubicBezTo>
                  <a:pt x="164" y="134"/>
                  <a:pt x="164" y="147"/>
                  <a:pt x="155" y="155"/>
                </a:cubicBezTo>
                <a:close/>
                <a:moveTo>
                  <a:pt x="140" y="0"/>
                </a:moveTo>
                <a:cubicBezTo>
                  <a:pt x="63" y="0"/>
                  <a:pt x="0" y="63"/>
                  <a:pt x="0" y="141"/>
                </a:cubicBezTo>
                <a:cubicBezTo>
                  <a:pt x="0" y="218"/>
                  <a:pt x="63" y="281"/>
                  <a:pt x="140" y="281"/>
                </a:cubicBezTo>
                <a:cubicBezTo>
                  <a:pt x="218" y="281"/>
                  <a:pt x="281" y="218"/>
                  <a:pt x="281" y="141"/>
                </a:cubicBezTo>
                <a:cubicBezTo>
                  <a:pt x="281" y="63"/>
                  <a:pt x="218" y="0"/>
                  <a:pt x="140" y="0"/>
                </a:cubicBezTo>
                <a:close/>
                <a:moveTo>
                  <a:pt x="214" y="210"/>
                </a:moveTo>
                <a:cubicBezTo>
                  <a:pt x="231" y="192"/>
                  <a:pt x="241" y="168"/>
                  <a:pt x="241" y="141"/>
                </a:cubicBezTo>
                <a:cubicBezTo>
                  <a:pt x="241" y="128"/>
                  <a:pt x="239" y="116"/>
                  <a:pt x="235" y="105"/>
                </a:cubicBezTo>
                <a:moveTo>
                  <a:pt x="174" y="45"/>
                </a:moveTo>
                <a:cubicBezTo>
                  <a:pt x="163" y="42"/>
                  <a:pt x="152" y="40"/>
                  <a:pt x="140" y="40"/>
                </a:cubicBezTo>
                <a:cubicBezTo>
                  <a:pt x="85" y="40"/>
                  <a:pt x="40" y="85"/>
                  <a:pt x="40" y="141"/>
                </a:cubicBezTo>
                <a:cubicBezTo>
                  <a:pt x="40" y="168"/>
                  <a:pt x="50" y="192"/>
                  <a:pt x="67" y="210"/>
                </a:cubicBezTo>
                <a:moveTo>
                  <a:pt x="212" y="69"/>
                </a:moveTo>
                <a:cubicBezTo>
                  <a:pt x="157" y="124"/>
                  <a:pt x="157" y="124"/>
                  <a:pt x="157" y="124"/>
                </a:cubicBezTo>
              </a:path>
            </a:pathLst>
          </a:custGeom>
          <a:noFill/>
          <a:ln w="28575">
            <a:solidFill>
              <a:srgbClr val="B3B2B4"/>
            </a:solidFill>
            <a:headEnd type="none" w="med" len="med"/>
            <a:tailEnd type="none" w="med" len="med"/>
          </a:ln>
          <a:effectLst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407C8F82-925F-4342-9824-1D96908E08E1}"/>
              </a:ext>
            </a:extLst>
          </p:cNvPr>
          <p:cNvGrpSpPr/>
          <p:nvPr/>
        </p:nvGrpSpPr>
        <p:grpSpPr>
          <a:xfrm>
            <a:off x="791606" y="2574304"/>
            <a:ext cx="460244" cy="449535"/>
            <a:chOff x="2088630" y="3287843"/>
            <a:chExt cx="429718" cy="419725"/>
          </a:xfrm>
          <a:noFill/>
        </p:grpSpPr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9220230F-20DF-40DA-A6AA-6C38E47DBA31}"/>
                </a:ext>
              </a:extLst>
            </p:cNvPr>
            <p:cNvSpPr/>
            <p:nvPr/>
          </p:nvSpPr>
          <p:spPr bwMode="auto">
            <a:xfrm>
              <a:off x="2213548" y="3287843"/>
              <a:ext cx="304800" cy="304800"/>
            </a:xfrm>
            <a:prstGeom prst="rect">
              <a:avLst/>
            </a:prstGeom>
            <a:noFill/>
            <a:ln w="28575">
              <a:solidFill>
                <a:srgbClr val="B3B2B4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" pitchFamily="34" charset="0"/>
              </a:endParaRPr>
            </a:p>
          </p:txBody>
        </p:sp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45BA0F79-6846-48AF-8284-BFA9A30557EE}"/>
                </a:ext>
              </a:extLst>
            </p:cNvPr>
            <p:cNvSpPr/>
            <p:nvPr/>
          </p:nvSpPr>
          <p:spPr bwMode="auto">
            <a:xfrm>
              <a:off x="2088630" y="3402768"/>
              <a:ext cx="304800" cy="304800"/>
            </a:xfrm>
            <a:prstGeom prst="rect">
              <a:avLst/>
            </a:prstGeom>
            <a:noFill/>
            <a:ln w="28575">
              <a:solidFill>
                <a:srgbClr val="B3B2B4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" pitchFamily="34" charset="0"/>
              </a:endParaRPr>
            </a:p>
          </p:txBody>
        </p:sp>
      </p:grpSp>
      <p:pic>
        <p:nvPicPr>
          <p:cNvPr id="32" name="Picture 28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22641" y="3023163"/>
            <a:ext cx="624352" cy="556190"/>
          </a:xfrm>
          <a:prstGeom prst="rect">
            <a:avLst/>
          </a:prstGeom>
        </p:spPr>
      </p:pic>
      <p:sp>
        <p:nvSpPr>
          <p:cNvPr id="33" name="Rectangle 32"/>
          <p:cNvSpPr/>
          <p:nvPr/>
        </p:nvSpPr>
        <p:spPr>
          <a:xfrm>
            <a:off x="11029056" y="3603852"/>
            <a:ext cx="811521" cy="3502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582215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HIPAA / HITECH Act</a:t>
            </a:r>
          </a:p>
        </p:txBody>
      </p:sp>
      <p:sp>
        <p:nvSpPr>
          <p:cNvPr id="34" name="Rectangle 33"/>
          <p:cNvSpPr/>
          <p:nvPr/>
        </p:nvSpPr>
        <p:spPr>
          <a:xfrm>
            <a:off x="8445204" y="4537601"/>
            <a:ext cx="756846" cy="2221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582215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FERPA</a:t>
            </a:r>
          </a:p>
        </p:txBody>
      </p:sp>
      <p:pic>
        <p:nvPicPr>
          <p:cNvPr id="40" name="Picture 39"/>
          <p:cNvPicPr>
            <a:picLocks noChangeAspect="1"/>
          </p:cNvPicPr>
          <p:nvPr/>
        </p:nvPicPr>
        <p:blipFill>
          <a:blip r:embed="rId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04033" y="4042444"/>
            <a:ext cx="439189" cy="439189"/>
          </a:xfrm>
          <a:prstGeom prst="rect">
            <a:avLst/>
          </a:prstGeom>
        </p:spPr>
      </p:pic>
      <p:pic>
        <p:nvPicPr>
          <p:cNvPr id="41" name="Picture 40"/>
          <p:cNvPicPr>
            <a:picLocks noChangeAspect="1"/>
          </p:cNvPicPr>
          <p:nvPr/>
        </p:nvPicPr>
        <p:blipFill>
          <a:blip r:embed="rId5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1080" y="4147029"/>
            <a:ext cx="570289" cy="230018"/>
          </a:xfrm>
          <a:prstGeom prst="rect">
            <a:avLst/>
          </a:prstGeom>
        </p:spPr>
      </p:pic>
      <p:sp>
        <p:nvSpPr>
          <p:cNvPr id="42" name="Rectangle 41"/>
          <p:cNvSpPr/>
          <p:nvPr/>
        </p:nvSpPr>
        <p:spPr>
          <a:xfrm>
            <a:off x="4109231" y="4537600"/>
            <a:ext cx="1093987" cy="3502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582215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GxP</a:t>
            </a:r>
          </a:p>
          <a:p>
            <a:pPr algn="ctr" defTabSz="582215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21 CFR Part 11</a:t>
            </a:r>
          </a:p>
        </p:txBody>
      </p:sp>
      <p:pic>
        <p:nvPicPr>
          <p:cNvPr id="43" name="Picture 42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4212" y="982820"/>
            <a:ext cx="540176" cy="541318"/>
          </a:xfrm>
          <a:prstGeom prst="rect">
            <a:avLst/>
          </a:prstGeom>
        </p:spPr>
      </p:pic>
      <p:sp>
        <p:nvSpPr>
          <p:cNvPr id="44" name="Rectangle 43"/>
          <p:cNvSpPr/>
          <p:nvPr/>
        </p:nvSpPr>
        <p:spPr>
          <a:xfrm>
            <a:off x="2995040" y="1579994"/>
            <a:ext cx="578521" cy="153845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algn="ctr" defTabSz="608913" fontAlgn="ctr">
              <a:defRPr/>
            </a:pPr>
            <a:r>
              <a:rPr lang="en-US" sz="816" b="1" kern="0" dirty="0">
                <a:solidFill>
                  <a:srgbClr val="505050"/>
                </a:solidFill>
                <a:latin typeface="Segoe UI Semilight"/>
              </a:rPr>
              <a:t>ISO 27001</a:t>
            </a:r>
          </a:p>
        </p:txBody>
      </p:sp>
      <p:pic>
        <p:nvPicPr>
          <p:cNvPr id="45" name="Picture 44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4303" y="984961"/>
            <a:ext cx="586614" cy="537038"/>
          </a:xfrm>
          <a:prstGeom prst="rect">
            <a:avLst/>
          </a:prstGeom>
        </p:spPr>
      </p:pic>
      <p:sp>
        <p:nvSpPr>
          <p:cNvPr id="47" name="Rectangle 46"/>
          <p:cNvSpPr/>
          <p:nvPr/>
        </p:nvSpPr>
        <p:spPr>
          <a:xfrm>
            <a:off x="11037005" y="1579994"/>
            <a:ext cx="761211" cy="153845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algn="ctr" defTabSz="608913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SOC 1 Type 2</a:t>
            </a:r>
          </a:p>
        </p:txBody>
      </p:sp>
      <p:pic>
        <p:nvPicPr>
          <p:cNvPr id="48" name="Picture 14" descr="http://www.theauditpeople.com/sites/default/files/pictures/iso-logo.png"/>
          <p:cNvPicPr>
            <a:picLocks noChangeAspect="1" noChangeArrowheads="1"/>
          </p:cNvPicPr>
          <p:nvPr/>
        </p:nvPicPr>
        <p:blipFill>
          <a:blip r:embed="rId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8363" y="1027616"/>
            <a:ext cx="597884" cy="451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Rectangle 48"/>
          <p:cNvSpPr/>
          <p:nvPr/>
        </p:nvSpPr>
        <p:spPr>
          <a:xfrm>
            <a:off x="4998045" y="1579994"/>
            <a:ext cx="578520" cy="153845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algn="ctr" defTabSz="608913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ISO 27018</a:t>
            </a:r>
          </a:p>
        </p:txBody>
      </p:sp>
      <p:pic>
        <p:nvPicPr>
          <p:cNvPr id="50" name="Picture 49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4070" y="1969748"/>
            <a:ext cx="793853" cy="304393"/>
          </a:xfrm>
          <a:prstGeom prst="rect">
            <a:avLst/>
          </a:prstGeom>
        </p:spPr>
      </p:pic>
      <p:sp>
        <p:nvSpPr>
          <p:cNvPr id="51" name="Rectangle 50"/>
          <p:cNvSpPr/>
          <p:nvPr/>
        </p:nvSpPr>
        <p:spPr>
          <a:xfrm>
            <a:off x="6868725" y="2394024"/>
            <a:ext cx="844544" cy="307690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algn="ctr" defTabSz="608913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CSA STAR</a:t>
            </a:r>
          </a:p>
          <a:p>
            <a:pPr algn="ctr" defTabSz="608913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Self-Assessment</a:t>
            </a:r>
          </a:p>
          <a:p>
            <a:pPr algn="ctr" defTabSz="608913" fontAlgn="ctr">
              <a:defRPr/>
            </a:pPr>
            <a:endParaRPr lang="en-US" sz="816" b="1" kern="0">
              <a:solidFill>
                <a:srgbClr val="505050"/>
              </a:solidFill>
              <a:latin typeface="Segoe UI Semilight"/>
            </a:endParaRPr>
          </a:p>
        </p:txBody>
      </p:sp>
      <p:pic>
        <p:nvPicPr>
          <p:cNvPr id="52" name="Picture 51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4434" y="5241668"/>
            <a:ext cx="660412" cy="216137"/>
          </a:xfrm>
          <a:prstGeom prst="rect">
            <a:avLst/>
          </a:prstGeom>
        </p:spPr>
      </p:pic>
      <p:sp>
        <p:nvSpPr>
          <p:cNvPr id="53" name="Rectangle 52"/>
          <p:cNvSpPr/>
          <p:nvPr/>
        </p:nvSpPr>
        <p:spPr>
          <a:xfrm>
            <a:off x="9039832" y="5585424"/>
            <a:ext cx="629615" cy="31830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Singapore</a:t>
            </a:r>
          </a:p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MTCS</a:t>
            </a:r>
          </a:p>
        </p:txBody>
      </p:sp>
      <p:sp>
        <p:nvSpPr>
          <p:cNvPr id="54" name="Rectangle 53"/>
          <p:cNvSpPr/>
          <p:nvPr/>
        </p:nvSpPr>
        <p:spPr>
          <a:xfrm>
            <a:off x="5109421" y="5585424"/>
            <a:ext cx="573554" cy="31830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UK </a:t>
            </a:r>
          </a:p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G-Cloud</a:t>
            </a:r>
          </a:p>
        </p:txBody>
      </p:sp>
      <p:pic>
        <p:nvPicPr>
          <p:cNvPr id="55" name="Picture 54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3343" y="5166883"/>
            <a:ext cx="365708" cy="365707"/>
          </a:xfrm>
          <a:prstGeom prst="rect">
            <a:avLst/>
          </a:prstGeom>
        </p:spPr>
      </p:pic>
      <p:sp>
        <p:nvSpPr>
          <p:cNvPr id="56" name="Rectangle 55"/>
          <p:cNvSpPr/>
          <p:nvPr/>
        </p:nvSpPr>
        <p:spPr>
          <a:xfrm>
            <a:off x="10021857" y="5582295"/>
            <a:ext cx="651423" cy="31835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Australia</a:t>
            </a:r>
          </a:p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IRAP/CCSL</a:t>
            </a:r>
          </a:p>
        </p:txBody>
      </p:sp>
      <p:pic>
        <p:nvPicPr>
          <p:cNvPr id="57" name="Picture 56" descr="IRAP logo">
            <a:hlinkClick r:id="rId12"/>
          </p:cNvPr>
          <p:cNvPicPr/>
          <p:nvPr/>
        </p:nvPicPr>
        <p:blipFill>
          <a:blip r:embed="rId1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07893" y="5191388"/>
            <a:ext cx="479352" cy="316693"/>
          </a:xfrm>
          <a:prstGeom prst="rect">
            <a:avLst/>
          </a:prstGeom>
          <a:noFill/>
          <a:ln>
            <a:noFill/>
          </a:ln>
        </p:spPr>
      </p:pic>
      <p:pic>
        <p:nvPicPr>
          <p:cNvPr id="58" name="Picture 57" descr="FISC : The Center for Financial Industry Infomation System">
            <a:hlinkClick r:id="rId14" tooltip="&quot;FISC HOME&quot;"/>
          </p:cNvPr>
          <p:cNvPicPr/>
          <p:nvPr/>
        </p:nvPicPr>
        <p:blipFill rotWithShape="1">
          <a:blip r:embed="rId15" cstate="screen">
            <a:clrChange>
              <a:clrFrom>
                <a:srgbClr val="FFFFFB"/>
              </a:clrFrom>
              <a:clrTo>
                <a:srgbClr val="FFFFF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9847825" y="3184581"/>
            <a:ext cx="562530" cy="233357"/>
          </a:xfrm>
          <a:prstGeom prst="rect">
            <a:avLst/>
          </a:prstGeom>
          <a:noFill/>
          <a:ln>
            <a:noFill/>
          </a:ln>
        </p:spPr>
      </p:pic>
      <p:sp>
        <p:nvSpPr>
          <p:cNvPr id="59" name="Rectangle 58"/>
          <p:cNvSpPr/>
          <p:nvPr/>
        </p:nvSpPr>
        <p:spPr>
          <a:xfrm>
            <a:off x="9741950" y="3603853"/>
            <a:ext cx="774281" cy="2221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582215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FISC Japan</a:t>
            </a:r>
          </a:p>
        </p:txBody>
      </p:sp>
      <p:pic>
        <p:nvPicPr>
          <p:cNvPr id="60" name="Picture 59" descr="http://ts1.mm.bing.net/th?&amp;id=HN.607999990459468225&amp;w=300&amp;h=300&amp;c=0&amp;pid=1.9&amp;rs=0&amp;p=0"/>
          <p:cNvPicPr/>
          <p:nvPr/>
        </p:nvPicPr>
        <p:blipFill>
          <a:blip r:embed="rId1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82501" y="5127444"/>
            <a:ext cx="486587" cy="444584"/>
          </a:xfrm>
          <a:prstGeom prst="rect">
            <a:avLst/>
          </a:prstGeom>
          <a:noFill/>
          <a:ln>
            <a:noFill/>
          </a:ln>
        </p:spPr>
      </p:pic>
      <p:sp>
        <p:nvSpPr>
          <p:cNvPr id="61" name="Rectangle 60"/>
          <p:cNvSpPr/>
          <p:nvPr/>
        </p:nvSpPr>
        <p:spPr>
          <a:xfrm>
            <a:off x="11017918" y="5585424"/>
            <a:ext cx="815752" cy="31830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 New Zealand </a:t>
            </a:r>
          </a:p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GCIO</a:t>
            </a:r>
          </a:p>
        </p:txBody>
      </p:sp>
      <p:pic>
        <p:nvPicPr>
          <p:cNvPr id="62" name="Picture 8" descr="image002"/>
          <p:cNvPicPr>
            <a:picLocks noChangeAspect="1" noChangeArrowheads="1"/>
          </p:cNvPicPr>
          <p:nvPr/>
        </p:nvPicPr>
        <p:blipFill>
          <a:blip r:embed="rId17" cstate="screen">
            <a:clrChange>
              <a:clrFrom>
                <a:srgbClr val="FFFFFD"/>
              </a:clrFrom>
              <a:clrTo>
                <a:srgbClr val="FFFF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80606" y="5128560"/>
            <a:ext cx="442356" cy="4423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3" name="Rectangle 62"/>
          <p:cNvSpPr/>
          <p:nvPr/>
        </p:nvSpPr>
        <p:spPr>
          <a:xfrm>
            <a:off x="7091302" y="5585424"/>
            <a:ext cx="620966" cy="31830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China</a:t>
            </a:r>
          </a:p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GB 18030</a:t>
            </a:r>
          </a:p>
        </p:txBody>
      </p:sp>
      <p:sp>
        <p:nvSpPr>
          <p:cNvPr id="64" name="Rectangle 63"/>
          <p:cNvSpPr/>
          <p:nvPr/>
        </p:nvSpPr>
        <p:spPr>
          <a:xfrm>
            <a:off x="3964721" y="5582295"/>
            <a:ext cx="808137" cy="31835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EU</a:t>
            </a:r>
          </a:p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Model Clauses</a:t>
            </a:r>
          </a:p>
        </p:txBody>
      </p:sp>
      <p:pic>
        <p:nvPicPr>
          <p:cNvPr id="65" name="Picture 64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6521" y="5154131"/>
            <a:ext cx="564538" cy="391207"/>
          </a:xfrm>
          <a:prstGeom prst="rect">
            <a:avLst/>
          </a:prstGeom>
        </p:spPr>
      </p:pic>
      <p:sp>
        <p:nvSpPr>
          <p:cNvPr id="66" name="Rectangle 65"/>
          <p:cNvSpPr/>
          <p:nvPr/>
        </p:nvSpPr>
        <p:spPr>
          <a:xfrm>
            <a:off x="4115662" y="6519436"/>
            <a:ext cx="506253" cy="31830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ENISA</a:t>
            </a:r>
          </a:p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IAF</a:t>
            </a:r>
          </a:p>
        </p:txBody>
      </p:sp>
      <p:pic>
        <p:nvPicPr>
          <p:cNvPr id="67" name="Picture 66"/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6703" y="6083869"/>
            <a:ext cx="424174" cy="400420"/>
          </a:xfrm>
          <a:prstGeom prst="rect">
            <a:avLst/>
          </a:prstGeom>
        </p:spPr>
      </p:pic>
      <p:pic>
        <p:nvPicPr>
          <p:cNvPr id="68" name="Picture 67"/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0330" y="5218446"/>
            <a:ext cx="437874" cy="262583"/>
          </a:xfrm>
          <a:prstGeom prst="rect">
            <a:avLst/>
          </a:prstGeom>
        </p:spPr>
      </p:pic>
      <p:sp>
        <p:nvSpPr>
          <p:cNvPr id="69" name="Rectangle 68"/>
          <p:cNvSpPr/>
          <p:nvPr/>
        </p:nvSpPr>
        <p:spPr>
          <a:xfrm>
            <a:off x="2910742" y="5585424"/>
            <a:ext cx="677049" cy="31830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Argentina </a:t>
            </a:r>
            <a:br>
              <a:rPr lang="en-US" sz="714" b="1" kern="0">
                <a:solidFill>
                  <a:srgbClr val="505050"/>
                </a:solidFill>
                <a:latin typeface="Segoe UI Semilight"/>
              </a:rPr>
            </a:b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PDPA</a:t>
            </a:r>
          </a:p>
        </p:txBody>
      </p:sp>
      <p:pic>
        <p:nvPicPr>
          <p:cNvPr id="70" name="Picture 69" descr="http://jcispa.jasa.jp/wp/wp-content/themes/jcispa_academica/images/fig_cslogo01.png"/>
          <p:cNvPicPr/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8010" y="6109672"/>
            <a:ext cx="396376" cy="348809"/>
          </a:xfrm>
          <a:prstGeom prst="rect">
            <a:avLst/>
          </a:prstGeom>
          <a:noFill/>
          <a:ln>
            <a:noFill/>
          </a:ln>
        </p:spPr>
      </p:pic>
      <p:sp>
        <p:nvSpPr>
          <p:cNvPr id="71" name="Rectangle 70"/>
          <p:cNvSpPr/>
          <p:nvPr/>
        </p:nvSpPr>
        <p:spPr>
          <a:xfrm>
            <a:off x="5074814" y="6516307"/>
            <a:ext cx="642767" cy="31835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Japan CS Mark Gold</a:t>
            </a:r>
          </a:p>
        </p:txBody>
      </p:sp>
      <p:pic>
        <p:nvPicPr>
          <p:cNvPr id="72" name="Picture 71"/>
          <p:cNvPicPr>
            <a:picLocks noChangeAspect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1303" y="3036338"/>
            <a:ext cx="529842" cy="529842"/>
          </a:xfrm>
          <a:prstGeom prst="rect">
            <a:avLst/>
          </a:prstGeom>
        </p:spPr>
      </p:pic>
      <p:sp>
        <p:nvSpPr>
          <p:cNvPr id="73" name="Rectangle 72"/>
          <p:cNvSpPr/>
          <p:nvPr/>
        </p:nvSpPr>
        <p:spPr>
          <a:xfrm>
            <a:off x="4325315" y="3603853"/>
            <a:ext cx="661818" cy="152765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algn="ctr" defTabSz="608913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CDSA</a:t>
            </a:r>
          </a:p>
        </p:txBody>
      </p:sp>
      <p:sp>
        <p:nvSpPr>
          <p:cNvPr id="74" name="Rectangle 73"/>
          <p:cNvSpPr/>
          <p:nvPr/>
        </p:nvSpPr>
        <p:spPr>
          <a:xfrm>
            <a:off x="8419786" y="3603852"/>
            <a:ext cx="807682" cy="307690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algn="ctr" defTabSz="608913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Shared</a:t>
            </a:r>
          </a:p>
          <a:p>
            <a:pPr algn="ctr" defTabSz="608913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Assessments</a:t>
            </a:r>
          </a:p>
        </p:txBody>
      </p:sp>
      <p:pic>
        <p:nvPicPr>
          <p:cNvPr id="75" name="Picture 74"/>
          <p:cNvPicPr>
            <a:picLocks noChangeAspect="1"/>
          </p:cNvPicPr>
          <p:nvPr/>
        </p:nvPicPr>
        <p:blipFill>
          <a:blip r:embed="rId2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3324" y="3157587"/>
            <a:ext cx="580606" cy="287345"/>
          </a:xfrm>
          <a:prstGeom prst="rect">
            <a:avLst/>
          </a:prstGeom>
        </p:spPr>
      </p:pic>
      <p:sp>
        <p:nvSpPr>
          <p:cNvPr id="76" name="Rectangle 75"/>
          <p:cNvSpPr/>
          <p:nvPr/>
        </p:nvSpPr>
        <p:spPr>
          <a:xfrm>
            <a:off x="2932304" y="6519435"/>
            <a:ext cx="633925" cy="30769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ctr" defTabSz="608913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Japan My</a:t>
            </a:r>
          </a:p>
          <a:p>
            <a:pPr algn="ctr" defTabSz="608913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Number Act</a:t>
            </a:r>
          </a:p>
        </p:txBody>
      </p:sp>
      <p:pic>
        <p:nvPicPr>
          <p:cNvPr id="77" name="Picture 76"/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4630" y="6089185"/>
            <a:ext cx="509275" cy="389790"/>
          </a:xfrm>
          <a:prstGeom prst="rect">
            <a:avLst/>
          </a:prstGeom>
        </p:spPr>
      </p:pic>
      <p:pic>
        <p:nvPicPr>
          <p:cNvPr id="78" name="Picture 77"/>
          <p:cNvPicPr>
            <a:picLocks noChangeAspect="1"/>
          </p:cNvPicPr>
          <p:nvPr/>
        </p:nvPicPr>
        <p:blipFill>
          <a:blip r:embed="rId25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1069" y="3095409"/>
            <a:ext cx="618456" cy="411701"/>
          </a:xfrm>
          <a:prstGeom prst="rect">
            <a:avLst/>
          </a:prstGeom>
        </p:spPr>
      </p:pic>
      <p:sp>
        <p:nvSpPr>
          <p:cNvPr id="79" name="Rectangle 78"/>
          <p:cNvSpPr/>
          <p:nvPr/>
        </p:nvSpPr>
        <p:spPr>
          <a:xfrm>
            <a:off x="6939692" y="3603852"/>
            <a:ext cx="761211" cy="153845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algn="ctr" defTabSz="608913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FACT UK</a:t>
            </a:r>
          </a:p>
        </p:txBody>
      </p:sp>
      <p:pic>
        <p:nvPicPr>
          <p:cNvPr id="80" name="Picture 17" descr="https://upload.wikimedia.org/wikipedia/commons/thumb/4/43/US-FederalTradeCommission-Seal.svg/2000px-US-FederalTradeCommission-Seal.svg.png"/>
          <p:cNvPicPr>
            <a:picLocks noChangeAspect="1" noChangeArrowheads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5516" y="4038465"/>
            <a:ext cx="447148" cy="4471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1" name="Rectangle 80"/>
          <p:cNvSpPr/>
          <p:nvPr/>
        </p:nvSpPr>
        <p:spPr>
          <a:xfrm>
            <a:off x="9750668" y="4537601"/>
            <a:ext cx="756846" cy="2221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582215" fontAlgn="ctr">
              <a:defRPr/>
            </a:pPr>
            <a:r>
              <a:rPr lang="en-US" sz="816" b="1" kern="0" dirty="0">
                <a:solidFill>
                  <a:srgbClr val="505050"/>
                </a:solidFill>
                <a:latin typeface="Segoe UI Semilight"/>
              </a:rPr>
              <a:t>GLBA</a:t>
            </a:r>
          </a:p>
        </p:txBody>
      </p:sp>
      <p:sp>
        <p:nvSpPr>
          <p:cNvPr id="82" name="Rectangle 81"/>
          <p:cNvSpPr/>
          <p:nvPr/>
        </p:nvSpPr>
        <p:spPr>
          <a:xfrm>
            <a:off x="6200314" y="6519436"/>
            <a:ext cx="491583" cy="31830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Spain</a:t>
            </a:r>
          </a:p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ENS</a:t>
            </a:r>
          </a:p>
        </p:txBody>
      </p:sp>
      <p:pic>
        <p:nvPicPr>
          <p:cNvPr id="83" name="Picture 82" descr="Spain ENS Logo"/>
          <p:cNvPicPr>
            <a:picLocks noChangeAspect="1" noChangeArrowheads="1"/>
          </p:cNvPicPr>
          <p:nvPr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5096" y="6060223"/>
            <a:ext cx="702019" cy="5373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4" name="Rectangle 83"/>
          <p:cNvSpPr/>
          <p:nvPr/>
        </p:nvSpPr>
        <p:spPr>
          <a:xfrm>
            <a:off x="3001895" y="3603853"/>
            <a:ext cx="564088" cy="275923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algn="ctr" defTabSz="608913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PCI DSS</a:t>
            </a:r>
          </a:p>
          <a:p>
            <a:pPr algn="ctr" defTabSz="608913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Level 1</a:t>
            </a:r>
          </a:p>
        </p:txBody>
      </p:sp>
      <p:pic>
        <p:nvPicPr>
          <p:cNvPr id="85" name="Picture 2" descr="https://www.basefarm.com/sites/default/files/media/Article/basefarm-pci-dss_0.jpg"/>
          <p:cNvPicPr>
            <a:picLocks noChangeAspect="1" noChangeArrowheads="1"/>
          </p:cNvPicPr>
          <p:nvPr/>
        </p:nvPicPr>
        <p:blipFill>
          <a:blip r:embed="rId2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6552" y="3106243"/>
            <a:ext cx="571119" cy="3900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6" name="Picture 6" descr="http://www.elevation-us.com/wp-content/uploads/2016/01/CMS-logo.png"/>
          <p:cNvPicPr>
            <a:picLocks noChangeAspect="1" noChangeArrowheads="1"/>
          </p:cNvPicPr>
          <p:nvPr/>
        </p:nvPicPr>
        <p:blipFill>
          <a:blip r:embed="rId29" cstate="screen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9484" y="4047859"/>
            <a:ext cx="856716" cy="4283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7" name="Rectangle 86"/>
          <p:cNvSpPr/>
          <p:nvPr/>
        </p:nvSpPr>
        <p:spPr>
          <a:xfrm>
            <a:off x="5569420" y="4537601"/>
            <a:ext cx="756845" cy="2221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582215" fontAlgn="ctr">
              <a:defRPr/>
            </a:pPr>
            <a:r>
              <a:rPr lang="en-US" sz="816" b="1" kern="0" dirty="0">
                <a:solidFill>
                  <a:srgbClr val="505050"/>
                </a:solidFill>
                <a:latin typeface="Segoe UI Semilight"/>
              </a:rPr>
              <a:t>MARS-E</a:t>
            </a:r>
          </a:p>
        </p:txBody>
      </p:sp>
      <p:sp>
        <p:nvSpPr>
          <p:cNvPr id="88" name="Rectangle 87"/>
          <p:cNvSpPr/>
          <p:nvPr/>
        </p:nvSpPr>
        <p:spPr>
          <a:xfrm>
            <a:off x="11216392" y="4537600"/>
            <a:ext cx="436849" cy="22221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582103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FFIEC</a:t>
            </a:r>
          </a:p>
        </p:txBody>
      </p:sp>
      <p:pic>
        <p:nvPicPr>
          <p:cNvPr id="89" name="Picture 8" descr="https://upload.wikimedia.org/wikipedia/commons/thumb/e/ed/US-FFIEC-Logo.svg/1000px-US-FFIEC-Logo.svg.png"/>
          <p:cNvPicPr>
            <a:picLocks noChangeAspect="1" noChangeArrowheads="1"/>
          </p:cNvPicPr>
          <p:nvPr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19132" y="4139237"/>
            <a:ext cx="631368" cy="2456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0" name="Rectangle 89"/>
          <p:cNvSpPr/>
          <p:nvPr/>
        </p:nvSpPr>
        <p:spPr>
          <a:xfrm>
            <a:off x="8137838" y="5585424"/>
            <a:ext cx="502325" cy="31830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China</a:t>
            </a:r>
          </a:p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TRUCS</a:t>
            </a:r>
          </a:p>
        </p:txBody>
      </p:sp>
      <p:pic>
        <p:nvPicPr>
          <p:cNvPr id="91" name="Picture 90"/>
          <p:cNvPicPr>
            <a:picLocks noChangeAspect="1"/>
          </p:cNvPicPr>
          <p:nvPr/>
        </p:nvPicPr>
        <p:blipFill>
          <a:blip r:embed="rId31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0097" y="5162493"/>
            <a:ext cx="517807" cy="374486"/>
          </a:xfrm>
          <a:prstGeom prst="rect">
            <a:avLst/>
          </a:prstGeom>
        </p:spPr>
      </p:pic>
      <p:pic>
        <p:nvPicPr>
          <p:cNvPr id="95" name="Picture 94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4714" y="1853425"/>
            <a:ext cx="586614" cy="537038"/>
          </a:xfrm>
          <a:prstGeom prst="rect">
            <a:avLst/>
          </a:prstGeom>
        </p:spPr>
      </p:pic>
      <p:sp>
        <p:nvSpPr>
          <p:cNvPr id="97" name="Rectangle 96"/>
          <p:cNvSpPr/>
          <p:nvPr/>
        </p:nvSpPr>
        <p:spPr>
          <a:xfrm>
            <a:off x="2907416" y="2461604"/>
            <a:ext cx="761211" cy="153845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algn="ctr" defTabSz="608913" fontAlgn="ctr">
              <a:defRPr/>
            </a:pPr>
            <a:r>
              <a:rPr lang="en-US" sz="816" b="1" kern="0" dirty="0">
                <a:solidFill>
                  <a:srgbClr val="505050"/>
                </a:solidFill>
                <a:latin typeface="Segoe UI Semilight"/>
              </a:rPr>
              <a:t>SOC 2 Type 2</a:t>
            </a:r>
          </a:p>
        </p:txBody>
      </p:sp>
      <p:pic>
        <p:nvPicPr>
          <p:cNvPr id="98" name="Picture 97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3998" y="1853425"/>
            <a:ext cx="586614" cy="537038"/>
          </a:xfrm>
          <a:prstGeom prst="rect">
            <a:avLst/>
          </a:prstGeom>
        </p:spPr>
      </p:pic>
      <p:sp>
        <p:nvSpPr>
          <p:cNvPr id="99" name="Rectangle 98"/>
          <p:cNvSpPr/>
          <p:nvPr/>
        </p:nvSpPr>
        <p:spPr>
          <a:xfrm>
            <a:off x="4906701" y="2461604"/>
            <a:ext cx="761211" cy="153845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algn="ctr" defTabSz="608913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SOC 3</a:t>
            </a:r>
          </a:p>
        </p:txBody>
      </p:sp>
      <p:pic>
        <p:nvPicPr>
          <p:cNvPr id="104" name="Picture 10" descr="http://flaglane.com/download/canadian-flag/canadian-flag-graphic.png"/>
          <p:cNvPicPr>
            <a:picLocks noChangeAspect="1" noChangeArrowheads="1"/>
          </p:cNvPicPr>
          <p:nvPr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27465" y="6170491"/>
            <a:ext cx="454351" cy="227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" name="Rectangle 104"/>
          <p:cNvSpPr/>
          <p:nvPr/>
        </p:nvSpPr>
        <p:spPr>
          <a:xfrm>
            <a:off x="8972428" y="6519436"/>
            <a:ext cx="764423" cy="31830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Canada</a:t>
            </a:r>
          </a:p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Privacy Laws</a:t>
            </a:r>
          </a:p>
        </p:txBody>
      </p:sp>
      <p:sp>
        <p:nvSpPr>
          <p:cNvPr id="106" name="Rectangle 105"/>
          <p:cNvSpPr/>
          <p:nvPr/>
        </p:nvSpPr>
        <p:spPr>
          <a:xfrm>
            <a:off x="5567238" y="3603853"/>
            <a:ext cx="761211" cy="153844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algn="ctr" defTabSz="608913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MPAA</a:t>
            </a:r>
          </a:p>
        </p:txBody>
      </p:sp>
      <p:pic>
        <p:nvPicPr>
          <p:cNvPr id="107" name="Picture 2" descr="http://vignette1.wikia.nocookie.net/logopedia/images/5/57/MPAA.jpg/revision/latest?cb=20110729215806"/>
          <p:cNvPicPr>
            <a:picLocks noChangeAspect="1" noChangeArrowheads="1"/>
          </p:cNvPicPr>
          <p:nvPr/>
        </p:nvPicPr>
        <p:blipFill>
          <a:blip r:embed="rId3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3968" y="3170758"/>
            <a:ext cx="467751" cy="2610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" name="Picture 107"/>
          <p:cNvPicPr>
            <a:picLocks noChangeAspect="1"/>
          </p:cNvPicPr>
          <p:nvPr/>
        </p:nvPicPr>
        <p:blipFill>
          <a:blip r:embed="rId3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2289" y="6061002"/>
            <a:ext cx="310561" cy="446156"/>
          </a:xfrm>
          <a:prstGeom prst="rect">
            <a:avLst/>
          </a:prstGeom>
        </p:spPr>
      </p:pic>
      <p:sp>
        <p:nvSpPr>
          <p:cNvPr id="109" name="Rectangle 108"/>
          <p:cNvSpPr/>
          <p:nvPr/>
        </p:nvSpPr>
        <p:spPr>
          <a:xfrm>
            <a:off x="10071627" y="6519436"/>
            <a:ext cx="551884" cy="31830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Privacy</a:t>
            </a:r>
          </a:p>
          <a:p>
            <a:pPr algn="ctr" defTabSz="582215" fontAlgn="ctr">
              <a:defRPr/>
            </a:pPr>
            <a:r>
              <a:rPr lang="en-US" sz="714" b="1" kern="0" dirty="0">
                <a:solidFill>
                  <a:srgbClr val="505050"/>
                </a:solidFill>
                <a:latin typeface="Segoe UI Semilight"/>
              </a:rPr>
              <a:t>Shield</a:t>
            </a:r>
          </a:p>
        </p:txBody>
      </p:sp>
      <p:pic>
        <p:nvPicPr>
          <p:cNvPr id="110" name="Picture 14" descr="http://www.theauditpeople.com/sites/default/files/pictures/iso-logo.png"/>
          <p:cNvPicPr>
            <a:picLocks noChangeAspect="1" noChangeArrowheads="1"/>
          </p:cNvPicPr>
          <p:nvPr/>
        </p:nvPicPr>
        <p:blipFill>
          <a:blip r:embed="rId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9758" y="1027616"/>
            <a:ext cx="597884" cy="451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1" name="Rectangle 110"/>
          <p:cNvSpPr/>
          <p:nvPr/>
        </p:nvSpPr>
        <p:spPr>
          <a:xfrm>
            <a:off x="9079440" y="1579994"/>
            <a:ext cx="578520" cy="153845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algn="ctr" defTabSz="608913" fontAlgn="ctr">
              <a:defRPr/>
            </a:pPr>
            <a:r>
              <a:rPr lang="en-US" sz="816" b="1" kern="0" dirty="0">
                <a:solidFill>
                  <a:srgbClr val="505050"/>
                </a:solidFill>
                <a:latin typeface="Segoe UI Semilight"/>
              </a:rPr>
              <a:t>ISO 22301</a:t>
            </a:r>
          </a:p>
        </p:txBody>
      </p:sp>
      <p:sp>
        <p:nvSpPr>
          <p:cNvPr id="112" name="Rectangle 111"/>
          <p:cNvSpPr/>
          <p:nvPr/>
        </p:nvSpPr>
        <p:spPr>
          <a:xfrm>
            <a:off x="8166866" y="6519436"/>
            <a:ext cx="444270" cy="31830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India</a:t>
            </a:r>
          </a:p>
          <a:p>
            <a:pPr algn="ctr" defTabSz="582215" fontAlgn="ctr">
              <a:defRPr/>
            </a:pPr>
            <a:r>
              <a:rPr lang="en-US" sz="714" b="1" kern="0" err="1">
                <a:solidFill>
                  <a:srgbClr val="505050"/>
                </a:solidFill>
                <a:latin typeface="Segoe UI Semilight"/>
              </a:rPr>
              <a:t>MeitY</a:t>
            </a:r>
            <a:endParaRPr lang="en-US" sz="714" b="1" kern="0">
              <a:solidFill>
                <a:srgbClr val="505050"/>
              </a:solidFill>
              <a:latin typeface="Segoe UI Semilight"/>
            </a:endParaRPr>
          </a:p>
        </p:txBody>
      </p:sp>
      <p:pic>
        <p:nvPicPr>
          <p:cNvPr id="113" name="Picture 112"/>
          <p:cNvPicPr>
            <a:picLocks noChangeAspect="1"/>
          </p:cNvPicPr>
          <p:nvPr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2017" y="6163503"/>
            <a:ext cx="433967" cy="241155"/>
          </a:xfrm>
          <a:prstGeom prst="rect">
            <a:avLst/>
          </a:prstGeom>
        </p:spPr>
      </p:pic>
      <p:sp>
        <p:nvSpPr>
          <p:cNvPr id="114" name="Rectangle 113"/>
          <p:cNvSpPr/>
          <p:nvPr/>
        </p:nvSpPr>
        <p:spPr>
          <a:xfrm>
            <a:off x="11036396" y="6519436"/>
            <a:ext cx="778796" cy="43038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582103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Germany IT</a:t>
            </a:r>
          </a:p>
          <a:p>
            <a:pPr algn="ctr" defTabSz="582103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Grundschutz</a:t>
            </a:r>
          </a:p>
          <a:p>
            <a:pPr algn="ctr" defTabSz="582103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workbook</a:t>
            </a:r>
          </a:p>
        </p:txBody>
      </p:sp>
      <p:pic>
        <p:nvPicPr>
          <p:cNvPr id="115" name="Picture 114"/>
          <p:cNvPicPr>
            <a:picLocks noChangeAspect="1"/>
          </p:cNvPicPr>
          <p:nvPr/>
        </p:nvPicPr>
        <p:blipFill>
          <a:blip r:embed="rId3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20421" y="6086147"/>
            <a:ext cx="410746" cy="395864"/>
          </a:xfrm>
          <a:prstGeom prst="rect">
            <a:avLst/>
          </a:prstGeom>
        </p:spPr>
      </p:pic>
      <p:sp>
        <p:nvSpPr>
          <p:cNvPr id="116" name="Rectangle 115"/>
          <p:cNvSpPr/>
          <p:nvPr/>
        </p:nvSpPr>
        <p:spPr>
          <a:xfrm>
            <a:off x="7168394" y="6519436"/>
            <a:ext cx="466782" cy="31830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Spain</a:t>
            </a:r>
          </a:p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DPA</a:t>
            </a:r>
          </a:p>
        </p:txBody>
      </p:sp>
      <p:pic>
        <p:nvPicPr>
          <p:cNvPr id="117" name="Picture 116"/>
          <p:cNvPicPr>
            <a:picLocks noChangeAspect="1"/>
          </p:cNvPicPr>
          <p:nvPr/>
        </p:nvPicPr>
        <p:blipFill>
          <a:blip r:embed="rId3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3841" y="6091281"/>
            <a:ext cx="335889" cy="385599"/>
          </a:xfrm>
          <a:prstGeom prst="rect">
            <a:avLst/>
          </a:prstGeom>
        </p:spPr>
      </p:pic>
      <p:pic>
        <p:nvPicPr>
          <p:cNvPr id="118" name="Picture 117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1774" y="1969748"/>
            <a:ext cx="793853" cy="304393"/>
          </a:xfrm>
          <a:prstGeom prst="rect">
            <a:avLst/>
          </a:prstGeom>
        </p:spPr>
      </p:pic>
      <p:sp>
        <p:nvSpPr>
          <p:cNvPr id="119" name="Rectangle 118"/>
          <p:cNvSpPr/>
          <p:nvPr/>
        </p:nvSpPr>
        <p:spPr>
          <a:xfrm>
            <a:off x="8946429" y="2394024"/>
            <a:ext cx="844544" cy="307690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algn="ctr" defTabSz="608913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CSA STAR</a:t>
            </a:r>
          </a:p>
          <a:p>
            <a:pPr algn="ctr" defTabSz="608913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Certification</a:t>
            </a:r>
          </a:p>
          <a:p>
            <a:pPr algn="ctr" defTabSz="608913" fontAlgn="ctr">
              <a:defRPr/>
            </a:pPr>
            <a:endParaRPr lang="en-US" sz="816" b="1" kern="0">
              <a:solidFill>
                <a:srgbClr val="505050"/>
              </a:solidFill>
              <a:latin typeface="Segoe UI Semilight"/>
            </a:endParaRPr>
          </a:p>
        </p:txBody>
      </p:sp>
      <p:pic>
        <p:nvPicPr>
          <p:cNvPr id="120" name="Picture 119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0683" y="1969748"/>
            <a:ext cx="793853" cy="304393"/>
          </a:xfrm>
          <a:prstGeom prst="rect">
            <a:avLst/>
          </a:prstGeom>
        </p:spPr>
      </p:pic>
      <p:sp>
        <p:nvSpPr>
          <p:cNvPr id="121" name="Rectangle 120"/>
          <p:cNvSpPr/>
          <p:nvPr/>
        </p:nvSpPr>
        <p:spPr>
          <a:xfrm>
            <a:off x="10995339" y="2394024"/>
            <a:ext cx="844544" cy="307690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algn="ctr" defTabSz="608913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CSA STAR</a:t>
            </a:r>
          </a:p>
          <a:p>
            <a:pPr algn="ctr" defTabSz="608913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Attestation</a:t>
            </a:r>
          </a:p>
          <a:p>
            <a:pPr algn="ctr" defTabSz="608913" fontAlgn="ctr">
              <a:defRPr/>
            </a:pPr>
            <a:endParaRPr lang="en-US" sz="816" b="1" kern="0">
              <a:solidFill>
                <a:srgbClr val="505050"/>
              </a:solidFill>
              <a:latin typeface="Segoe UI Semilight"/>
            </a:endParaRPr>
          </a:p>
        </p:txBody>
      </p:sp>
      <p:pic>
        <p:nvPicPr>
          <p:cNvPr id="122" name="Picture 9" descr="https://hitrustalliance.net/content/uploads/2015/09/HiTrustLogo.png"/>
          <p:cNvPicPr>
            <a:picLocks noChangeAspect="1" noChangeArrowheads="1"/>
          </p:cNvPicPr>
          <p:nvPr/>
        </p:nvPicPr>
        <p:blipFill>
          <a:blip r:embed="rId38" cstate="screen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2472" y="4134055"/>
            <a:ext cx="613900" cy="2559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3" name="Rectangle 122"/>
          <p:cNvSpPr/>
          <p:nvPr/>
        </p:nvSpPr>
        <p:spPr>
          <a:xfrm>
            <a:off x="2907517" y="4537601"/>
            <a:ext cx="756846" cy="2221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582215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Calibri"/>
              </a:rPr>
              <a:t>HITRUST</a:t>
            </a:r>
          </a:p>
        </p:txBody>
      </p:sp>
      <p:pic>
        <p:nvPicPr>
          <p:cNvPr id="124" name="Picture 123"/>
          <p:cNvPicPr>
            <a:picLocks noChangeAspect="1"/>
          </p:cNvPicPr>
          <p:nvPr/>
        </p:nvPicPr>
        <p:blipFill>
          <a:blip r:embed="rId3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3761" y="4139304"/>
            <a:ext cx="613073" cy="245469"/>
          </a:xfrm>
          <a:prstGeom prst="rect">
            <a:avLst/>
          </a:prstGeom>
        </p:spPr>
      </p:pic>
      <p:sp>
        <p:nvSpPr>
          <p:cNvPr id="125" name="Rectangle 124"/>
          <p:cNvSpPr/>
          <p:nvPr/>
        </p:nvSpPr>
        <p:spPr>
          <a:xfrm>
            <a:off x="6817154" y="4537601"/>
            <a:ext cx="1006286" cy="2221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582215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IG Toolkit UK</a:t>
            </a:r>
          </a:p>
        </p:txBody>
      </p:sp>
      <p:sp>
        <p:nvSpPr>
          <p:cNvPr id="126" name="Rectangle 125"/>
          <p:cNvSpPr/>
          <p:nvPr/>
        </p:nvSpPr>
        <p:spPr>
          <a:xfrm>
            <a:off x="6212605" y="5585424"/>
            <a:ext cx="467001" cy="31830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China</a:t>
            </a:r>
          </a:p>
          <a:p>
            <a:pPr algn="ctr" defTabSz="582215" fontAlgn="ctr">
              <a:defRPr/>
            </a:pPr>
            <a:r>
              <a:rPr lang="en-US" sz="714" b="1" kern="0">
                <a:solidFill>
                  <a:srgbClr val="505050"/>
                </a:solidFill>
                <a:latin typeface="Segoe UI Semilight"/>
              </a:rPr>
              <a:t>DJCP</a:t>
            </a:r>
          </a:p>
        </p:txBody>
      </p:sp>
      <p:pic>
        <p:nvPicPr>
          <p:cNvPr id="127" name="Picture 126"/>
          <p:cNvPicPr>
            <a:picLocks noChangeAspect="1"/>
          </p:cNvPicPr>
          <p:nvPr/>
        </p:nvPicPr>
        <p:blipFill>
          <a:blip r:embed="rId4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2647" y="5036280"/>
            <a:ext cx="626917" cy="626916"/>
          </a:xfrm>
          <a:prstGeom prst="rect">
            <a:avLst/>
          </a:prstGeom>
        </p:spPr>
      </p:pic>
      <p:pic>
        <p:nvPicPr>
          <p:cNvPr id="128" name="Picture 14" descr="http://www.theauditpeople.com/sites/default/files/pictures/iso-logo.png"/>
          <p:cNvPicPr>
            <a:picLocks noChangeAspect="1" noChangeArrowheads="1"/>
          </p:cNvPicPr>
          <p:nvPr/>
        </p:nvPicPr>
        <p:blipFill>
          <a:blip r:embed="rId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2054" y="1027616"/>
            <a:ext cx="597884" cy="451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9" name="Rectangle 128"/>
          <p:cNvSpPr/>
          <p:nvPr/>
        </p:nvSpPr>
        <p:spPr>
          <a:xfrm>
            <a:off x="7001736" y="1579994"/>
            <a:ext cx="578520" cy="153845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algn="ctr" defTabSz="608913" fontAlgn="ctr">
              <a:defRPr/>
            </a:pPr>
            <a:r>
              <a:rPr lang="en-US" sz="816" b="1" kern="0">
                <a:solidFill>
                  <a:srgbClr val="505050"/>
                </a:solidFill>
                <a:latin typeface="Segoe UI Semilight"/>
              </a:rPr>
              <a:t>ISO 27017</a:t>
            </a:r>
          </a:p>
        </p:txBody>
      </p:sp>
      <p:sp>
        <p:nvSpPr>
          <p:cNvPr id="130" name="Rectangle 129"/>
          <p:cNvSpPr/>
          <p:nvPr/>
        </p:nvSpPr>
        <p:spPr bwMode="auto">
          <a:xfrm>
            <a:off x="2206141" y="1245441"/>
            <a:ext cx="418380" cy="983801"/>
          </a:xfrm>
          <a:prstGeom prst="rect">
            <a:avLst/>
          </a:prstGeom>
          <a:noFill/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vert270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indent="1588" algn="ctr" defTabSz="932563" fontAlgn="base">
              <a:spcBef>
                <a:spcPct val="0"/>
              </a:spcBef>
              <a:spcAft>
                <a:spcPts val="1199"/>
              </a:spcAft>
              <a:buClr>
                <a:srgbClr val="FFFFFF"/>
              </a:buClr>
              <a:buSzPct val="80000"/>
              <a:defRPr/>
            </a:pPr>
            <a:r>
              <a:rPr lang="en-IN" sz="1224" b="1" kern="0" dirty="0">
                <a:solidFill>
                  <a:srgbClr val="00B6F0"/>
                </a:solidFill>
                <a:latin typeface="Segoe UI"/>
                <a:cs typeface="Segoe UI Semibold" panose="020B0702040204020203" pitchFamily="34" charset="0"/>
              </a:rPr>
              <a:t>GLOBAL</a:t>
            </a:r>
          </a:p>
        </p:txBody>
      </p:sp>
      <p:sp>
        <p:nvSpPr>
          <p:cNvPr id="132" name="Rectangle 131"/>
          <p:cNvSpPr/>
          <p:nvPr/>
        </p:nvSpPr>
        <p:spPr bwMode="auto">
          <a:xfrm>
            <a:off x="2206142" y="3359645"/>
            <a:ext cx="418380" cy="1003929"/>
          </a:xfrm>
          <a:prstGeom prst="rect">
            <a:avLst/>
          </a:prstGeom>
          <a:noFill/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vert270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indent="1588" algn="ctr" defTabSz="932563" fontAlgn="base">
              <a:spcBef>
                <a:spcPct val="0"/>
              </a:spcBef>
              <a:spcAft>
                <a:spcPts val="1199"/>
              </a:spcAft>
              <a:buClr>
                <a:srgbClr val="FFFFFF"/>
              </a:buClr>
              <a:buSzPct val="80000"/>
              <a:defRPr/>
            </a:pPr>
            <a:r>
              <a:rPr lang="en-IN" sz="1224" b="1" kern="0" dirty="0">
                <a:solidFill>
                  <a:srgbClr val="00327A"/>
                </a:solidFill>
                <a:latin typeface="Segoe UI"/>
                <a:cs typeface="Segoe UI Semibold" panose="020B0702040204020203" pitchFamily="34" charset="0"/>
              </a:rPr>
              <a:t>INDUSTRY</a:t>
            </a:r>
          </a:p>
        </p:txBody>
      </p:sp>
      <p:sp>
        <p:nvSpPr>
          <p:cNvPr id="134" name="Rectangle 133"/>
          <p:cNvSpPr/>
          <p:nvPr/>
        </p:nvSpPr>
        <p:spPr bwMode="auto">
          <a:xfrm>
            <a:off x="2210343" y="5473520"/>
            <a:ext cx="409289" cy="983801"/>
          </a:xfrm>
          <a:prstGeom prst="rect">
            <a:avLst/>
          </a:prstGeom>
          <a:noFill/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vert270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563">
              <a:spcAft>
                <a:spcPts val="1199"/>
              </a:spcAft>
              <a:defRPr/>
            </a:pPr>
            <a:r>
              <a:rPr lang="en-IN" sz="1224" b="1" kern="0" dirty="0">
                <a:solidFill>
                  <a:srgbClr val="001F50"/>
                </a:solidFill>
                <a:latin typeface="Segoe UI"/>
                <a:cs typeface="Segoe UI Semibold" panose="020B0702040204020203" pitchFamily="34" charset="0"/>
              </a:rPr>
              <a:t>REGIONAL</a:t>
            </a:r>
          </a:p>
        </p:txBody>
      </p:sp>
      <p:cxnSp>
        <p:nvCxnSpPr>
          <p:cNvPr id="153" name="Straight Connector 152"/>
          <p:cNvCxnSpPr/>
          <p:nvPr/>
        </p:nvCxnSpPr>
        <p:spPr>
          <a:xfrm>
            <a:off x="2630057" y="931393"/>
            <a:ext cx="0" cy="1678686"/>
          </a:xfrm>
          <a:prstGeom prst="line">
            <a:avLst/>
          </a:prstGeom>
          <a:ln w="28575">
            <a:solidFill>
              <a:srgbClr val="00AEE9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Straight Connector 153"/>
          <p:cNvCxnSpPr/>
          <p:nvPr/>
        </p:nvCxnSpPr>
        <p:spPr>
          <a:xfrm>
            <a:off x="2630057" y="3025275"/>
            <a:ext cx="0" cy="1678686"/>
          </a:xfrm>
          <a:prstGeom prst="line">
            <a:avLst/>
          </a:prstGeom>
          <a:ln w="28575">
            <a:solidFill>
              <a:srgbClr val="00327A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Straight Connector 154"/>
          <p:cNvCxnSpPr/>
          <p:nvPr/>
        </p:nvCxnSpPr>
        <p:spPr>
          <a:xfrm>
            <a:off x="2630057" y="5109585"/>
            <a:ext cx="0" cy="1678686"/>
          </a:xfrm>
          <a:prstGeom prst="line">
            <a:avLst/>
          </a:prstGeom>
          <a:ln w="28575">
            <a:solidFill>
              <a:srgbClr val="001F5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Title 1">
            <a:extLst>
              <a:ext uri="{FF2B5EF4-FFF2-40B4-BE49-F238E27FC236}">
                <a16:creationId xmlns:a16="http://schemas.microsoft.com/office/drawing/2014/main" id="{D4509856-EB69-4A09-8BB9-F5633A22593E}"/>
              </a:ext>
            </a:extLst>
          </p:cNvPr>
          <p:cNvSpPr txBox="1">
            <a:spLocks/>
          </p:cNvSpPr>
          <p:nvPr/>
        </p:nvSpPr>
        <p:spPr>
          <a:xfrm>
            <a:off x="2404815" y="72745"/>
            <a:ext cx="9435761" cy="917444"/>
          </a:xfrm>
          <a:prstGeom prst="rect">
            <a:avLst/>
          </a:prstGeom>
        </p:spPr>
        <p:txBody>
          <a:bodyPr vert="horz" wrap="square" lIns="146283" tIns="91427" rIns="146283" bIns="91427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 defTabSz="932563">
              <a:spcAft>
                <a:spcPts val="600"/>
              </a:spcAft>
              <a:defRPr/>
            </a:pPr>
            <a:r>
              <a:rPr lang="en-US" sz="3672" dirty="0">
                <a:solidFill>
                  <a:srgbClr val="4F504F"/>
                </a:solidFill>
                <a:latin typeface="Segoe UI Light"/>
              </a:rPr>
              <a:t>More certifications than any cloud provider</a:t>
            </a:r>
          </a:p>
        </p:txBody>
      </p:sp>
    </p:spTree>
    <p:extLst>
      <p:ext uri="{BB962C8B-B14F-4D97-AF65-F5344CB8AC3E}">
        <p14:creationId xmlns:p14="http://schemas.microsoft.com/office/powerpoint/2010/main" val="4278482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75E-6 4.81481E-6 L 3.75E-6 0.04583 " pathEditMode="relative" rAng="0" ptsTypes="AA">
                                      <p:cBhvr>
                                        <p:cTn id="9" dur="500" spd="-10000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29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1" grpId="0"/>
      <p:bldP spid="131" grpId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8" name="Picture 427"/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-485" y="-1"/>
            <a:ext cx="12436077" cy="699452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</p:pic>
      <p:grpSp>
        <p:nvGrpSpPr>
          <p:cNvPr id="484" name="Group 483"/>
          <p:cNvGrpSpPr/>
          <p:nvPr/>
        </p:nvGrpSpPr>
        <p:grpSpPr>
          <a:xfrm>
            <a:off x="-10459" y="1902486"/>
            <a:ext cx="12446051" cy="3937942"/>
            <a:chOff x="-11120" y="1865352"/>
            <a:chExt cx="12203119" cy="3861078"/>
          </a:xfrm>
        </p:grpSpPr>
        <p:sp>
          <p:nvSpPr>
            <p:cNvPr id="332" name="Freeform 5"/>
            <p:cNvSpPr>
              <a:spLocks/>
            </p:cNvSpPr>
            <p:nvPr/>
          </p:nvSpPr>
          <p:spPr bwMode="auto">
            <a:xfrm>
              <a:off x="-11120" y="2452259"/>
              <a:ext cx="2949107" cy="1185957"/>
            </a:xfrm>
            <a:custGeom>
              <a:avLst/>
              <a:gdLst>
                <a:gd name="T0" fmla="*/ 98 w 1494"/>
                <a:gd name="T1" fmla="*/ 16 h 586"/>
                <a:gd name="T2" fmla="*/ 384 w 1494"/>
                <a:gd name="T3" fmla="*/ 0 h 586"/>
                <a:gd name="T4" fmla="*/ 624 w 1494"/>
                <a:gd name="T5" fmla="*/ 32 h 586"/>
                <a:gd name="T6" fmla="*/ 786 w 1494"/>
                <a:gd name="T7" fmla="*/ 92 h 586"/>
                <a:gd name="T8" fmla="*/ 854 w 1494"/>
                <a:gd name="T9" fmla="*/ 126 h 586"/>
                <a:gd name="T10" fmla="*/ 852 w 1494"/>
                <a:gd name="T11" fmla="*/ 96 h 586"/>
                <a:gd name="T12" fmla="*/ 872 w 1494"/>
                <a:gd name="T13" fmla="*/ 86 h 586"/>
                <a:gd name="T14" fmla="*/ 930 w 1494"/>
                <a:gd name="T15" fmla="*/ 116 h 586"/>
                <a:gd name="T16" fmla="*/ 962 w 1494"/>
                <a:gd name="T17" fmla="*/ 158 h 586"/>
                <a:gd name="T18" fmla="*/ 986 w 1494"/>
                <a:gd name="T19" fmla="*/ 164 h 586"/>
                <a:gd name="T20" fmla="*/ 1008 w 1494"/>
                <a:gd name="T21" fmla="*/ 174 h 586"/>
                <a:gd name="T22" fmla="*/ 1018 w 1494"/>
                <a:gd name="T23" fmla="*/ 184 h 586"/>
                <a:gd name="T24" fmla="*/ 1026 w 1494"/>
                <a:gd name="T25" fmla="*/ 202 h 586"/>
                <a:gd name="T26" fmla="*/ 1006 w 1494"/>
                <a:gd name="T27" fmla="*/ 266 h 586"/>
                <a:gd name="T28" fmla="*/ 942 w 1494"/>
                <a:gd name="T29" fmla="*/ 338 h 586"/>
                <a:gd name="T30" fmla="*/ 950 w 1494"/>
                <a:gd name="T31" fmla="*/ 364 h 586"/>
                <a:gd name="T32" fmla="*/ 1024 w 1494"/>
                <a:gd name="T33" fmla="*/ 370 h 586"/>
                <a:gd name="T34" fmla="*/ 1104 w 1494"/>
                <a:gd name="T35" fmla="*/ 394 h 586"/>
                <a:gd name="T36" fmla="*/ 1180 w 1494"/>
                <a:gd name="T37" fmla="*/ 426 h 586"/>
                <a:gd name="T38" fmla="*/ 1236 w 1494"/>
                <a:gd name="T39" fmla="*/ 436 h 586"/>
                <a:gd name="T40" fmla="*/ 1200 w 1494"/>
                <a:gd name="T41" fmla="*/ 484 h 586"/>
                <a:gd name="T42" fmla="*/ 1208 w 1494"/>
                <a:gd name="T43" fmla="*/ 576 h 586"/>
                <a:gd name="T44" fmla="*/ 1234 w 1494"/>
                <a:gd name="T45" fmla="*/ 488 h 586"/>
                <a:gd name="T46" fmla="*/ 1284 w 1494"/>
                <a:gd name="T47" fmla="*/ 428 h 586"/>
                <a:gd name="T48" fmla="*/ 1258 w 1494"/>
                <a:gd name="T49" fmla="*/ 416 h 586"/>
                <a:gd name="T50" fmla="*/ 1262 w 1494"/>
                <a:gd name="T51" fmla="*/ 382 h 586"/>
                <a:gd name="T52" fmla="*/ 1242 w 1494"/>
                <a:gd name="T53" fmla="*/ 352 h 586"/>
                <a:gd name="T54" fmla="*/ 1194 w 1494"/>
                <a:gd name="T55" fmla="*/ 332 h 586"/>
                <a:gd name="T56" fmla="*/ 1182 w 1494"/>
                <a:gd name="T57" fmla="*/ 314 h 586"/>
                <a:gd name="T58" fmla="*/ 1174 w 1494"/>
                <a:gd name="T59" fmla="*/ 280 h 586"/>
                <a:gd name="T60" fmla="*/ 1138 w 1494"/>
                <a:gd name="T61" fmla="*/ 244 h 586"/>
                <a:gd name="T62" fmla="*/ 1150 w 1494"/>
                <a:gd name="T63" fmla="*/ 224 h 586"/>
                <a:gd name="T64" fmla="*/ 1184 w 1494"/>
                <a:gd name="T65" fmla="*/ 232 h 586"/>
                <a:gd name="T66" fmla="*/ 1220 w 1494"/>
                <a:gd name="T67" fmla="*/ 224 h 586"/>
                <a:gd name="T68" fmla="*/ 1240 w 1494"/>
                <a:gd name="T69" fmla="*/ 216 h 586"/>
                <a:gd name="T70" fmla="*/ 1264 w 1494"/>
                <a:gd name="T71" fmla="*/ 216 h 586"/>
                <a:gd name="T72" fmla="*/ 1296 w 1494"/>
                <a:gd name="T73" fmla="*/ 196 h 586"/>
                <a:gd name="T74" fmla="*/ 1296 w 1494"/>
                <a:gd name="T75" fmla="*/ 250 h 586"/>
                <a:gd name="T76" fmla="*/ 1272 w 1494"/>
                <a:gd name="T77" fmla="*/ 304 h 586"/>
                <a:gd name="T78" fmla="*/ 1258 w 1494"/>
                <a:gd name="T79" fmla="*/ 336 h 586"/>
                <a:gd name="T80" fmla="*/ 1262 w 1494"/>
                <a:gd name="T81" fmla="*/ 370 h 586"/>
                <a:gd name="T82" fmla="*/ 1284 w 1494"/>
                <a:gd name="T83" fmla="*/ 372 h 586"/>
                <a:gd name="T84" fmla="*/ 1300 w 1494"/>
                <a:gd name="T85" fmla="*/ 362 h 586"/>
                <a:gd name="T86" fmla="*/ 1324 w 1494"/>
                <a:gd name="T87" fmla="*/ 340 h 586"/>
                <a:gd name="T88" fmla="*/ 1348 w 1494"/>
                <a:gd name="T89" fmla="*/ 324 h 586"/>
                <a:gd name="T90" fmla="*/ 1376 w 1494"/>
                <a:gd name="T91" fmla="*/ 328 h 586"/>
                <a:gd name="T92" fmla="*/ 1394 w 1494"/>
                <a:gd name="T93" fmla="*/ 328 h 586"/>
                <a:gd name="T94" fmla="*/ 1466 w 1494"/>
                <a:gd name="T95" fmla="*/ 308 h 586"/>
                <a:gd name="T96" fmla="*/ 1466 w 1494"/>
                <a:gd name="T97" fmla="*/ 288 h 586"/>
                <a:gd name="T98" fmla="*/ 1472 w 1494"/>
                <a:gd name="T99" fmla="*/ 272 h 586"/>
                <a:gd name="T100" fmla="*/ 1482 w 1494"/>
                <a:gd name="T101" fmla="*/ 238 h 586"/>
                <a:gd name="T102" fmla="*/ 1464 w 1494"/>
                <a:gd name="T103" fmla="*/ 216 h 586"/>
                <a:gd name="T104" fmla="*/ 1432 w 1494"/>
                <a:gd name="T105" fmla="*/ 188 h 586"/>
                <a:gd name="T106" fmla="*/ 1380 w 1494"/>
                <a:gd name="T107" fmla="*/ 148 h 586"/>
                <a:gd name="T108" fmla="*/ 1360 w 1494"/>
                <a:gd name="T109" fmla="*/ 140 h 586"/>
                <a:gd name="T110" fmla="*/ 1348 w 1494"/>
                <a:gd name="T111" fmla="*/ 126 h 586"/>
                <a:gd name="T112" fmla="*/ 1316 w 1494"/>
                <a:gd name="T113" fmla="*/ 126 h 586"/>
                <a:gd name="T114" fmla="*/ 1320 w 1494"/>
                <a:gd name="T115" fmla="*/ 136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494" h="586">
                  <a:moveTo>
                    <a:pt x="0" y="28"/>
                  </a:moveTo>
                  <a:lnTo>
                    <a:pt x="0" y="28"/>
                  </a:lnTo>
                  <a:lnTo>
                    <a:pt x="10" y="26"/>
                  </a:lnTo>
                  <a:lnTo>
                    <a:pt x="30" y="24"/>
                  </a:lnTo>
                  <a:lnTo>
                    <a:pt x="98" y="16"/>
                  </a:lnTo>
                  <a:lnTo>
                    <a:pt x="144" y="10"/>
                  </a:lnTo>
                  <a:lnTo>
                    <a:pt x="196" y="6"/>
                  </a:lnTo>
                  <a:lnTo>
                    <a:pt x="256" y="2"/>
                  </a:lnTo>
                  <a:lnTo>
                    <a:pt x="318" y="0"/>
                  </a:lnTo>
                  <a:lnTo>
                    <a:pt x="384" y="0"/>
                  </a:lnTo>
                  <a:lnTo>
                    <a:pt x="452" y="4"/>
                  </a:lnTo>
                  <a:lnTo>
                    <a:pt x="522" y="12"/>
                  </a:lnTo>
                  <a:lnTo>
                    <a:pt x="556" y="18"/>
                  </a:lnTo>
                  <a:lnTo>
                    <a:pt x="590" y="24"/>
                  </a:lnTo>
                  <a:lnTo>
                    <a:pt x="624" y="32"/>
                  </a:lnTo>
                  <a:lnTo>
                    <a:pt x="658" y="40"/>
                  </a:lnTo>
                  <a:lnTo>
                    <a:pt x="692" y="52"/>
                  </a:lnTo>
                  <a:lnTo>
                    <a:pt x="724" y="64"/>
                  </a:lnTo>
                  <a:lnTo>
                    <a:pt x="756" y="76"/>
                  </a:lnTo>
                  <a:lnTo>
                    <a:pt x="786" y="92"/>
                  </a:lnTo>
                  <a:lnTo>
                    <a:pt x="816" y="110"/>
                  </a:lnTo>
                  <a:lnTo>
                    <a:pt x="846" y="128"/>
                  </a:lnTo>
                  <a:lnTo>
                    <a:pt x="846" y="128"/>
                  </a:lnTo>
                  <a:lnTo>
                    <a:pt x="848" y="128"/>
                  </a:lnTo>
                  <a:lnTo>
                    <a:pt x="854" y="126"/>
                  </a:lnTo>
                  <a:lnTo>
                    <a:pt x="862" y="120"/>
                  </a:lnTo>
                  <a:lnTo>
                    <a:pt x="862" y="120"/>
                  </a:lnTo>
                  <a:lnTo>
                    <a:pt x="858" y="114"/>
                  </a:lnTo>
                  <a:lnTo>
                    <a:pt x="854" y="102"/>
                  </a:lnTo>
                  <a:lnTo>
                    <a:pt x="852" y="96"/>
                  </a:lnTo>
                  <a:lnTo>
                    <a:pt x="852" y="90"/>
                  </a:lnTo>
                  <a:lnTo>
                    <a:pt x="854" y="86"/>
                  </a:lnTo>
                  <a:lnTo>
                    <a:pt x="858" y="84"/>
                  </a:lnTo>
                  <a:lnTo>
                    <a:pt x="858" y="84"/>
                  </a:lnTo>
                  <a:lnTo>
                    <a:pt x="872" y="86"/>
                  </a:lnTo>
                  <a:lnTo>
                    <a:pt x="886" y="90"/>
                  </a:lnTo>
                  <a:lnTo>
                    <a:pt x="904" y="98"/>
                  </a:lnTo>
                  <a:lnTo>
                    <a:pt x="904" y="98"/>
                  </a:lnTo>
                  <a:lnTo>
                    <a:pt x="918" y="108"/>
                  </a:lnTo>
                  <a:lnTo>
                    <a:pt x="930" y="116"/>
                  </a:lnTo>
                  <a:lnTo>
                    <a:pt x="936" y="124"/>
                  </a:lnTo>
                  <a:lnTo>
                    <a:pt x="936" y="124"/>
                  </a:lnTo>
                  <a:lnTo>
                    <a:pt x="948" y="142"/>
                  </a:lnTo>
                  <a:lnTo>
                    <a:pt x="962" y="158"/>
                  </a:lnTo>
                  <a:lnTo>
                    <a:pt x="962" y="158"/>
                  </a:lnTo>
                  <a:lnTo>
                    <a:pt x="970" y="164"/>
                  </a:lnTo>
                  <a:lnTo>
                    <a:pt x="974" y="168"/>
                  </a:lnTo>
                  <a:lnTo>
                    <a:pt x="978" y="168"/>
                  </a:lnTo>
                  <a:lnTo>
                    <a:pt x="978" y="168"/>
                  </a:lnTo>
                  <a:lnTo>
                    <a:pt x="986" y="164"/>
                  </a:lnTo>
                  <a:lnTo>
                    <a:pt x="992" y="164"/>
                  </a:lnTo>
                  <a:lnTo>
                    <a:pt x="992" y="164"/>
                  </a:lnTo>
                  <a:lnTo>
                    <a:pt x="998" y="164"/>
                  </a:lnTo>
                  <a:lnTo>
                    <a:pt x="1004" y="166"/>
                  </a:lnTo>
                  <a:lnTo>
                    <a:pt x="1008" y="174"/>
                  </a:lnTo>
                  <a:lnTo>
                    <a:pt x="1008" y="174"/>
                  </a:lnTo>
                  <a:lnTo>
                    <a:pt x="1012" y="186"/>
                  </a:lnTo>
                  <a:lnTo>
                    <a:pt x="1012" y="186"/>
                  </a:lnTo>
                  <a:lnTo>
                    <a:pt x="1014" y="184"/>
                  </a:lnTo>
                  <a:lnTo>
                    <a:pt x="1018" y="184"/>
                  </a:lnTo>
                  <a:lnTo>
                    <a:pt x="1022" y="186"/>
                  </a:lnTo>
                  <a:lnTo>
                    <a:pt x="1022" y="186"/>
                  </a:lnTo>
                  <a:lnTo>
                    <a:pt x="1024" y="188"/>
                  </a:lnTo>
                  <a:lnTo>
                    <a:pt x="1026" y="192"/>
                  </a:lnTo>
                  <a:lnTo>
                    <a:pt x="1026" y="202"/>
                  </a:lnTo>
                  <a:lnTo>
                    <a:pt x="1028" y="216"/>
                  </a:lnTo>
                  <a:lnTo>
                    <a:pt x="1028" y="216"/>
                  </a:lnTo>
                  <a:lnTo>
                    <a:pt x="1022" y="230"/>
                  </a:lnTo>
                  <a:lnTo>
                    <a:pt x="1016" y="246"/>
                  </a:lnTo>
                  <a:lnTo>
                    <a:pt x="1006" y="266"/>
                  </a:lnTo>
                  <a:lnTo>
                    <a:pt x="992" y="288"/>
                  </a:lnTo>
                  <a:lnTo>
                    <a:pt x="976" y="308"/>
                  </a:lnTo>
                  <a:lnTo>
                    <a:pt x="966" y="320"/>
                  </a:lnTo>
                  <a:lnTo>
                    <a:pt x="954" y="330"/>
                  </a:lnTo>
                  <a:lnTo>
                    <a:pt x="942" y="338"/>
                  </a:lnTo>
                  <a:lnTo>
                    <a:pt x="930" y="346"/>
                  </a:lnTo>
                  <a:lnTo>
                    <a:pt x="930" y="346"/>
                  </a:lnTo>
                  <a:lnTo>
                    <a:pt x="934" y="352"/>
                  </a:lnTo>
                  <a:lnTo>
                    <a:pt x="940" y="358"/>
                  </a:lnTo>
                  <a:lnTo>
                    <a:pt x="950" y="364"/>
                  </a:lnTo>
                  <a:lnTo>
                    <a:pt x="964" y="370"/>
                  </a:lnTo>
                  <a:lnTo>
                    <a:pt x="980" y="374"/>
                  </a:lnTo>
                  <a:lnTo>
                    <a:pt x="1000" y="374"/>
                  </a:lnTo>
                  <a:lnTo>
                    <a:pt x="1024" y="370"/>
                  </a:lnTo>
                  <a:lnTo>
                    <a:pt x="1024" y="370"/>
                  </a:lnTo>
                  <a:lnTo>
                    <a:pt x="1046" y="384"/>
                  </a:lnTo>
                  <a:lnTo>
                    <a:pt x="1062" y="392"/>
                  </a:lnTo>
                  <a:lnTo>
                    <a:pt x="1070" y="394"/>
                  </a:lnTo>
                  <a:lnTo>
                    <a:pt x="1080" y="394"/>
                  </a:lnTo>
                  <a:lnTo>
                    <a:pt x="1104" y="394"/>
                  </a:lnTo>
                  <a:lnTo>
                    <a:pt x="1104" y="394"/>
                  </a:lnTo>
                  <a:lnTo>
                    <a:pt x="1114" y="398"/>
                  </a:lnTo>
                  <a:lnTo>
                    <a:pt x="1138" y="410"/>
                  </a:lnTo>
                  <a:lnTo>
                    <a:pt x="1166" y="422"/>
                  </a:lnTo>
                  <a:lnTo>
                    <a:pt x="1180" y="426"/>
                  </a:lnTo>
                  <a:lnTo>
                    <a:pt x="1194" y="430"/>
                  </a:lnTo>
                  <a:lnTo>
                    <a:pt x="1194" y="430"/>
                  </a:lnTo>
                  <a:lnTo>
                    <a:pt x="1242" y="432"/>
                  </a:lnTo>
                  <a:lnTo>
                    <a:pt x="1242" y="432"/>
                  </a:lnTo>
                  <a:lnTo>
                    <a:pt x="1236" y="436"/>
                  </a:lnTo>
                  <a:lnTo>
                    <a:pt x="1222" y="450"/>
                  </a:lnTo>
                  <a:lnTo>
                    <a:pt x="1214" y="458"/>
                  </a:lnTo>
                  <a:lnTo>
                    <a:pt x="1206" y="466"/>
                  </a:lnTo>
                  <a:lnTo>
                    <a:pt x="1202" y="476"/>
                  </a:lnTo>
                  <a:lnTo>
                    <a:pt x="1200" y="484"/>
                  </a:lnTo>
                  <a:lnTo>
                    <a:pt x="1200" y="484"/>
                  </a:lnTo>
                  <a:lnTo>
                    <a:pt x="1200" y="506"/>
                  </a:lnTo>
                  <a:lnTo>
                    <a:pt x="1202" y="534"/>
                  </a:lnTo>
                  <a:lnTo>
                    <a:pt x="1204" y="564"/>
                  </a:lnTo>
                  <a:lnTo>
                    <a:pt x="1208" y="576"/>
                  </a:lnTo>
                  <a:lnTo>
                    <a:pt x="1212" y="586"/>
                  </a:lnTo>
                  <a:lnTo>
                    <a:pt x="1212" y="586"/>
                  </a:lnTo>
                  <a:lnTo>
                    <a:pt x="1220" y="540"/>
                  </a:lnTo>
                  <a:lnTo>
                    <a:pt x="1230" y="504"/>
                  </a:lnTo>
                  <a:lnTo>
                    <a:pt x="1234" y="488"/>
                  </a:lnTo>
                  <a:lnTo>
                    <a:pt x="1240" y="480"/>
                  </a:lnTo>
                  <a:lnTo>
                    <a:pt x="1240" y="480"/>
                  </a:lnTo>
                  <a:lnTo>
                    <a:pt x="1250" y="464"/>
                  </a:lnTo>
                  <a:lnTo>
                    <a:pt x="1266" y="446"/>
                  </a:lnTo>
                  <a:lnTo>
                    <a:pt x="1284" y="428"/>
                  </a:lnTo>
                  <a:lnTo>
                    <a:pt x="1242" y="426"/>
                  </a:lnTo>
                  <a:lnTo>
                    <a:pt x="1242" y="426"/>
                  </a:lnTo>
                  <a:lnTo>
                    <a:pt x="1250" y="422"/>
                  </a:lnTo>
                  <a:lnTo>
                    <a:pt x="1254" y="420"/>
                  </a:lnTo>
                  <a:lnTo>
                    <a:pt x="1258" y="416"/>
                  </a:lnTo>
                  <a:lnTo>
                    <a:pt x="1258" y="416"/>
                  </a:lnTo>
                  <a:lnTo>
                    <a:pt x="1258" y="396"/>
                  </a:lnTo>
                  <a:lnTo>
                    <a:pt x="1260" y="386"/>
                  </a:lnTo>
                  <a:lnTo>
                    <a:pt x="1260" y="382"/>
                  </a:lnTo>
                  <a:lnTo>
                    <a:pt x="1262" y="382"/>
                  </a:lnTo>
                  <a:lnTo>
                    <a:pt x="1262" y="382"/>
                  </a:lnTo>
                  <a:lnTo>
                    <a:pt x="1262" y="380"/>
                  </a:lnTo>
                  <a:lnTo>
                    <a:pt x="1262" y="376"/>
                  </a:lnTo>
                  <a:lnTo>
                    <a:pt x="1254" y="366"/>
                  </a:lnTo>
                  <a:lnTo>
                    <a:pt x="1242" y="352"/>
                  </a:lnTo>
                  <a:lnTo>
                    <a:pt x="1242" y="352"/>
                  </a:lnTo>
                  <a:lnTo>
                    <a:pt x="1234" y="346"/>
                  </a:lnTo>
                  <a:lnTo>
                    <a:pt x="1226" y="342"/>
                  </a:lnTo>
                  <a:lnTo>
                    <a:pt x="1210" y="336"/>
                  </a:lnTo>
                  <a:lnTo>
                    <a:pt x="1194" y="332"/>
                  </a:lnTo>
                  <a:lnTo>
                    <a:pt x="1188" y="328"/>
                  </a:lnTo>
                  <a:lnTo>
                    <a:pt x="1186" y="324"/>
                  </a:lnTo>
                  <a:lnTo>
                    <a:pt x="1186" y="324"/>
                  </a:lnTo>
                  <a:lnTo>
                    <a:pt x="1184" y="320"/>
                  </a:lnTo>
                  <a:lnTo>
                    <a:pt x="1182" y="314"/>
                  </a:lnTo>
                  <a:lnTo>
                    <a:pt x="1180" y="300"/>
                  </a:lnTo>
                  <a:lnTo>
                    <a:pt x="1178" y="286"/>
                  </a:lnTo>
                  <a:lnTo>
                    <a:pt x="1176" y="282"/>
                  </a:lnTo>
                  <a:lnTo>
                    <a:pt x="1174" y="280"/>
                  </a:lnTo>
                  <a:lnTo>
                    <a:pt x="1174" y="280"/>
                  </a:lnTo>
                  <a:lnTo>
                    <a:pt x="1156" y="272"/>
                  </a:lnTo>
                  <a:lnTo>
                    <a:pt x="1146" y="266"/>
                  </a:lnTo>
                  <a:lnTo>
                    <a:pt x="1140" y="260"/>
                  </a:lnTo>
                  <a:lnTo>
                    <a:pt x="1140" y="260"/>
                  </a:lnTo>
                  <a:lnTo>
                    <a:pt x="1138" y="244"/>
                  </a:lnTo>
                  <a:lnTo>
                    <a:pt x="1138" y="234"/>
                  </a:lnTo>
                  <a:lnTo>
                    <a:pt x="1138" y="234"/>
                  </a:lnTo>
                  <a:lnTo>
                    <a:pt x="1140" y="232"/>
                  </a:lnTo>
                  <a:lnTo>
                    <a:pt x="1144" y="228"/>
                  </a:lnTo>
                  <a:lnTo>
                    <a:pt x="1150" y="224"/>
                  </a:lnTo>
                  <a:lnTo>
                    <a:pt x="1156" y="222"/>
                  </a:lnTo>
                  <a:lnTo>
                    <a:pt x="1160" y="224"/>
                  </a:lnTo>
                  <a:lnTo>
                    <a:pt x="1160" y="224"/>
                  </a:lnTo>
                  <a:lnTo>
                    <a:pt x="1184" y="232"/>
                  </a:lnTo>
                  <a:lnTo>
                    <a:pt x="1184" y="232"/>
                  </a:lnTo>
                  <a:lnTo>
                    <a:pt x="1190" y="228"/>
                  </a:lnTo>
                  <a:lnTo>
                    <a:pt x="1196" y="224"/>
                  </a:lnTo>
                  <a:lnTo>
                    <a:pt x="1202" y="224"/>
                  </a:lnTo>
                  <a:lnTo>
                    <a:pt x="1202" y="224"/>
                  </a:lnTo>
                  <a:lnTo>
                    <a:pt x="1220" y="224"/>
                  </a:lnTo>
                  <a:lnTo>
                    <a:pt x="1220" y="224"/>
                  </a:lnTo>
                  <a:lnTo>
                    <a:pt x="1226" y="222"/>
                  </a:lnTo>
                  <a:lnTo>
                    <a:pt x="1230" y="220"/>
                  </a:lnTo>
                  <a:lnTo>
                    <a:pt x="1236" y="216"/>
                  </a:lnTo>
                  <a:lnTo>
                    <a:pt x="1240" y="216"/>
                  </a:lnTo>
                  <a:lnTo>
                    <a:pt x="1240" y="216"/>
                  </a:lnTo>
                  <a:lnTo>
                    <a:pt x="1250" y="216"/>
                  </a:lnTo>
                  <a:lnTo>
                    <a:pt x="1260" y="216"/>
                  </a:lnTo>
                  <a:lnTo>
                    <a:pt x="1260" y="216"/>
                  </a:lnTo>
                  <a:lnTo>
                    <a:pt x="1264" y="216"/>
                  </a:lnTo>
                  <a:lnTo>
                    <a:pt x="1268" y="212"/>
                  </a:lnTo>
                  <a:lnTo>
                    <a:pt x="1278" y="204"/>
                  </a:lnTo>
                  <a:lnTo>
                    <a:pt x="1288" y="198"/>
                  </a:lnTo>
                  <a:lnTo>
                    <a:pt x="1292" y="196"/>
                  </a:lnTo>
                  <a:lnTo>
                    <a:pt x="1296" y="196"/>
                  </a:lnTo>
                  <a:lnTo>
                    <a:pt x="1296" y="196"/>
                  </a:lnTo>
                  <a:lnTo>
                    <a:pt x="1308" y="198"/>
                  </a:lnTo>
                  <a:lnTo>
                    <a:pt x="1314" y="198"/>
                  </a:lnTo>
                  <a:lnTo>
                    <a:pt x="1314" y="198"/>
                  </a:lnTo>
                  <a:lnTo>
                    <a:pt x="1296" y="250"/>
                  </a:lnTo>
                  <a:lnTo>
                    <a:pt x="1282" y="288"/>
                  </a:lnTo>
                  <a:lnTo>
                    <a:pt x="1276" y="300"/>
                  </a:lnTo>
                  <a:lnTo>
                    <a:pt x="1274" y="302"/>
                  </a:lnTo>
                  <a:lnTo>
                    <a:pt x="1272" y="304"/>
                  </a:lnTo>
                  <a:lnTo>
                    <a:pt x="1272" y="304"/>
                  </a:lnTo>
                  <a:lnTo>
                    <a:pt x="1268" y="304"/>
                  </a:lnTo>
                  <a:lnTo>
                    <a:pt x="1266" y="308"/>
                  </a:lnTo>
                  <a:lnTo>
                    <a:pt x="1262" y="318"/>
                  </a:lnTo>
                  <a:lnTo>
                    <a:pt x="1260" y="328"/>
                  </a:lnTo>
                  <a:lnTo>
                    <a:pt x="1258" y="336"/>
                  </a:lnTo>
                  <a:lnTo>
                    <a:pt x="1258" y="336"/>
                  </a:lnTo>
                  <a:lnTo>
                    <a:pt x="1258" y="350"/>
                  </a:lnTo>
                  <a:lnTo>
                    <a:pt x="1258" y="360"/>
                  </a:lnTo>
                  <a:lnTo>
                    <a:pt x="1262" y="370"/>
                  </a:lnTo>
                  <a:lnTo>
                    <a:pt x="1262" y="370"/>
                  </a:lnTo>
                  <a:lnTo>
                    <a:pt x="1264" y="372"/>
                  </a:lnTo>
                  <a:lnTo>
                    <a:pt x="1268" y="372"/>
                  </a:lnTo>
                  <a:lnTo>
                    <a:pt x="1276" y="374"/>
                  </a:lnTo>
                  <a:lnTo>
                    <a:pt x="1284" y="372"/>
                  </a:lnTo>
                  <a:lnTo>
                    <a:pt x="1284" y="372"/>
                  </a:lnTo>
                  <a:lnTo>
                    <a:pt x="1288" y="368"/>
                  </a:lnTo>
                  <a:lnTo>
                    <a:pt x="1290" y="364"/>
                  </a:lnTo>
                  <a:lnTo>
                    <a:pt x="1296" y="362"/>
                  </a:lnTo>
                  <a:lnTo>
                    <a:pt x="1296" y="362"/>
                  </a:lnTo>
                  <a:lnTo>
                    <a:pt x="1300" y="362"/>
                  </a:lnTo>
                  <a:lnTo>
                    <a:pt x="1302" y="358"/>
                  </a:lnTo>
                  <a:lnTo>
                    <a:pt x="1310" y="350"/>
                  </a:lnTo>
                  <a:lnTo>
                    <a:pt x="1318" y="342"/>
                  </a:lnTo>
                  <a:lnTo>
                    <a:pt x="1320" y="340"/>
                  </a:lnTo>
                  <a:lnTo>
                    <a:pt x="1324" y="340"/>
                  </a:lnTo>
                  <a:lnTo>
                    <a:pt x="1324" y="340"/>
                  </a:lnTo>
                  <a:lnTo>
                    <a:pt x="1330" y="336"/>
                  </a:lnTo>
                  <a:lnTo>
                    <a:pt x="1336" y="332"/>
                  </a:lnTo>
                  <a:lnTo>
                    <a:pt x="1344" y="326"/>
                  </a:lnTo>
                  <a:lnTo>
                    <a:pt x="1348" y="324"/>
                  </a:lnTo>
                  <a:lnTo>
                    <a:pt x="1354" y="324"/>
                  </a:lnTo>
                  <a:lnTo>
                    <a:pt x="1354" y="324"/>
                  </a:lnTo>
                  <a:lnTo>
                    <a:pt x="1362" y="324"/>
                  </a:lnTo>
                  <a:lnTo>
                    <a:pt x="1370" y="326"/>
                  </a:lnTo>
                  <a:lnTo>
                    <a:pt x="1376" y="328"/>
                  </a:lnTo>
                  <a:lnTo>
                    <a:pt x="1380" y="330"/>
                  </a:lnTo>
                  <a:lnTo>
                    <a:pt x="1380" y="330"/>
                  </a:lnTo>
                  <a:lnTo>
                    <a:pt x="1388" y="328"/>
                  </a:lnTo>
                  <a:lnTo>
                    <a:pt x="1394" y="328"/>
                  </a:lnTo>
                  <a:lnTo>
                    <a:pt x="1394" y="328"/>
                  </a:lnTo>
                  <a:lnTo>
                    <a:pt x="1456" y="322"/>
                  </a:lnTo>
                  <a:lnTo>
                    <a:pt x="1456" y="322"/>
                  </a:lnTo>
                  <a:lnTo>
                    <a:pt x="1460" y="322"/>
                  </a:lnTo>
                  <a:lnTo>
                    <a:pt x="1462" y="318"/>
                  </a:lnTo>
                  <a:lnTo>
                    <a:pt x="1466" y="308"/>
                  </a:lnTo>
                  <a:lnTo>
                    <a:pt x="1470" y="298"/>
                  </a:lnTo>
                  <a:lnTo>
                    <a:pt x="1470" y="290"/>
                  </a:lnTo>
                  <a:lnTo>
                    <a:pt x="1470" y="290"/>
                  </a:lnTo>
                  <a:lnTo>
                    <a:pt x="1468" y="288"/>
                  </a:lnTo>
                  <a:lnTo>
                    <a:pt x="1466" y="288"/>
                  </a:lnTo>
                  <a:lnTo>
                    <a:pt x="1464" y="284"/>
                  </a:lnTo>
                  <a:lnTo>
                    <a:pt x="1464" y="278"/>
                  </a:lnTo>
                  <a:lnTo>
                    <a:pt x="1464" y="278"/>
                  </a:lnTo>
                  <a:lnTo>
                    <a:pt x="1466" y="274"/>
                  </a:lnTo>
                  <a:lnTo>
                    <a:pt x="1472" y="272"/>
                  </a:lnTo>
                  <a:lnTo>
                    <a:pt x="1480" y="270"/>
                  </a:lnTo>
                  <a:lnTo>
                    <a:pt x="1494" y="244"/>
                  </a:lnTo>
                  <a:lnTo>
                    <a:pt x="1494" y="244"/>
                  </a:lnTo>
                  <a:lnTo>
                    <a:pt x="1488" y="244"/>
                  </a:lnTo>
                  <a:lnTo>
                    <a:pt x="1482" y="238"/>
                  </a:lnTo>
                  <a:lnTo>
                    <a:pt x="1474" y="232"/>
                  </a:lnTo>
                  <a:lnTo>
                    <a:pt x="1470" y="224"/>
                  </a:lnTo>
                  <a:lnTo>
                    <a:pt x="1470" y="224"/>
                  </a:lnTo>
                  <a:lnTo>
                    <a:pt x="1468" y="220"/>
                  </a:lnTo>
                  <a:lnTo>
                    <a:pt x="1464" y="216"/>
                  </a:lnTo>
                  <a:lnTo>
                    <a:pt x="1460" y="214"/>
                  </a:lnTo>
                  <a:lnTo>
                    <a:pt x="1458" y="210"/>
                  </a:lnTo>
                  <a:lnTo>
                    <a:pt x="1458" y="210"/>
                  </a:lnTo>
                  <a:lnTo>
                    <a:pt x="1450" y="202"/>
                  </a:lnTo>
                  <a:lnTo>
                    <a:pt x="1432" y="188"/>
                  </a:lnTo>
                  <a:lnTo>
                    <a:pt x="1406" y="168"/>
                  </a:lnTo>
                  <a:lnTo>
                    <a:pt x="1386" y="158"/>
                  </a:lnTo>
                  <a:lnTo>
                    <a:pt x="1386" y="158"/>
                  </a:lnTo>
                  <a:lnTo>
                    <a:pt x="1384" y="152"/>
                  </a:lnTo>
                  <a:lnTo>
                    <a:pt x="1380" y="148"/>
                  </a:lnTo>
                  <a:lnTo>
                    <a:pt x="1376" y="146"/>
                  </a:lnTo>
                  <a:lnTo>
                    <a:pt x="1376" y="146"/>
                  </a:lnTo>
                  <a:lnTo>
                    <a:pt x="1368" y="146"/>
                  </a:lnTo>
                  <a:lnTo>
                    <a:pt x="1364" y="144"/>
                  </a:lnTo>
                  <a:lnTo>
                    <a:pt x="1360" y="140"/>
                  </a:lnTo>
                  <a:lnTo>
                    <a:pt x="1360" y="140"/>
                  </a:lnTo>
                  <a:lnTo>
                    <a:pt x="1352" y="130"/>
                  </a:lnTo>
                  <a:lnTo>
                    <a:pt x="1350" y="128"/>
                  </a:lnTo>
                  <a:lnTo>
                    <a:pt x="1348" y="126"/>
                  </a:lnTo>
                  <a:lnTo>
                    <a:pt x="1348" y="126"/>
                  </a:lnTo>
                  <a:lnTo>
                    <a:pt x="1334" y="122"/>
                  </a:lnTo>
                  <a:lnTo>
                    <a:pt x="1324" y="122"/>
                  </a:lnTo>
                  <a:lnTo>
                    <a:pt x="1320" y="124"/>
                  </a:lnTo>
                  <a:lnTo>
                    <a:pt x="1316" y="126"/>
                  </a:lnTo>
                  <a:lnTo>
                    <a:pt x="1316" y="126"/>
                  </a:lnTo>
                  <a:lnTo>
                    <a:pt x="1316" y="130"/>
                  </a:lnTo>
                  <a:lnTo>
                    <a:pt x="1318" y="132"/>
                  </a:lnTo>
                  <a:lnTo>
                    <a:pt x="1320" y="132"/>
                  </a:lnTo>
                  <a:lnTo>
                    <a:pt x="1320" y="136"/>
                  </a:lnTo>
                  <a:lnTo>
                    <a:pt x="1320" y="136"/>
                  </a:lnTo>
                  <a:lnTo>
                    <a:pt x="1318" y="146"/>
                  </a:lnTo>
                  <a:lnTo>
                    <a:pt x="1316" y="158"/>
                  </a:lnTo>
                  <a:lnTo>
                    <a:pt x="1316" y="158"/>
                  </a:lnTo>
                  <a:lnTo>
                    <a:pt x="1318" y="194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33" name="Freeform 6"/>
            <p:cNvSpPr>
              <a:spLocks/>
            </p:cNvSpPr>
            <p:nvPr/>
          </p:nvSpPr>
          <p:spPr bwMode="auto">
            <a:xfrm>
              <a:off x="-11120" y="2557498"/>
              <a:ext cx="1713404" cy="190239"/>
            </a:xfrm>
            <a:custGeom>
              <a:avLst/>
              <a:gdLst>
                <a:gd name="T0" fmla="*/ 0 w 868"/>
                <a:gd name="T1" fmla="*/ 28 h 94"/>
                <a:gd name="T2" fmla="*/ 0 w 868"/>
                <a:gd name="T3" fmla="*/ 28 h 94"/>
                <a:gd name="T4" fmla="*/ 118 w 868"/>
                <a:gd name="T5" fmla="*/ 12 h 94"/>
                <a:gd name="T6" fmla="*/ 210 w 868"/>
                <a:gd name="T7" fmla="*/ 2 h 94"/>
                <a:gd name="T8" fmla="*/ 250 w 868"/>
                <a:gd name="T9" fmla="*/ 0 h 94"/>
                <a:gd name="T10" fmla="*/ 280 w 868"/>
                <a:gd name="T11" fmla="*/ 0 h 94"/>
                <a:gd name="T12" fmla="*/ 280 w 868"/>
                <a:gd name="T13" fmla="*/ 0 h 94"/>
                <a:gd name="T14" fmla="*/ 342 w 868"/>
                <a:gd name="T15" fmla="*/ 2 h 94"/>
                <a:gd name="T16" fmla="*/ 398 w 868"/>
                <a:gd name="T17" fmla="*/ 6 h 94"/>
                <a:gd name="T18" fmla="*/ 448 w 868"/>
                <a:gd name="T19" fmla="*/ 12 h 94"/>
                <a:gd name="T20" fmla="*/ 494 w 868"/>
                <a:gd name="T21" fmla="*/ 18 h 94"/>
                <a:gd name="T22" fmla="*/ 532 w 868"/>
                <a:gd name="T23" fmla="*/ 26 h 94"/>
                <a:gd name="T24" fmla="*/ 566 w 868"/>
                <a:gd name="T25" fmla="*/ 34 h 94"/>
                <a:gd name="T26" fmla="*/ 594 w 868"/>
                <a:gd name="T27" fmla="*/ 42 h 94"/>
                <a:gd name="T28" fmla="*/ 620 w 868"/>
                <a:gd name="T29" fmla="*/ 50 h 94"/>
                <a:gd name="T30" fmla="*/ 640 w 868"/>
                <a:gd name="T31" fmla="*/ 58 h 94"/>
                <a:gd name="T32" fmla="*/ 656 w 868"/>
                <a:gd name="T33" fmla="*/ 66 h 94"/>
                <a:gd name="T34" fmla="*/ 680 w 868"/>
                <a:gd name="T35" fmla="*/ 80 h 94"/>
                <a:gd name="T36" fmla="*/ 692 w 868"/>
                <a:gd name="T37" fmla="*/ 90 h 94"/>
                <a:gd name="T38" fmla="*/ 696 w 868"/>
                <a:gd name="T39" fmla="*/ 94 h 94"/>
                <a:gd name="T40" fmla="*/ 718 w 868"/>
                <a:gd name="T41" fmla="*/ 88 h 94"/>
                <a:gd name="T42" fmla="*/ 718 w 868"/>
                <a:gd name="T43" fmla="*/ 88 h 94"/>
                <a:gd name="T44" fmla="*/ 764 w 868"/>
                <a:gd name="T45" fmla="*/ 56 h 94"/>
                <a:gd name="T46" fmla="*/ 798 w 868"/>
                <a:gd name="T47" fmla="*/ 34 h 94"/>
                <a:gd name="T48" fmla="*/ 812 w 868"/>
                <a:gd name="T49" fmla="*/ 28 h 94"/>
                <a:gd name="T50" fmla="*/ 822 w 868"/>
                <a:gd name="T51" fmla="*/ 24 h 94"/>
                <a:gd name="T52" fmla="*/ 822 w 868"/>
                <a:gd name="T53" fmla="*/ 24 h 94"/>
                <a:gd name="T54" fmla="*/ 868 w 868"/>
                <a:gd name="T55" fmla="*/ 32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68" h="94">
                  <a:moveTo>
                    <a:pt x="0" y="28"/>
                  </a:moveTo>
                  <a:lnTo>
                    <a:pt x="0" y="28"/>
                  </a:lnTo>
                  <a:lnTo>
                    <a:pt x="118" y="12"/>
                  </a:lnTo>
                  <a:lnTo>
                    <a:pt x="210" y="2"/>
                  </a:lnTo>
                  <a:lnTo>
                    <a:pt x="250" y="0"/>
                  </a:lnTo>
                  <a:lnTo>
                    <a:pt x="280" y="0"/>
                  </a:lnTo>
                  <a:lnTo>
                    <a:pt x="280" y="0"/>
                  </a:lnTo>
                  <a:lnTo>
                    <a:pt x="342" y="2"/>
                  </a:lnTo>
                  <a:lnTo>
                    <a:pt x="398" y="6"/>
                  </a:lnTo>
                  <a:lnTo>
                    <a:pt x="448" y="12"/>
                  </a:lnTo>
                  <a:lnTo>
                    <a:pt x="494" y="18"/>
                  </a:lnTo>
                  <a:lnTo>
                    <a:pt x="532" y="26"/>
                  </a:lnTo>
                  <a:lnTo>
                    <a:pt x="566" y="34"/>
                  </a:lnTo>
                  <a:lnTo>
                    <a:pt x="594" y="42"/>
                  </a:lnTo>
                  <a:lnTo>
                    <a:pt x="620" y="50"/>
                  </a:lnTo>
                  <a:lnTo>
                    <a:pt x="640" y="58"/>
                  </a:lnTo>
                  <a:lnTo>
                    <a:pt x="656" y="66"/>
                  </a:lnTo>
                  <a:lnTo>
                    <a:pt x="680" y="80"/>
                  </a:lnTo>
                  <a:lnTo>
                    <a:pt x="692" y="90"/>
                  </a:lnTo>
                  <a:lnTo>
                    <a:pt x="696" y="94"/>
                  </a:lnTo>
                  <a:lnTo>
                    <a:pt x="718" y="88"/>
                  </a:lnTo>
                  <a:lnTo>
                    <a:pt x="718" y="88"/>
                  </a:lnTo>
                  <a:lnTo>
                    <a:pt x="764" y="56"/>
                  </a:lnTo>
                  <a:lnTo>
                    <a:pt x="798" y="34"/>
                  </a:lnTo>
                  <a:lnTo>
                    <a:pt x="812" y="28"/>
                  </a:lnTo>
                  <a:lnTo>
                    <a:pt x="822" y="24"/>
                  </a:lnTo>
                  <a:lnTo>
                    <a:pt x="822" y="24"/>
                  </a:lnTo>
                  <a:lnTo>
                    <a:pt x="868" y="32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34" name="Freeform 7"/>
            <p:cNvSpPr>
              <a:spLocks/>
            </p:cNvSpPr>
            <p:nvPr/>
          </p:nvSpPr>
          <p:spPr bwMode="auto">
            <a:xfrm>
              <a:off x="-11120" y="2707260"/>
              <a:ext cx="1733143" cy="340001"/>
            </a:xfrm>
            <a:custGeom>
              <a:avLst/>
              <a:gdLst>
                <a:gd name="T0" fmla="*/ 0 w 878"/>
                <a:gd name="T1" fmla="*/ 38 h 168"/>
                <a:gd name="T2" fmla="*/ 0 w 878"/>
                <a:gd name="T3" fmla="*/ 38 h 168"/>
                <a:gd name="T4" fmla="*/ 32 w 878"/>
                <a:gd name="T5" fmla="*/ 32 h 168"/>
                <a:gd name="T6" fmla="*/ 114 w 878"/>
                <a:gd name="T7" fmla="*/ 22 h 168"/>
                <a:gd name="T8" fmla="*/ 164 w 878"/>
                <a:gd name="T9" fmla="*/ 18 h 168"/>
                <a:gd name="T10" fmla="*/ 218 w 878"/>
                <a:gd name="T11" fmla="*/ 14 h 168"/>
                <a:gd name="T12" fmla="*/ 270 w 878"/>
                <a:gd name="T13" fmla="*/ 14 h 168"/>
                <a:gd name="T14" fmla="*/ 318 w 878"/>
                <a:gd name="T15" fmla="*/ 18 h 168"/>
                <a:gd name="T16" fmla="*/ 318 w 878"/>
                <a:gd name="T17" fmla="*/ 18 h 168"/>
                <a:gd name="T18" fmla="*/ 414 w 878"/>
                <a:gd name="T19" fmla="*/ 32 h 168"/>
                <a:gd name="T20" fmla="*/ 512 w 878"/>
                <a:gd name="T21" fmla="*/ 48 h 168"/>
                <a:gd name="T22" fmla="*/ 588 w 878"/>
                <a:gd name="T23" fmla="*/ 64 h 168"/>
                <a:gd name="T24" fmla="*/ 612 w 878"/>
                <a:gd name="T25" fmla="*/ 70 h 168"/>
                <a:gd name="T26" fmla="*/ 626 w 878"/>
                <a:gd name="T27" fmla="*/ 76 h 168"/>
                <a:gd name="T28" fmla="*/ 626 w 878"/>
                <a:gd name="T29" fmla="*/ 76 h 168"/>
                <a:gd name="T30" fmla="*/ 650 w 878"/>
                <a:gd name="T31" fmla="*/ 92 h 168"/>
                <a:gd name="T32" fmla="*/ 686 w 878"/>
                <a:gd name="T33" fmla="*/ 116 h 168"/>
                <a:gd name="T34" fmla="*/ 728 w 878"/>
                <a:gd name="T35" fmla="*/ 138 h 168"/>
                <a:gd name="T36" fmla="*/ 768 w 878"/>
                <a:gd name="T37" fmla="*/ 160 h 168"/>
                <a:gd name="T38" fmla="*/ 768 w 878"/>
                <a:gd name="T39" fmla="*/ 160 h 168"/>
                <a:gd name="T40" fmla="*/ 778 w 878"/>
                <a:gd name="T41" fmla="*/ 162 h 168"/>
                <a:gd name="T42" fmla="*/ 792 w 878"/>
                <a:gd name="T43" fmla="*/ 164 h 168"/>
                <a:gd name="T44" fmla="*/ 818 w 878"/>
                <a:gd name="T45" fmla="*/ 168 h 168"/>
                <a:gd name="T46" fmla="*/ 850 w 878"/>
                <a:gd name="T47" fmla="*/ 168 h 168"/>
                <a:gd name="T48" fmla="*/ 850 w 878"/>
                <a:gd name="T49" fmla="*/ 168 h 168"/>
                <a:gd name="T50" fmla="*/ 840 w 878"/>
                <a:gd name="T51" fmla="*/ 154 h 168"/>
                <a:gd name="T52" fmla="*/ 836 w 878"/>
                <a:gd name="T53" fmla="*/ 144 h 168"/>
                <a:gd name="T54" fmla="*/ 834 w 878"/>
                <a:gd name="T55" fmla="*/ 134 h 168"/>
                <a:gd name="T56" fmla="*/ 834 w 878"/>
                <a:gd name="T57" fmla="*/ 134 h 168"/>
                <a:gd name="T58" fmla="*/ 834 w 878"/>
                <a:gd name="T59" fmla="*/ 130 h 168"/>
                <a:gd name="T60" fmla="*/ 838 w 878"/>
                <a:gd name="T61" fmla="*/ 126 h 168"/>
                <a:gd name="T62" fmla="*/ 848 w 878"/>
                <a:gd name="T63" fmla="*/ 124 h 168"/>
                <a:gd name="T64" fmla="*/ 848 w 878"/>
                <a:gd name="T65" fmla="*/ 124 h 168"/>
                <a:gd name="T66" fmla="*/ 856 w 878"/>
                <a:gd name="T67" fmla="*/ 122 h 168"/>
                <a:gd name="T68" fmla="*/ 862 w 878"/>
                <a:gd name="T69" fmla="*/ 124 h 168"/>
                <a:gd name="T70" fmla="*/ 866 w 878"/>
                <a:gd name="T71" fmla="*/ 128 h 168"/>
                <a:gd name="T72" fmla="*/ 870 w 878"/>
                <a:gd name="T73" fmla="*/ 132 h 168"/>
                <a:gd name="T74" fmla="*/ 876 w 878"/>
                <a:gd name="T75" fmla="*/ 142 h 168"/>
                <a:gd name="T76" fmla="*/ 878 w 878"/>
                <a:gd name="T77" fmla="*/ 146 h 168"/>
                <a:gd name="T78" fmla="*/ 878 w 878"/>
                <a:gd name="T79" fmla="*/ 146 h 168"/>
                <a:gd name="T80" fmla="*/ 878 w 878"/>
                <a:gd name="T81" fmla="*/ 140 h 168"/>
                <a:gd name="T82" fmla="*/ 876 w 878"/>
                <a:gd name="T83" fmla="*/ 132 h 168"/>
                <a:gd name="T84" fmla="*/ 874 w 878"/>
                <a:gd name="T85" fmla="*/ 122 h 168"/>
                <a:gd name="T86" fmla="*/ 874 w 878"/>
                <a:gd name="T87" fmla="*/ 122 h 168"/>
                <a:gd name="T88" fmla="*/ 872 w 878"/>
                <a:gd name="T89" fmla="*/ 116 h 168"/>
                <a:gd name="T90" fmla="*/ 868 w 878"/>
                <a:gd name="T91" fmla="*/ 110 h 168"/>
                <a:gd name="T92" fmla="*/ 864 w 878"/>
                <a:gd name="T93" fmla="*/ 106 h 168"/>
                <a:gd name="T94" fmla="*/ 862 w 878"/>
                <a:gd name="T95" fmla="*/ 102 h 168"/>
                <a:gd name="T96" fmla="*/ 862 w 878"/>
                <a:gd name="T97" fmla="*/ 102 h 168"/>
                <a:gd name="T98" fmla="*/ 864 w 878"/>
                <a:gd name="T99" fmla="*/ 96 h 168"/>
                <a:gd name="T100" fmla="*/ 868 w 878"/>
                <a:gd name="T101" fmla="*/ 94 h 168"/>
                <a:gd name="T102" fmla="*/ 870 w 878"/>
                <a:gd name="T103" fmla="*/ 94 h 168"/>
                <a:gd name="T104" fmla="*/ 872 w 878"/>
                <a:gd name="T105" fmla="*/ 88 h 168"/>
                <a:gd name="T106" fmla="*/ 872 w 878"/>
                <a:gd name="T107" fmla="*/ 88 h 168"/>
                <a:gd name="T108" fmla="*/ 872 w 878"/>
                <a:gd name="T109" fmla="*/ 42 h 168"/>
                <a:gd name="T110" fmla="*/ 852 w 878"/>
                <a:gd name="T111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78" h="168">
                  <a:moveTo>
                    <a:pt x="0" y="38"/>
                  </a:moveTo>
                  <a:lnTo>
                    <a:pt x="0" y="38"/>
                  </a:lnTo>
                  <a:lnTo>
                    <a:pt x="32" y="32"/>
                  </a:lnTo>
                  <a:lnTo>
                    <a:pt x="114" y="22"/>
                  </a:lnTo>
                  <a:lnTo>
                    <a:pt x="164" y="18"/>
                  </a:lnTo>
                  <a:lnTo>
                    <a:pt x="218" y="14"/>
                  </a:lnTo>
                  <a:lnTo>
                    <a:pt x="270" y="14"/>
                  </a:lnTo>
                  <a:lnTo>
                    <a:pt x="318" y="18"/>
                  </a:lnTo>
                  <a:lnTo>
                    <a:pt x="318" y="18"/>
                  </a:lnTo>
                  <a:lnTo>
                    <a:pt x="414" y="32"/>
                  </a:lnTo>
                  <a:lnTo>
                    <a:pt x="512" y="48"/>
                  </a:lnTo>
                  <a:lnTo>
                    <a:pt x="588" y="64"/>
                  </a:lnTo>
                  <a:lnTo>
                    <a:pt x="612" y="70"/>
                  </a:lnTo>
                  <a:lnTo>
                    <a:pt x="626" y="76"/>
                  </a:lnTo>
                  <a:lnTo>
                    <a:pt x="626" y="76"/>
                  </a:lnTo>
                  <a:lnTo>
                    <a:pt x="650" y="92"/>
                  </a:lnTo>
                  <a:lnTo>
                    <a:pt x="686" y="116"/>
                  </a:lnTo>
                  <a:lnTo>
                    <a:pt x="728" y="138"/>
                  </a:lnTo>
                  <a:lnTo>
                    <a:pt x="768" y="160"/>
                  </a:lnTo>
                  <a:lnTo>
                    <a:pt x="768" y="160"/>
                  </a:lnTo>
                  <a:lnTo>
                    <a:pt x="778" y="162"/>
                  </a:lnTo>
                  <a:lnTo>
                    <a:pt x="792" y="164"/>
                  </a:lnTo>
                  <a:lnTo>
                    <a:pt x="818" y="168"/>
                  </a:lnTo>
                  <a:lnTo>
                    <a:pt x="850" y="168"/>
                  </a:lnTo>
                  <a:lnTo>
                    <a:pt x="850" y="168"/>
                  </a:lnTo>
                  <a:lnTo>
                    <a:pt x="840" y="154"/>
                  </a:lnTo>
                  <a:lnTo>
                    <a:pt x="836" y="144"/>
                  </a:lnTo>
                  <a:lnTo>
                    <a:pt x="834" y="134"/>
                  </a:lnTo>
                  <a:lnTo>
                    <a:pt x="834" y="134"/>
                  </a:lnTo>
                  <a:lnTo>
                    <a:pt x="834" y="130"/>
                  </a:lnTo>
                  <a:lnTo>
                    <a:pt x="838" y="126"/>
                  </a:lnTo>
                  <a:lnTo>
                    <a:pt x="848" y="124"/>
                  </a:lnTo>
                  <a:lnTo>
                    <a:pt x="848" y="124"/>
                  </a:lnTo>
                  <a:lnTo>
                    <a:pt x="856" y="122"/>
                  </a:lnTo>
                  <a:lnTo>
                    <a:pt x="862" y="124"/>
                  </a:lnTo>
                  <a:lnTo>
                    <a:pt x="866" y="128"/>
                  </a:lnTo>
                  <a:lnTo>
                    <a:pt x="870" y="132"/>
                  </a:lnTo>
                  <a:lnTo>
                    <a:pt x="876" y="142"/>
                  </a:lnTo>
                  <a:lnTo>
                    <a:pt x="878" y="146"/>
                  </a:lnTo>
                  <a:lnTo>
                    <a:pt x="878" y="146"/>
                  </a:lnTo>
                  <a:lnTo>
                    <a:pt x="878" y="140"/>
                  </a:lnTo>
                  <a:lnTo>
                    <a:pt x="876" y="132"/>
                  </a:lnTo>
                  <a:lnTo>
                    <a:pt x="874" y="122"/>
                  </a:lnTo>
                  <a:lnTo>
                    <a:pt x="874" y="122"/>
                  </a:lnTo>
                  <a:lnTo>
                    <a:pt x="872" y="116"/>
                  </a:lnTo>
                  <a:lnTo>
                    <a:pt x="868" y="110"/>
                  </a:lnTo>
                  <a:lnTo>
                    <a:pt x="864" y="106"/>
                  </a:lnTo>
                  <a:lnTo>
                    <a:pt x="862" y="102"/>
                  </a:lnTo>
                  <a:lnTo>
                    <a:pt x="862" y="102"/>
                  </a:lnTo>
                  <a:lnTo>
                    <a:pt x="864" y="96"/>
                  </a:lnTo>
                  <a:lnTo>
                    <a:pt x="868" y="94"/>
                  </a:lnTo>
                  <a:lnTo>
                    <a:pt x="870" y="94"/>
                  </a:lnTo>
                  <a:lnTo>
                    <a:pt x="872" y="88"/>
                  </a:lnTo>
                  <a:lnTo>
                    <a:pt x="872" y="88"/>
                  </a:lnTo>
                  <a:lnTo>
                    <a:pt x="872" y="42"/>
                  </a:lnTo>
                  <a:lnTo>
                    <a:pt x="852" y="0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35" name="Freeform 8"/>
            <p:cNvSpPr>
              <a:spLocks/>
            </p:cNvSpPr>
            <p:nvPr/>
          </p:nvSpPr>
          <p:spPr bwMode="auto">
            <a:xfrm>
              <a:off x="-11120" y="3561312"/>
              <a:ext cx="607982" cy="890480"/>
            </a:xfrm>
            <a:custGeom>
              <a:avLst/>
              <a:gdLst>
                <a:gd name="T0" fmla="*/ 0 w 308"/>
                <a:gd name="T1" fmla="*/ 0 h 440"/>
                <a:gd name="T2" fmla="*/ 0 w 308"/>
                <a:gd name="T3" fmla="*/ 0 h 440"/>
                <a:gd name="T4" fmla="*/ 42 w 308"/>
                <a:gd name="T5" fmla="*/ 6 h 440"/>
                <a:gd name="T6" fmla="*/ 136 w 308"/>
                <a:gd name="T7" fmla="*/ 16 h 440"/>
                <a:gd name="T8" fmla="*/ 190 w 308"/>
                <a:gd name="T9" fmla="*/ 20 h 440"/>
                <a:gd name="T10" fmla="*/ 240 w 308"/>
                <a:gd name="T11" fmla="*/ 22 h 440"/>
                <a:gd name="T12" fmla="*/ 282 w 308"/>
                <a:gd name="T13" fmla="*/ 24 h 440"/>
                <a:gd name="T14" fmla="*/ 298 w 308"/>
                <a:gd name="T15" fmla="*/ 22 h 440"/>
                <a:gd name="T16" fmla="*/ 308 w 308"/>
                <a:gd name="T17" fmla="*/ 20 h 440"/>
                <a:gd name="T18" fmla="*/ 308 w 308"/>
                <a:gd name="T19" fmla="*/ 20 h 440"/>
                <a:gd name="T20" fmla="*/ 272 w 308"/>
                <a:gd name="T21" fmla="*/ 50 h 440"/>
                <a:gd name="T22" fmla="*/ 228 w 308"/>
                <a:gd name="T23" fmla="*/ 84 h 440"/>
                <a:gd name="T24" fmla="*/ 204 w 308"/>
                <a:gd name="T25" fmla="*/ 108 h 440"/>
                <a:gd name="T26" fmla="*/ 178 w 308"/>
                <a:gd name="T27" fmla="*/ 134 h 440"/>
                <a:gd name="T28" fmla="*/ 150 w 308"/>
                <a:gd name="T29" fmla="*/ 162 h 440"/>
                <a:gd name="T30" fmla="*/ 124 w 308"/>
                <a:gd name="T31" fmla="*/ 194 h 440"/>
                <a:gd name="T32" fmla="*/ 98 w 308"/>
                <a:gd name="T33" fmla="*/ 228 h 440"/>
                <a:gd name="T34" fmla="*/ 72 w 308"/>
                <a:gd name="T35" fmla="*/ 266 h 440"/>
                <a:gd name="T36" fmla="*/ 50 w 308"/>
                <a:gd name="T37" fmla="*/ 306 h 440"/>
                <a:gd name="T38" fmla="*/ 30 w 308"/>
                <a:gd name="T39" fmla="*/ 348 h 440"/>
                <a:gd name="T40" fmla="*/ 12 w 308"/>
                <a:gd name="T41" fmla="*/ 392 h 440"/>
                <a:gd name="T42" fmla="*/ 6 w 308"/>
                <a:gd name="T43" fmla="*/ 416 h 440"/>
                <a:gd name="T44" fmla="*/ 0 w 308"/>
                <a:gd name="T45" fmla="*/ 440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08" h="440">
                  <a:moveTo>
                    <a:pt x="0" y="0"/>
                  </a:moveTo>
                  <a:lnTo>
                    <a:pt x="0" y="0"/>
                  </a:lnTo>
                  <a:lnTo>
                    <a:pt x="42" y="6"/>
                  </a:lnTo>
                  <a:lnTo>
                    <a:pt x="136" y="16"/>
                  </a:lnTo>
                  <a:lnTo>
                    <a:pt x="190" y="20"/>
                  </a:lnTo>
                  <a:lnTo>
                    <a:pt x="240" y="22"/>
                  </a:lnTo>
                  <a:lnTo>
                    <a:pt x="282" y="24"/>
                  </a:lnTo>
                  <a:lnTo>
                    <a:pt x="298" y="22"/>
                  </a:lnTo>
                  <a:lnTo>
                    <a:pt x="308" y="20"/>
                  </a:lnTo>
                  <a:lnTo>
                    <a:pt x="308" y="20"/>
                  </a:lnTo>
                  <a:lnTo>
                    <a:pt x="272" y="50"/>
                  </a:lnTo>
                  <a:lnTo>
                    <a:pt x="228" y="84"/>
                  </a:lnTo>
                  <a:lnTo>
                    <a:pt x="204" y="108"/>
                  </a:lnTo>
                  <a:lnTo>
                    <a:pt x="178" y="134"/>
                  </a:lnTo>
                  <a:lnTo>
                    <a:pt x="150" y="162"/>
                  </a:lnTo>
                  <a:lnTo>
                    <a:pt x="124" y="194"/>
                  </a:lnTo>
                  <a:lnTo>
                    <a:pt x="98" y="228"/>
                  </a:lnTo>
                  <a:lnTo>
                    <a:pt x="72" y="266"/>
                  </a:lnTo>
                  <a:lnTo>
                    <a:pt x="50" y="306"/>
                  </a:lnTo>
                  <a:lnTo>
                    <a:pt x="30" y="348"/>
                  </a:lnTo>
                  <a:lnTo>
                    <a:pt x="12" y="392"/>
                  </a:lnTo>
                  <a:lnTo>
                    <a:pt x="6" y="416"/>
                  </a:lnTo>
                  <a:lnTo>
                    <a:pt x="0" y="440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36" name="Freeform 9"/>
            <p:cNvSpPr>
              <a:spLocks/>
            </p:cNvSpPr>
            <p:nvPr/>
          </p:nvSpPr>
          <p:spPr bwMode="auto">
            <a:xfrm>
              <a:off x="-11120" y="3152500"/>
              <a:ext cx="1835790" cy="1477387"/>
            </a:xfrm>
            <a:custGeom>
              <a:avLst/>
              <a:gdLst>
                <a:gd name="T0" fmla="*/ 0 w 930"/>
                <a:gd name="T1" fmla="*/ 730 h 730"/>
                <a:gd name="T2" fmla="*/ 0 w 930"/>
                <a:gd name="T3" fmla="*/ 730 h 730"/>
                <a:gd name="T4" fmla="*/ 144 w 930"/>
                <a:gd name="T5" fmla="*/ 506 h 730"/>
                <a:gd name="T6" fmla="*/ 244 w 930"/>
                <a:gd name="T7" fmla="*/ 348 h 730"/>
                <a:gd name="T8" fmla="*/ 278 w 930"/>
                <a:gd name="T9" fmla="*/ 294 h 730"/>
                <a:gd name="T10" fmla="*/ 292 w 930"/>
                <a:gd name="T11" fmla="*/ 270 h 730"/>
                <a:gd name="T12" fmla="*/ 292 w 930"/>
                <a:gd name="T13" fmla="*/ 270 h 730"/>
                <a:gd name="T14" fmla="*/ 296 w 930"/>
                <a:gd name="T15" fmla="*/ 254 h 730"/>
                <a:gd name="T16" fmla="*/ 300 w 930"/>
                <a:gd name="T17" fmla="*/ 238 h 730"/>
                <a:gd name="T18" fmla="*/ 304 w 930"/>
                <a:gd name="T19" fmla="*/ 230 h 730"/>
                <a:gd name="T20" fmla="*/ 310 w 930"/>
                <a:gd name="T21" fmla="*/ 222 h 730"/>
                <a:gd name="T22" fmla="*/ 320 w 930"/>
                <a:gd name="T23" fmla="*/ 214 h 730"/>
                <a:gd name="T24" fmla="*/ 330 w 930"/>
                <a:gd name="T25" fmla="*/ 204 h 730"/>
                <a:gd name="T26" fmla="*/ 330 w 930"/>
                <a:gd name="T27" fmla="*/ 204 h 730"/>
                <a:gd name="T28" fmla="*/ 340 w 930"/>
                <a:gd name="T29" fmla="*/ 196 h 730"/>
                <a:gd name="T30" fmla="*/ 352 w 930"/>
                <a:gd name="T31" fmla="*/ 190 h 730"/>
                <a:gd name="T32" fmla="*/ 380 w 930"/>
                <a:gd name="T33" fmla="*/ 178 h 730"/>
                <a:gd name="T34" fmla="*/ 414 w 930"/>
                <a:gd name="T35" fmla="*/ 166 h 730"/>
                <a:gd name="T36" fmla="*/ 450 w 930"/>
                <a:gd name="T37" fmla="*/ 158 h 730"/>
                <a:gd name="T38" fmla="*/ 532 w 930"/>
                <a:gd name="T39" fmla="*/ 140 h 730"/>
                <a:gd name="T40" fmla="*/ 622 w 930"/>
                <a:gd name="T41" fmla="*/ 122 h 730"/>
                <a:gd name="T42" fmla="*/ 668 w 930"/>
                <a:gd name="T43" fmla="*/ 112 h 730"/>
                <a:gd name="T44" fmla="*/ 712 w 930"/>
                <a:gd name="T45" fmla="*/ 102 h 730"/>
                <a:gd name="T46" fmla="*/ 756 w 930"/>
                <a:gd name="T47" fmla="*/ 90 h 730"/>
                <a:gd name="T48" fmla="*/ 798 w 930"/>
                <a:gd name="T49" fmla="*/ 76 h 730"/>
                <a:gd name="T50" fmla="*/ 836 w 930"/>
                <a:gd name="T51" fmla="*/ 62 h 730"/>
                <a:gd name="T52" fmla="*/ 872 w 930"/>
                <a:gd name="T53" fmla="*/ 44 h 730"/>
                <a:gd name="T54" fmla="*/ 888 w 930"/>
                <a:gd name="T55" fmla="*/ 34 h 730"/>
                <a:gd name="T56" fmla="*/ 902 w 930"/>
                <a:gd name="T57" fmla="*/ 24 h 730"/>
                <a:gd name="T58" fmla="*/ 916 w 930"/>
                <a:gd name="T59" fmla="*/ 12 h 730"/>
                <a:gd name="T60" fmla="*/ 930 w 930"/>
                <a:gd name="T61" fmla="*/ 0 h 7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30" h="730">
                  <a:moveTo>
                    <a:pt x="0" y="730"/>
                  </a:moveTo>
                  <a:lnTo>
                    <a:pt x="0" y="730"/>
                  </a:lnTo>
                  <a:lnTo>
                    <a:pt x="144" y="506"/>
                  </a:lnTo>
                  <a:lnTo>
                    <a:pt x="244" y="348"/>
                  </a:lnTo>
                  <a:lnTo>
                    <a:pt x="278" y="294"/>
                  </a:lnTo>
                  <a:lnTo>
                    <a:pt x="292" y="270"/>
                  </a:lnTo>
                  <a:lnTo>
                    <a:pt x="292" y="270"/>
                  </a:lnTo>
                  <a:lnTo>
                    <a:pt x="296" y="254"/>
                  </a:lnTo>
                  <a:lnTo>
                    <a:pt x="300" y="238"/>
                  </a:lnTo>
                  <a:lnTo>
                    <a:pt x="304" y="230"/>
                  </a:lnTo>
                  <a:lnTo>
                    <a:pt x="310" y="222"/>
                  </a:lnTo>
                  <a:lnTo>
                    <a:pt x="320" y="214"/>
                  </a:lnTo>
                  <a:lnTo>
                    <a:pt x="330" y="204"/>
                  </a:lnTo>
                  <a:lnTo>
                    <a:pt x="330" y="204"/>
                  </a:lnTo>
                  <a:lnTo>
                    <a:pt x="340" y="196"/>
                  </a:lnTo>
                  <a:lnTo>
                    <a:pt x="352" y="190"/>
                  </a:lnTo>
                  <a:lnTo>
                    <a:pt x="380" y="178"/>
                  </a:lnTo>
                  <a:lnTo>
                    <a:pt x="414" y="166"/>
                  </a:lnTo>
                  <a:lnTo>
                    <a:pt x="450" y="158"/>
                  </a:lnTo>
                  <a:lnTo>
                    <a:pt x="532" y="140"/>
                  </a:lnTo>
                  <a:lnTo>
                    <a:pt x="622" y="122"/>
                  </a:lnTo>
                  <a:lnTo>
                    <a:pt x="668" y="112"/>
                  </a:lnTo>
                  <a:lnTo>
                    <a:pt x="712" y="102"/>
                  </a:lnTo>
                  <a:lnTo>
                    <a:pt x="756" y="90"/>
                  </a:lnTo>
                  <a:lnTo>
                    <a:pt x="798" y="76"/>
                  </a:lnTo>
                  <a:lnTo>
                    <a:pt x="836" y="62"/>
                  </a:lnTo>
                  <a:lnTo>
                    <a:pt x="872" y="44"/>
                  </a:lnTo>
                  <a:lnTo>
                    <a:pt x="888" y="34"/>
                  </a:lnTo>
                  <a:lnTo>
                    <a:pt x="902" y="24"/>
                  </a:lnTo>
                  <a:lnTo>
                    <a:pt x="916" y="12"/>
                  </a:lnTo>
                  <a:lnTo>
                    <a:pt x="930" y="0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37" name="Freeform 10"/>
            <p:cNvSpPr>
              <a:spLocks/>
            </p:cNvSpPr>
            <p:nvPr/>
          </p:nvSpPr>
          <p:spPr bwMode="auto">
            <a:xfrm>
              <a:off x="-11120" y="2836785"/>
              <a:ext cx="2246375" cy="1946913"/>
            </a:xfrm>
            <a:custGeom>
              <a:avLst/>
              <a:gdLst>
                <a:gd name="T0" fmla="*/ 0 w 1138"/>
                <a:gd name="T1" fmla="*/ 962 h 962"/>
                <a:gd name="T2" fmla="*/ 186 w 1138"/>
                <a:gd name="T3" fmla="*/ 772 h 962"/>
                <a:gd name="T4" fmla="*/ 346 w 1138"/>
                <a:gd name="T5" fmla="*/ 400 h 962"/>
                <a:gd name="T6" fmla="*/ 856 w 1138"/>
                <a:gd name="T7" fmla="*/ 154 h 962"/>
                <a:gd name="T8" fmla="*/ 894 w 1138"/>
                <a:gd name="T9" fmla="*/ 132 h 962"/>
                <a:gd name="T10" fmla="*/ 894 w 1138"/>
                <a:gd name="T11" fmla="*/ 132 h 962"/>
                <a:gd name="T12" fmla="*/ 892 w 1138"/>
                <a:gd name="T13" fmla="*/ 130 h 962"/>
                <a:gd name="T14" fmla="*/ 888 w 1138"/>
                <a:gd name="T15" fmla="*/ 120 h 962"/>
                <a:gd name="T16" fmla="*/ 880 w 1138"/>
                <a:gd name="T17" fmla="*/ 112 h 962"/>
                <a:gd name="T18" fmla="*/ 876 w 1138"/>
                <a:gd name="T19" fmla="*/ 108 h 962"/>
                <a:gd name="T20" fmla="*/ 868 w 1138"/>
                <a:gd name="T21" fmla="*/ 104 h 962"/>
                <a:gd name="T22" fmla="*/ 886 w 1138"/>
                <a:gd name="T23" fmla="*/ 60 h 962"/>
                <a:gd name="T24" fmla="*/ 886 w 1138"/>
                <a:gd name="T25" fmla="*/ 60 h 962"/>
                <a:gd name="T26" fmla="*/ 890 w 1138"/>
                <a:gd name="T27" fmla="*/ 58 h 962"/>
                <a:gd name="T28" fmla="*/ 904 w 1138"/>
                <a:gd name="T29" fmla="*/ 52 h 962"/>
                <a:gd name="T30" fmla="*/ 904 w 1138"/>
                <a:gd name="T31" fmla="*/ 52 h 962"/>
                <a:gd name="T32" fmla="*/ 912 w 1138"/>
                <a:gd name="T33" fmla="*/ 48 h 962"/>
                <a:gd name="T34" fmla="*/ 920 w 1138"/>
                <a:gd name="T35" fmla="*/ 42 h 962"/>
                <a:gd name="T36" fmla="*/ 928 w 1138"/>
                <a:gd name="T37" fmla="*/ 36 h 962"/>
                <a:gd name="T38" fmla="*/ 936 w 1138"/>
                <a:gd name="T39" fmla="*/ 34 h 962"/>
                <a:gd name="T40" fmla="*/ 936 w 1138"/>
                <a:gd name="T41" fmla="*/ 34 h 962"/>
                <a:gd name="T42" fmla="*/ 948 w 1138"/>
                <a:gd name="T43" fmla="*/ 30 h 962"/>
                <a:gd name="T44" fmla="*/ 956 w 1138"/>
                <a:gd name="T45" fmla="*/ 28 h 962"/>
                <a:gd name="T46" fmla="*/ 956 w 1138"/>
                <a:gd name="T47" fmla="*/ 28 h 962"/>
                <a:gd name="T48" fmla="*/ 960 w 1138"/>
                <a:gd name="T49" fmla="*/ 28 h 962"/>
                <a:gd name="T50" fmla="*/ 966 w 1138"/>
                <a:gd name="T51" fmla="*/ 26 h 962"/>
                <a:gd name="T52" fmla="*/ 972 w 1138"/>
                <a:gd name="T53" fmla="*/ 24 h 962"/>
                <a:gd name="T54" fmla="*/ 978 w 1138"/>
                <a:gd name="T55" fmla="*/ 22 h 962"/>
                <a:gd name="T56" fmla="*/ 978 w 1138"/>
                <a:gd name="T57" fmla="*/ 22 h 962"/>
                <a:gd name="T58" fmla="*/ 988 w 1138"/>
                <a:gd name="T59" fmla="*/ 24 h 962"/>
                <a:gd name="T60" fmla="*/ 996 w 1138"/>
                <a:gd name="T61" fmla="*/ 26 h 962"/>
                <a:gd name="T62" fmla="*/ 996 w 1138"/>
                <a:gd name="T63" fmla="*/ 26 h 962"/>
                <a:gd name="T64" fmla="*/ 1002 w 1138"/>
                <a:gd name="T65" fmla="*/ 26 h 962"/>
                <a:gd name="T66" fmla="*/ 1012 w 1138"/>
                <a:gd name="T67" fmla="*/ 28 h 962"/>
                <a:gd name="T68" fmla="*/ 1012 w 1138"/>
                <a:gd name="T69" fmla="*/ 28 h 962"/>
                <a:gd name="T70" fmla="*/ 1032 w 1138"/>
                <a:gd name="T71" fmla="*/ 24 h 962"/>
                <a:gd name="T72" fmla="*/ 1040 w 1138"/>
                <a:gd name="T73" fmla="*/ 22 h 962"/>
                <a:gd name="T74" fmla="*/ 1044 w 1138"/>
                <a:gd name="T75" fmla="*/ 22 h 962"/>
                <a:gd name="T76" fmla="*/ 1044 w 1138"/>
                <a:gd name="T77" fmla="*/ 22 h 962"/>
                <a:gd name="T78" fmla="*/ 1048 w 1138"/>
                <a:gd name="T79" fmla="*/ 14 h 962"/>
                <a:gd name="T80" fmla="*/ 1050 w 1138"/>
                <a:gd name="T81" fmla="*/ 10 h 962"/>
                <a:gd name="T82" fmla="*/ 1056 w 1138"/>
                <a:gd name="T83" fmla="*/ 8 h 962"/>
                <a:gd name="T84" fmla="*/ 1056 w 1138"/>
                <a:gd name="T85" fmla="*/ 8 h 962"/>
                <a:gd name="T86" fmla="*/ 1066 w 1138"/>
                <a:gd name="T87" fmla="*/ 10 h 962"/>
                <a:gd name="T88" fmla="*/ 1074 w 1138"/>
                <a:gd name="T89" fmla="*/ 10 h 962"/>
                <a:gd name="T90" fmla="*/ 1074 w 1138"/>
                <a:gd name="T91" fmla="*/ 10 h 962"/>
                <a:gd name="T92" fmla="*/ 1080 w 1138"/>
                <a:gd name="T93" fmla="*/ 6 h 962"/>
                <a:gd name="T94" fmla="*/ 1098 w 1138"/>
                <a:gd name="T95" fmla="*/ 4 h 962"/>
                <a:gd name="T96" fmla="*/ 1098 w 1138"/>
                <a:gd name="T97" fmla="*/ 4 h 962"/>
                <a:gd name="T98" fmla="*/ 1104 w 1138"/>
                <a:gd name="T99" fmla="*/ 2 h 962"/>
                <a:gd name="T100" fmla="*/ 1108 w 1138"/>
                <a:gd name="T101" fmla="*/ 2 h 962"/>
                <a:gd name="T102" fmla="*/ 1112 w 1138"/>
                <a:gd name="T103" fmla="*/ 0 h 962"/>
                <a:gd name="T104" fmla="*/ 1118 w 1138"/>
                <a:gd name="T105" fmla="*/ 2 h 962"/>
                <a:gd name="T106" fmla="*/ 1118 w 1138"/>
                <a:gd name="T107" fmla="*/ 2 h 962"/>
                <a:gd name="T108" fmla="*/ 1126 w 1138"/>
                <a:gd name="T109" fmla="*/ 8 h 962"/>
                <a:gd name="T110" fmla="*/ 1132 w 1138"/>
                <a:gd name="T111" fmla="*/ 14 h 962"/>
                <a:gd name="T112" fmla="*/ 1132 w 1138"/>
                <a:gd name="T113" fmla="*/ 14 h 962"/>
                <a:gd name="T114" fmla="*/ 1134 w 1138"/>
                <a:gd name="T115" fmla="*/ 20 h 962"/>
                <a:gd name="T116" fmla="*/ 1136 w 1138"/>
                <a:gd name="T117" fmla="*/ 30 h 962"/>
                <a:gd name="T118" fmla="*/ 1138 w 1138"/>
                <a:gd name="T119" fmla="*/ 44 h 9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38" h="962">
                  <a:moveTo>
                    <a:pt x="0" y="962"/>
                  </a:moveTo>
                  <a:lnTo>
                    <a:pt x="186" y="772"/>
                  </a:lnTo>
                  <a:lnTo>
                    <a:pt x="346" y="400"/>
                  </a:lnTo>
                  <a:lnTo>
                    <a:pt x="856" y="154"/>
                  </a:lnTo>
                  <a:lnTo>
                    <a:pt x="894" y="132"/>
                  </a:lnTo>
                  <a:lnTo>
                    <a:pt x="894" y="132"/>
                  </a:lnTo>
                  <a:lnTo>
                    <a:pt x="892" y="130"/>
                  </a:lnTo>
                  <a:lnTo>
                    <a:pt x="888" y="120"/>
                  </a:lnTo>
                  <a:lnTo>
                    <a:pt x="880" y="112"/>
                  </a:lnTo>
                  <a:lnTo>
                    <a:pt x="876" y="108"/>
                  </a:lnTo>
                  <a:lnTo>
                    <a:pt x="868" y="104"/>
                  </a:lnTo>
                  <a:lnTo>
                    <a:pt x="886" y="60"/>
                  </a:lnTo>
                  <a:lnTo>
                    <a:pt x="886" y="60"/>
                  </a:lnTo>
                  <a:lnTo>
                    <a:pt x="890" y="58"/>
                  </a:lnTo>
                  <a:lnTo>
                    <a:pt x="904" y="52"/>
                  </a:lnTo>
                  <a:lnTo>
                    <a:pt x="904" y="52"/>
                  </a:lnTo>
                  <a:lnTo>
                    <a:pt x="912" y="48"/>
                  </a:lnTo>
                  <a:lnTo>
                    <a:pt x="920" y="42"/>
                  </a:lnTo>
                  <a:lnTo>
                    <a:pt x="928" y="36"/>
                  </a:lnTo>
                  <a:lnTo>
                    <a:pt x="936" y="34"/>
                  </a:lnTo>
                  <a:lnTo>
                    <a:pt x="936" y="34"/>
                  </a:lnTo>
                  <a:lnTo>
                    <a:pt x="948" y="30"/>
                  </a:lnTo>
                  <a:lnTo>
                    <a:pt x="956" y="28"/>
                  </a:lnTo>
                  <a:lnTo>
                    <a:pt x="956" y="28"/>
                  </a:lnTo>
                  <a:lnTo>
                    <a:pt x="960" y="28"/>
                  </a:lnTo>
                  <a:lnTo>
                    <a:pt x="966" y="26"/>
                  </a:lnTo>
                  <a:lnTo>
                    <a:pt x="972" y="24"/>
                  </a:lnTo>
                  <a:lnTo>
                    <a:pt x="978" y="22"/>
                  </a:lnTo>
                  <a:lnTo>
                    <a:pt x="978" y="22"/>
                  </a:lnTo>
                  <a:lnTo>
                    <a:pt x="988" y="24"/>
                  </a:lnTo>
                  <a:lnTo>
                    <a:pt x="996" y="26"/>
                  </a:lnTo>
                  <a:lnTo>
                    <a:pt x="996" y="26"/>
                  </a:lnTo>
                  <a:lnTo>
                    <a:pt x="1002" y="26"/>
                  </a:lnTo>
                  <a:lnTo>
                    <a:pt x="1012" y="28"/>
                  </a:lnTo>
                  <a:lnTo>
                    <a:pt x="1012" y="28"/>
                  </a:lnTo>
                  <a:lnTo>
                    <a:pt x="1032" y="24"/>
                  </a:lnTo>
                  <a:lnTo>
                    <a:pt x="1040" y="22"/>
                  </a:lnTo>
                  <a:lnTo>
                    <a:pt x="1044" y="22"/>
                  </a:lnTo>
                  <a:lnTo>
                    <a:pt x="1044" y="22"/>
                  </a:lnTo>
                  <a:lnTo>
                    <a:pt x="1048" y="14"/>
                  </a:lnTo>
                  <a:lnTo>
                    <a:pt x="1050" y="10"/>
                  </a:lnTo>
                  <a:lnTo>
                    <a:pt x="1056" y="8"/>
                  </a:lnTo>
                  <a:lnTo>
                    <a:pt x="1056" y="8"/>
                  </a:lnTo>
                  <a:lnTo>
                    <a:pt x="1066" y="10"/>
                  </a:lnTo>
                  <a:lnTo>
                    <a:pt x="1074" y="10"/>
                  </a:lnTo>
                  <a:lnTo>
                    <a:pt x="1074" y="10"/>
                  </a:lnTo>
                  <a:lnTo>
                    <a:pt x="1080" y="6"/>
                  </a:lnTo>
                  <a:lnTo>
                    <a:pt x="1098" y="4"/>
                  </a:lnTo>
                  <a:lnTo>
                    <a:pt x="1098" y="4"/>
                  </a:lnTo>
                  <a:lnTo>
                    <a:pt x="1104" y="2"/>
                  </a:lnTo>
                  <a:lnTo>
                    <a:pt x="1108" y="2"/>
                  </a:lnTo>
                  <a:lnTo>
                    <a:pt x="1112" y="0"/>
                  </a:lnTo>
                  <a:lnTo>
                    <a:pt x="1118" y="2"/>
                  </a:lnTo>
                  <a:lnTo>
                    <a:pt x="1118" y="2"/>
                  </a:lnTo>
                  <a:lnTo>
                    <a:pt x="1126" y="8"/>
                  </a:lnTo>
                  <a:lnTo>
                    <a:pt x="1132" y="14"/>
                  </a:lnTo>
                  <a:lnTo>
                    <a:pt x="1132" y="14"/>
                  </a:lnTo>
                  <a:lnTo>
                    <a:pt x="1134" y="20"/>
                  </a:lnTo>
                  <a:lnTo>
                    <a:pt x="1136" y="30"/>
                  </a:lnTo>
                  <a:lnTo>
                    <a:pt x="1138" y="44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38" name="Freeform 11"/>
            <p:cNvSpPr>
              <a:spLocks/>
            </p:cNvSpPr>
            <p:nvPr/>
          </p:nvSpPr>
          <p:spPr bwMode="auto">
            <a:xfrm>
              <a:off x="1366709" y="2747737"/>
              <a:ext cx="442169" cy="425002"/>
            </a:xfrm>
            <a:custGeom>
              <a:avLst/>
              <a:gdLst>
                <a:gd name="T0" fmla="*/ 0 w 224"/>
                <a:gd name="T1" fmla="*/ 0 h 210"/>
                <a:gd name="T2" fmla="*/ 0 w 224"/>
                <a:gd name="T3" fmla="*/ 0 h 210"/>
                <a:gd name="T4" fmla="*/ 8 w 224"/>
                <a:gd name="T5" fmla="*/ 20 h 210"/>
                <a:gd name="T6" fmla="*/ 18 w 224"/>
                <a:gd name="T7" fmla="*/ 40 h 210"/>
                <a:gd name="T8" fmla="*/ 34 w 224"/>
                <a:gd name="T9" fmla="*/ 66 h 210"/>
                <a:gd name="T10" fmla="*/ 56 w 224"/>
                <a:gd name="T11" fmla="*/ 98 h 210"/>
                <a:gd name="T12" fmla="*/ 84 w 224"/>
                <a:gd name="T13" fmla="*/ 132 h 210"/>
                <a:gd name="T14" fmla="*/ 102 w 224"/>
                <a:gd name="T15" fmla="*/ 150 h 210"/>
                <a:gd name="T16" fmla="*/ 120 w 224"/>
                <a:gd name="T17" fmla="*/ 166 h 210"/>
                <a:gd name="T18" fmla="*/ 140 w 224"/>
                <a:gd name="T19" fmla="*/ 184 h 210"/>
                <a:gd name="T20" fmla="*/ 162 w 224"/>
                <a:gd name="T21" fmla="*/ 202 h 210"/>
                <a:gd name="T22" fmla="*/ 162 w 224"/>
                <a:gd name="T23" fmla="*/ 202 h 210"/>
                <a:gd name="T24" fmla="*/ 170 w 224"/>
                <a:gd name="T25" fmla="*/ 206 h 210"/>
                <a:gd name="T26" fmla="*/ 178 w 224"/>
                <a:gd name="T27" fmla="*/ 208 h 210"/>
                <a:gd name="T28" fmla="*/ 196 w 224"/>
                <a:gd name="T29" fmla="*/ 210 h 210"/>
                <a:gd name="T30" fmla="*/ 224 w 224"/>
                <a:gd name="T31" fmla="*/ 208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4" h="210">
                  <a:moveTo>
                    <a:pt x="0" y="0"/>
                  </a:moveTo>
                  <a:lnTo>
                    <a:pt x="0" y="0"/>
                  </a:lnTo>
                  <a:lnTo>
                    <a:pt x="8" y="20"/>
                  </a:lnTo>
                  <a:lnTo>
                    <a:pt x="18" y="40"/>
                  </a:lnTo>
                  <a:lnTo>
                    <a:pt x="34" y="66"/>
                  </a:lnTo>
                  <a:lnTo>
                    <a:pt x="56" y="98"/>
                  </a:lnTo>
                  <a:lnTo>
                    <a:pt x="84" y="132"/>
                  </a:lnTo>
                  <a:lnTo>
                    <a:pt x="102" y="150"/>
                  </a:lnTo>
                  <a:lnTo>
                    <a:pt x="120" y="166"/>
                  </a:lnTo>
                  <a:lnTo>
                    <a:pt x="140" y="184"/>
                  </a:lnTo>
                  <a:lnTo>
                    <a:pt x="162" y="202"/>
                  </a:lnTo>
                  <a:lnTo>
                    <a:pt x="162" y="202"/>
                  </a:lnTo>
                  <a:lnTo>
                    <a:pt x="170" y="206"/>
                  </a:lnTo>
                  <a:lnTo>
                    <a:pt x="178" y="208"/>
                  </a:lnTo>
                  <a:lnTo>
                    <a:pt x="196" y="210"/>
                  </a:lnTo>
                  <a:lnTo>
                    <a:pt x="224" y="208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39" name="Freeform 12"/>
            <p:cNvSpPr>
              <a:spLocks/>
            </p:cNvSpPr>
            <p:nvPr/>
          </p:nvSpPr>
          <p:spPr bwMode="auto">
            <a:xfrm>
              <a:off x="1666752" y="3047262"/>
              <a:ext cx="157917" cy="105239"/>
            </a:xfrm>
            <a:custGeom>
              <a:avLst/>
              <a:gdLst>
                <a:gd name="T0" fmla="*/ 0 w 80"/>
                <a:gd name="T1" fmla="*/ 0 h 52"/>
                <a:gd name="T2" fmla="*/ 0 w 80"/>
                <a:gd name="T3" fmla="*/ 0 h 52"/>
                <a:gd name="T4" fmla="*/ 2 w 80"/>
                <a:gd name="T5" fmla="*/ 6 h 52"/>
                <a:gd name="T6" fmla="*/ 10 w 80"/>
                <a:gd name="T7" fmla="*/ 16 h 52"/>
                <a:gd name="T8" fmla="*/ 22 w 80"/>
                <a:gd name="T9" fmla="*/ 30 h 52"/>
                <a:gd name="T10" fmla="*/ 30 w 80"/>
                <a:gd name="T11" fmla="*/ 36 h 52"/>
                <a:gd name="T12" fmla="*/ 38 w 80"/>
                <a:gd name="T13" fmla="*/ 40 h 52"/>
                <a:gd name="T14" fmla="*/ 38 w 80"/>
                <a:gd name="T15" fmla="*/ 40 h 52"/>
                <a:gd name="T16" fmla="*/ 80 w 80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0" h="52">
                  <a:moveTo>
                    <a:pt x="0" y="0"/>
                  </a:moveTo>
                  <a:lnTo>
                    <a:pt x="0" y="0"/>
                  </a:lnTo>
                  <a:lnTo>
                    <a:pt x="2" y="6"/>
                  </a:lnTo>
                  <a:lnTo>
                    <a:pt x="10" y="16"/>
                  </a:lnTo>
                  <a:lnTo>
                    <a:pt x="22" y="30"/>
                  </a:lnTo>
                  <a:lnTo>
                    <a:pt x="30" y="36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80" y="52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40" name="Freeform 13"/>
            <p:cNvSpPr>
              <a:spLocks/>
            </p:cNvSpPr>
            <p:nvPr/>
          </p:nvSpPr>
          <p:spPr bwMode="auto">
            <a:xfrm>
              <a:off x="2491871" y="3180834"/>
              <a:ext cx="469804" cy="129524"/>
            </a:xfrm>
            <a:custGeom>
              <a:avLst/>
              <a:gdLst>
                <a:gd name="T0" fmla="*/ 0 w 238"/>
                <a:gd name="T1" fmla="*/ 20 h 64"/>
                <a:gd name="T2" fmla="*/ 0 w 238"/>
                <a:gd name="T3" fmla="*/ 20 h 64"/>
                <a:gd name="T4" fmla="*/ 4 w 238"/>
                <a:gd name="T5" fmla="*/ 30 h 64"/>
                <a:gd name="T6" fmla="*/ 8 w 238"/>
                <a:gd name="T7" fmla="*/ 42 h 64"/>
                <a:gd name="T8" fmla="*/ 14 w 238"/>
                <a:gd name="T9" fmla="*/ 54 h 64"/>
                <a:gd name="T10" fmla="*/ 16 w 238"/>
                <a:gd name="T11" fmla="*/ 58 h 64"/>
                <a:gd name="T12" fmla="*/ 20 w 238"/>
                <a:gd name="T13" fmla="*/ 62 h 64"/>
                <a:gd name="T14" fmla="*/ 20 w 238"/>
                <a:gd name="T15" fmla="*/ 62 h 64"/>
                <a:gd name="T16" fmla="*/ 24 w 238"/>
                <a:gd name="T17" fmla="*/ 64 h 64"/>
                <a:gd name="T18" fmla="*/ 32 w 238"/>
                <a:gd name="T19" fmla="*/ 62 h 64"/>
                <a:gd name="T20" fmla="*/ 56 w 238"/>
                <a:gd name="T21" fmla="*/ 58 h 64"/>
                <a:gd name="T22" fmla="*/ 86 w 238"/>
                <a:gd name="T23" fmla="*/ 46 h 64"/>
                <a:gd name="T24" fmla="*/ 102 w 238"/>
                <a:gd name="T25" fmla="*/ 38 h 64"/>
                <a:gd name="T26" fmla="*/ 118 w 238"/>
                <a:gd name="T27" fmla="*/ 30 h 64"/>
                <a:gd name="T28" fmla="*/ 118 w 238"/>
                <a:gd name="T29" fmla="*/ 30 h 64"/>
                <a:gd name="T30" fmla="*/ 134 w 238"/>
                <a:gd name="T31" fmla="*/ 22 h 64"/>
                <a:gd name="T32" fmla="*/ 152 w 238"/>
                <a:gd name="T33" fmla="*/ 16 h 64"/>
                <a:gd name="T34" fmla="*/ 170 w 238"/>
                <a:gd name="T35" fmla="*/ 10 h 64"/>
                <a:gd name="T36" fmla="*/ 190 w 238"/>
                <a:gd name="T37" fmla="*/ 8 h 64"/>
                <a:gd name="T38" fmla="*/ 222 w 238"/>
                <a:gd name="T39" fmla="*/ 2 h 64"/>
                <a:gd name="T40" fmla="*/ 238 w 238"/>
                <a:gd name="T41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38" h="64">
                  <a:moveTo>
                    <a:pt x="0" y="20"/>
                  </a:moveTo>
                  <a:lnTo>
                    <a:pt x="0" y="20"/>
                  </a:lnTo>
                  <a:lnTo>
                    <a:pt x="4" y="30"/>
                  </a:lnTo>
                  <a:lnTo>
                    <a:pt x="8" y="42"/>
                  </a:lnTo>
                  <a:lnTo>
                    <a:pt x="14" y="54"/>
                  </a:lnTo>
                  <a:lnTo>
                    <a:pt x="16" y="58"/>
                  </a:lnTo>
                  <a:lnTo>
                    <a:pt x="20" y="62"/>
                  </a:lnTo>
                  <a:lnTo>
                    <a:pt x="20" y="62"/>
                  </a:lnTo>
                  <a:lnTo>
                    <a:pt x="24" y="64"/>
                  </a:lnTo>
                  <a:lnTo>
                    <a:pt x="32" y="62"/>
                  </a:lnTo>
                  <a:lnTo>
                    <a:pt x="56" y="58"/>
                  </a:lnTo>
                  <a:lnTo>
                    <a:pt x="86" y="46"/>
                  </a:lnTo>
                  <a:lnTo>
                    <a:pt x="102" y="38"/>
                  </a:lnTo>
                  <a:lnTo>
                    <a:pt x="118" y="30"/>
                  </a:lnTo>
                  <a:lnTo>
                    <a:pt x="118" y="30"/>
                  </a:lnTo>
                  <a:lnTo>
                    <a:pt x="134" y="22"/>
                  </a:lnTo>
                  <a:lnTo>
                    <a:pt x="152" y="16"/>
                  </a:lnTo>
                  <a:lnTo>
                    <a:pt x="170" y="10"/>
                  </a:lnTo>
                  <a:lnTo>
                    <a:pt x="190" y="8"/>
                  </a:lnTo>
                  <a:lnTo>
                    <a:pt x="222" y="2"/>
                  </a:lnTo>
                  <a:lnTo>
                    <a:pt x="238" y="0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41" name="Freeform 14"/>
            <p:cNvSpPr>
              <a:spLocks/>
            </p:cNvSpPr>
            <p:nvPr/>
          </p:nvSpPr>
          <p:spPr bwMode="auto">
            <a:xfrm>
              <a:off x="2882716" y="2877261"/>
              <a:ext cx="276355" cy="303573"/>
            </a:xfrm>
            <a:custGeom>
              <a:avLst/>
              <a:gdLst>
                <a:gd name="T0" fmla="*/ 0 w 140"/>
                <a:gd name="T1" fmla="*/ 102 h 150"/>
                <a:gd name="T2" fmla="*/ 0 w 140"/>
                <a:gd name="T3" fmla="*/ 102 h 150"/>
                <a:gd name="T4" fmla="*/ 8 w 140"/>
                <a:gd name="T5" fmla="*/ 102 h 150"/>
                <a:gd name="T6" fmla="*/ 14 w 140"/>
                <a:gd name="T7" fmla="*/ 106 h 150"/>
                <a:gd name="T8" fmla="*/ 16 w 140"/>
                <a:gd name="T9" fmla="*/ 110 h 150"/>
                <a:gd name="T10" fmla="*/ 18 w 140"/>
                <a:gd name="T11" fmla="*/ 114 h 150"/>
                <a:gd name="T12" fmla="*/ 18 w 140"/>
                <a:gd name="T13" fmla="*/ 114 h 150"/>
                <a:gd name="T14" fmla="*/ 22 w 140"/>
                <a:gd name="T15" fmla="*/ 128 h 150"/>
                <a:gd name="T16" fmla="*/ 30 w 140"/>
                <a:gd name="T17" fmla="*/ 138 h 150"/>
                <a:gd name="T18" fmla="*/ 40 w 140"/>
                <a:gd name="T19" fmla="*/ 150 h 150"/>
                <a:gd name="T20" fmla="*/ 40 w 140"/>
                <a:gd name="T21" fmla="*/ 150 h 150"/>
                <a:gd name="T22" fmla="*/ 42 w 140"/>
                <a:gd name="T23" fmla="*/ 150 h 150"/>
                <a:gd name="T24" fmla="*/ 44 w 140"/>
                <a:gd name="T25" fmla="*/ 148 h 150"/>
                <a:gd name="T26" fmla="*/ 52 w 140"/>
                <a:gd name="T27" fmla="*/ 138 h 150"/>
                <a:gd name="T28" fmla="*/ 60 w 140"/>
                <a:gd name="T29" fmla="*/ 128 h 150"/>
                <a:gd name="T30" fmla="*/ 68 w 140"/>
                <a:gd name="T31" fmla="*/ 118 h 150"/>
                <a:gd name="T32" fmla="*/ 68 w 140"/>
                <a:gd name="T33" fmla="*/ 118 h 150"/>
                <a:gd name="T34" fmla="*/ 76 w 140"/>
                <a:gd name="T35" fmla="*/ 116 h 150"/>
                <a:gd name="T36" fmla="*/ 82 w 140"/>
                <a:gd name="T37" fmla="*/ 116 h 150"/>
                <a:gd name="T38" fmla="*/ 82 w 140"/>
                <a:gd name="T39" fmla="*/ 116 h 150"/>
                <a:gd name="T40" fmla="*/ 86 w 140"/>
                <a:gd name="T41" fmla="*/ 114 h 150"/>
                <a:gd name="T42" fmla="*/ 90 w 140"/>
                <a:gd name="T43" fmla="*/ 112 h 150"/>
                <a:gd name="T44" fmla="*/ 98 w 140"/>
                <a:gd name="T45" fmla="*/ 104 h 150"/>
                <a:gd name="T46" fmla="*/ 106 w 140"/>
                <a:gd name="T47" fmla="*/ 94 h 150"/>
                <a:gd name="T48" fmla="*/ 112 w 140"/>
                <a:gd name="T49" fmla="*/ 90 h 150"/>
                <a:gd name="T50" fmla="*/ 112 w 140"/>
                <a:gd name="T51" fmla="*/ 90 h 150"/>
                <a:gd name="T52" fmla="*/ 122 w 140"/>
                <a:gd name="T53" fmla="*/ 90 h 150"/>
                <a:gd name="T54" fmla="*/ 128 w 140"/>
                <a:gd name="T55" fmla="*/ 88 h 150"/>
                <a:gd name="T56" fmla="*/ 128 w 140"/>
                <a:gd name="T57" fmla="*/ 88 h 150"/>
                <a:gd name="T58" fmla="*/ 130 w 140"/>
                <a:gd name="T59" fmla="*/ 84 h 150"/>
                <a:gd name="T60" fmla="*/ 130 w 140"/>
                <a:gd name="T61" fmla="*/ 76 h 150"/>
                <a:gd name="T62" fmla="*/ 130 w 140"/>
                <a:gd name="T63" fmla="*/ 70 h 150"/>
                <a:gd name="T64" fmla="*/ 132 w 140"/>
                <a:gd name="T65" fmla="*/ 64 h 150"/>
                <a:gd name="T66" fmla="*/ 132 w 140"/>
                <a:gd name="T67" fmla="*/ 64 h 150"/>
                <a:gd name="T68" fmla="*/ 136 w 140"/>
                <a:gd name="T69" fmla="*/ 60 h 150"/>
                <a:gd name="T70" fmla="*/ 138 w 140"/>
                <a:gd name="T71" fmla="*/ 50 h 150"/>
                <a:gd name="T72" fmla="*/ 140 w 140"/>
                <a:gd name="T73" fmla="*/ 40 h 150"/>
                <a:gd name="T74" fmla="*/ 140 w 140"/>
                <a:gd name="T75" fmla="*/ 40 h 150"/>
                <a:gd name="T76" fmla="*/ 116 w 140"/>
                <a:gd name="T77" fmla="*/ 20 h 150"/>
                <a:gd name="T78" fmla="*/ 98 w 140"/>
                <a:gd name="T79" fmla="*/ 6 h 150"/>
                <a:gd name="T80" fmla="*/ 90 w 140"/>
                <a:gd name="T81" fmla="*/ 2 h 150"/>
                <a:gd name="T82" fmla="*/ 86 w 140"/>
                <a:gd name="T83" fmla="*/ 0 h 150"/>
                <a:gd name="T84" fmla="*/ 86 w 140"/>
                <a:gd name="T85" fmla="*/ 0 h 150"/>
                <a:gd name="T86" fmla="*/ 80 w 140"/>
                <a:gd name="T87" fmla="*/ 4 h 150"/>
                <a:gd name="T88" fmla="*/ 76 w 140"/>
                <a:gd name="T89" fmla="*/ 12 h 150"/>
                <a:gd name="T90" fmla="*/ 70 w 140"/>
                <a:gd name="T91" fmla="*/ 18 h 150"/>
                <a:gd name="T92" fmla="*/ 66 w 140"/>
                <a:gd name="T93" fmla="*/ 22 h 150"/>
                <a:gd name="T94" fmla="*/ 66 w 140"/>
                <a:gd name="T95" fmla="*/ 22 h 150"/>
                <a:gd name="T96" fmla="*/ 56 w 140"/>
                <a:gd name="T97" fmla="*/ 20 h 150"/>
                <a:gd name="T98" fmla="*/ 50 w 140"/>
                <a:gd name="T99" fmla="*/ 20 h 150"/>
                <a:gd name="T100" fmla="*/ 44 w 140"/>
                <a:gd name="T101" fmla="*/ 22 h 150"/>
                <a:gd name="T102" fmla="*/ 44 w 140"/>
                <a:gd name="T103" fmla="*/ 22 h 150"/>
                <a:gd name="T104" fmla="*/ 40 w 140"/>
                <a:gd name="T105" fmla="*/ 26 h 150"/>
                <a:gd name="T106" fmla="*/ 38 w 140"/>
                <a:gd name="T107" fmla="*/ 30 h 150"/>
                <a:gd name="T108" fmla="*/ 34 w 140"/>
                <a:gd name="T109" fmla="*/ 36 h 150"/>
                <a:gd name="T110" fmla="*/ 34 w 140"/>
                <a:gd name="T111" fmla="*/ 36 h 150"/>
                <a:gd name="T112" fmla="*/ 32 w 140"/>
                <a:gd name="T113" fmla="*/ 38 h 150"/>
                <a:gd name="T114" fmla="*/ 28 w 140"/>
                <a:gd name="T115" fmla="*/ 36 h 150"/>
                <a:gd name="T116" fmla="*/ 26 w 140"/>
                <a:gd name="T117" fmla="*/ 34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0" h="150">
                  <a:moveTo>
                    <a:pt x="0" y="102"/>
                  </a:moveTo>
                  <a:lnTo>
                    <a:pt x="0" y="102"/>
                  </a:lnTo>
                  <a:lnTo>
                    <a:pt x="8" y="102"/>
                  </a:lnTo>
                  <a:lnTo>
                    <a:pt x="14" y="106"/>
                  </a:lnTo>
                  <a:lnTo>
                    <a:pt x="16" y="110"/>
                  </a:lnTo>
                  <a:lnTo>
                    <a:pt x="18" y="114"/>
                  </a:lnTo>
                  <a:lnTo>
                    <a:pt x="18" y="114"/>
                  </a:lnTo>
                  <a:lnTo>
                    <a:pt x="22" y="128"/>
                  </a:lnTo>
                  <a:lnTo>
                    <a:pt x="30" y="138"/>
                  </a:lnTo>
                  <a:lnTo>
                    <a:pt x="40" y="150"/>
                  </a:lnTo>
                  <a:lnTo>
                    <a:pt x="40" y="150"/>
                  </a:lnTo>
                  <a:lnTo>
                    <a:pt x="42" y="150"/>
                  </a:lnTo>
                  <a:lnTo>
                    <a:pt x="44" y="148"/>
                  </a:lnTo>
                  <a:lnTo>
                    <a:pt x="52" y="138"/>
                  </a:lnTo>
                  <a:lnTo>
                    <a:pt x="60" y="128"/>
                  </a:lnTo>
                  <a:lnTo>
                    <a:pt x="68" y="118"/>
                  </a:lnTo>
                  <a:lnTo>
                    <a:pt x="68" y="118"/>
                  </a:lnTo>
                  <a:lnTo>
                    <a:pt x="76" y="116"/>
                  </a:lnTo>
                  <a:lnTo>
                    <a:pt x="82" y="116"/>
                  </a:lnTo>
                  <a:lnTo>
                    <a:pt x="82" y="116"/>
                  </a:lnTo>
                  <a:lnTo>
                    <a:pt x="86" y="114"/>
                  </a:lnTo>
                  <a:lnTo>
                    <a:pt x="90" y="112"/>
                  </a:lnTo>
                  <a:lnTo>
                    <a:pt x="98" y="104"/>
                  </a:lnTo>
                  <a:lnTo>
                    <a:pt x="106" y="94"/>
                  </a:lnTo>
                  <a:lnTo>
                    <a:pt x="112" y="90"/>
                  </a:lnTo>
                  <a:lnTo>
                    <a:pt x="112" y="90"/>
                  </a:lnTo>
                  <a:lnTo>
                    <a:pt x="122" y="90"/>
                  </a:lnTo>
                  <a:lnTo>
                    <a:pt x="128" y="88"/>
                  </a:lnTo>
                  <a:lnTo>
                    <a:pt x="128" y="88"/>
                  </a:lnTo>
                  <a:lnTo>
                    <a:pt x="130" y="84"/>
                  </a:lnTo>
                  <a:lnTo>
                    <a:pt x="130" y="76"/>
                  </a:lnTo>
                  <a:lnTo>
                    <a:pt x="130" y="70"/>
                  </a:lnTo>
                  <a:lnTo>
                    <a:pt x="132" y="64"/>
                  </a:lnTo>
                  <a:lnTo>
                    <a:pt x="132" y="64"/>
                  </a:lnTo>
                  <a:lnTo>
                    <a:pt x="136" y="60"/>
                  </a:lnTo>
                  <a:lnTo>
                    <a:pt x="138" y="50"/>
                  </a:lnTo>
                  <a:lnTo>
                    <a:pt x="140" y="40"/>
                  </a:lnTo>
                  <a:lnTo>
                    <a:pt x="140" y="40"/>
                  </a:lnTo>
                  <a:lnTo>
                    <a:pt x="116" y="20"/>
                  </a:lnTo>
                  <a:lnTo>
                    <a:pt x="98" y="6"/>
                  </a:lnTo>
                  <a:lnTo>
                    <a:pt x="90" y="2"/>
                  </a:lnTo>
                  <a:lnTo>
                    <a:pt x="86" y="0"/>
                  </a:lnTo>
                  <a:lnTo>
                    <a:pt x="86" y="0"/>
                  </a:lnTo>
                  <a:lnTo>
                    <a:pt x="80" y="4"/>
                  </a:lnTo>
                  <a:lnTo>
                    <a:pt x="76" y="12"/>
                  </a:lnTo>
                  <a:lnTo>
                    <a:pt x="70" y="18"/>
                  </a:lnTo>
                  <a:lnTo>
                    <a:pt x="66" y="22"/>
                  </a:lnTo>
                  <a:lnTo>
                    <a:pt x="66" y="22"/>
                  </a:lnTo>
                  <a:lnTo>
                    <a:pt x="56" y="20"/>
                  </a:lnTo>
                  <a:lnTo>
                    <a:pt x="50" y="20"/>
                  </a:lnTo>
                  <a:lnTo>
                    <a:pt x="44" y="22"/>
                  </a:lnTo>
                  <a:lnTo>
                    <a:pt x="44" y="22"/>
                  </a:lnTo>
                  <a:lnTo>
                    <a:pt x="40" y="26"/>
                  </a:lnTo>
                  <a:lnTo>
                    <a:pt x="38" y="30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2" y="38"/>
                  </a:lnTo>
                  <a:lnTo>
                    <a:pt x="28" y="36"/>
                  </a:lnTo>
                  <a:lnTo>
                    <a:pt x="26" y="34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42" name="Freeform 15"/>
            <p:cNvSpPr>
              <a:spLocks/>
            </p:cNvSpPr>
            <p:nvPr/>
          </p:nvSpPr>
          <p:spPr bwMode="auto">
            <a:xfrm>
              <a:off x="2847185" y="2585831"/>
              <a:ext cx="769847" cy="291430"/>
            </a:xfrm>
            <a:custGeom>
              <a:avLst/>
              <a:gdLst>
                <a:gd name="T0" fmla="*/ 390 w 390"/>
                <a:gd name="T1" fmla="*/ 58 h 144"/>
                <a:gd name="T2" fmla="*/ 384 w 390"/>
                <a:gd name="T3" fmla="*/ 50 h 144"/>
                <a:gd name="T4" fmla="*/ 382 w 390"/>
                <a:gd name="T5" fmla="*/ 48 h 144"/>
                <a:gd name="T6" fmla="*/ 380 w 390"/>
                <a:gd name="T7" fmla="*/ 46 h 144"/>
                <a:gd name="T8" fmla="*/ 374 w 390"/>
                <a:gd name="T9" fmla="*/ 44 h 144"/>
                <a:gd name="T10" fmla="*/ 372 w 390"/>
                <a:gd name="T11" fmla="*/ 42 h 144"/>
                <a:gd name="T12" fmla="*/ 364 w 390"/>
                <a:gd name="T13" fmla="*/ 36 h 144"/>
                <a:gd name="T14" fmla="*/ 356 w 390"/>
                <a:gd name="T15" fmla="*/ 34 h 144"/>
                <a:gd name="T16" fmla="*/ 346 w 390"/>
                <a:gd name="T17" fmla="*/ 34 h 144"/>
                <a:gd name="T18" fmla="*/ 332 w 390"/>
                <a:gd name="T19" fmla="*/ 28 h 144"/>
                <a:gd name="T20" fmla="*/ 312 w 390"/>
                <a:gd name="T21" fmla="*/ 8 h 144"/>
                <a:gd name="T22" fmla="*/ 310 w 390"/>
                <a:gd name="T23" fmla="*/ 6 h 144"/>
                <a:gd name="T24" fmla="*/ 308 w 390"/>
                <a:gd name="T25" fmla="*/ 6 h 144"/>
                <a:gd name="T26" fmla="*/ 300 w 390"/>
                <a:gd name="T27" fmla="*/ 8 h 144"/>
                <a:gd name="T28" fmla="*/ 296 w 390"/>
                <a:gd name="T29" fmla="*/ 6 h 144"/>
                <a:gd name="T30" fmla="*/ 288 w 390"/>
                <a:gd name="T31" fmla="*/ 0 h 144"/>
                <a:gd name="T32" fmla="*/ 284 w 390"/>
                <a:gd name="T33" fmla="*/ 0 h 144"/>
                <a:gd name="T34" fmla="*/ 282 w 390"/>
                <a:gd name="T35" fmla="*/ 2 h 144"/>
                <a:gd name="T36" fmla="*/ 276 w 390"/>
                <a:gd name="T37" fmla="*/ 12 h 144"/>
                <a:gd name="T38" fmla="*/ 274 w 390"/>
                <a:gd name="T39" fmla="*/ 16 h 144"/>
                <a:gd name="T40" fmla="*/ 272 w 390"/>
                <a:gd name="T41" fmla="*/ 18 h 144"/>
                <a:gd name="T42" fmla="*/ 262 w 390"/>
                <a:gd name="T43" fmla="*/ 20 h 144"/>
                <a:gd name="T44" fmla="*/ 254 w 390"/>
                <a:gd name="T45" fmla="*/ 22 h 144"/>
                <a:gd name="T46" fmla="*/ 248 w 390"/>
                <a:gd name="T47" fmla="*/ 30 h 144"/>
                <a:gd name="T48" fmla="*/ 246 w 390"/>
                <a:gd name="T49" fmla="*/ 36 h 144"/>
                <a:gd name="T50" fmla="*/ 234 w 390"/>
                <a:gd name="T51" fmla="*/ 48 h 144"/>
                <a:gd name="T52" fmla="*/ 228 w 390"/>
                <a:gd name="T53" fmla="*/ 54 h 144"/>
                <a:gd name="T54" fmla="*/ 226 w 390"/>
                <a:gd name="T55" fmla="*/ 62 h 144"/>
                <a:gd name="T56" fmla="*/ 228 w 390"/>
                <a:gd name="T57" fmla="*/ 80 h 144"/>
                <a:gd name="T58" fmla="*/ 228 w 390"/>
                <a:gd name="T59" fmla="*/ 86 h 144"/>
                <a:gd name="T60" fmla="*/ 228 w 390"/>
                <a:gd name="T61" fmla="*/ 94 h 144"/>
                <a:gd name="T62" fmla="*/ 224 w 390"/>
                <a:gd name="T63" fmla="*/ 100 h 144"/>
                <a:gd name="T64" fmla="*/ 220 w 390"/>
                <a:gd name="T65" fmla="*/ 106 h 144"/>
                <a:gd name="T66" fmla="*/ 218 w 390"/>
                <a:gd name="T67" fmla="*/ 106 h 144"/>
                <a:gd name="T68" fmla="*/ 208 w 390"/>
                <a:gd name="T69" fmla="*/ 104 h 144"/>
                <a:gd name="T70" fmla="*/ 182 w 390"/>
                <a:gd name="T71" fmla="*/ 102 h 144"/>
                <a:gd name="T72" fmla="*/ 164 w 390"/>
                <a:gd name="T73" fmla="*/ 106 h 144"/>
                <a:gd name="T74" fmla="*/ 146 w 390"/>
                <a:gd name="T75" fmla="*/ 104 h 144"/>
                <a:gd name="T76" fmla="*/ 138 w 390"/>
                <a:gd name="T77" fmla="*/ 102 h 144"/>
                <a:gd name="T78" fmla="*/ 142 w 390"/>
                <a:gd name="T79" fmla="*/ 104 h 144"/>
                <a:gd name="T80" fmla="*/ 142 w 390"/>
                <a:gd name="T81" fmla="*/ 106 h 144"/>
                <a:gd name="T82" fmla="*/ 140 w 390"/>
                <a:gd name="T83" fmla="*/ 112 h 144"/>
                <a:gd name="T84" fmla="*/ 138 w 390"/>
                <a:gd name="T85" fmla="*/ 112 h 144"/>
                <a:gd name="T86" fmla="*/ 132 w 390"/>
                <a:gd name="T87" fmla="*/ 114 h 144"/>
                <a:gd name="T88" fmla="*/ 128 w 390"/>
                <a:gd name="T89" fmla="*/ 116 h 144"/>
                <a:gd name="T90" fmla="*/ 128 w 390"/>
                <a:gd name="T91" fmla="*/ 120 h 144"/>
                <a:gd name="T92" fmla="*/ 126 w 390"/>
                <a:gd name="T93" fmla="*/ 122 h 144"/>
                <a:gd name="T94" fmla="*/ 122 w 390"/>
                <a:gd name="T95" fmla="*/ 124 h 144"/>
                <a:gd name="T96" fmla="*/ 116 w 390"/>
                <a:gd name="T97" fmla="*/ 126 h 144"/>
                <a:gd name="T98" fmla="*/ 112 w 390"/>
                <a:gd name="T99" fmla="*/ 130 h 144"/>
                <a:gd name="T100" fmla="*/ 106 w 390"/>
                <a:gd name="T101" fmla="*/ 130 h 144"/>
                <a:gd name="T102" fmla="*/ 104 w 390"/>
                <a:gd name="T103" fmla="*/ 136 h 144"/>
                <a:gd name="T104" fmla="*/ 102 w 390"/>
                <a:gd name="T105" fmla="*/ 144 h 144"/>
                <a:gd name="T106" fmla="*/ 102 w 390"/>
                <a:gd name="T107" fmla="*/ 142 h 144"/>
                <a:gd name="T108" fmla="*/ 100 w 390"/>
                <a:gd name="T109" fmla="*/ 138 h 144"/>
                <a:gd name="T110" fmla="*/ 94 w 390"/>
                <a:gd name="T111" fmla="*/ 138 h 144"/>
                <a:gd name="T112" fmla="*/ 82 w 390"/>
                <a:gd name="T113" fmla="*/ 138 h 144"/>
                <a:gd name="T114" fmla="*/ 72 w 390"/>
                <a:gd name="T115" fmla="*/ 132 h 144"/>
                <a:gd name="T116" fmla="*/ 60 w 390"/>
                <a:gd name="T117" fmla="*/ 128 h 144"/>
                <a:gd name="T118" fmla="*/ 48 w 390"/>
                <a:gd name="T119" fmla="*/ 126 h 144"/>
                <a:gd name="T120" fmla="*/ 0 w 390"/>
                <a:gd name="T121" fmla="*/ 132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0" h="144">
                  <a:moveTo>
                    <a:pt x="390" y="58"/>
                  </a:moveTo>
                  <a:lnTo>
                    <a:pt x="390" y="58"/>
                  </a:lnTo>
                  <a:lnTo>
                    <a:pt x="388" y="54"/>
                  </a:lnTo>
                  <a:lnTo>
                    <a:pt x="384" y="50"/>
                  </a:lnTo>
                  <a:lnTo>
                    <a:pt x="384" y="50"/>
                  </a:lnTo>
                  <a:lnTo>
                    <a:pt x="382" y="48"/>
                  </a:lnTo>
                  <a:lnTo>
                    <a:pt x="382" y="48"/>
                  </a:lnTo>
                  <a:lnTo>
                    <a:pt x="380" y="46"/>
                  </a:lnTo>
                  <a:lnTo>
                    <a:pt x="380" y="46"/>
                  </a:lnTo>
                  <a:lnTo>
                    <a:pt x="374" y="44"/>
                  </a:lnTo>
                  <a:lnTo>
                    <a:pt x="374" y="44"/>
                  </a:lnTo>
                  <a:lnTo>
                    <a:pt x="372" y="42"/>
                  </a:lnTo>
                  <a:lnTo>
                    <a:pt x="372" y="42"/>
                  </a:lnTo>
                  <a:lnTo>
                    <a:pt x="364" y="36"/>
                  </a:lnTo>
                  <a:lnTo>
                    <a:pt x="356" y="34"/>
                  </a:lnTo>
                  <a:lnTo>
                    <a:pt x="356" y="34"/>
                  </a:lnTo>
                  <a:lnTo>
                    <a:pt x="346" y="34"/>
                  </a:lnTo>
                  <a:lnTo>
                    <a:pt x="346" y="34"/>
                  </a:lnTo>
                  <a:lnTo>
                    <a:pt x="338" y="32"/>
                  </a:lnTo>
                  <a:lnTo>
                    <a:pt x="332" y="28"/>
                  </a:lnTo>
                  <a:lnTo>
                    <a:pt x="332" y="28"/>
                  </a:lnTo>
                  <a:lnTo>
                    <a:pt x="312" y="8"/>
                  </a:lnTo>
                  <a:lnTo>
                    <a:pt x="312" y="8"/>
                  </a:lnTo>
                  <a:lnTo>
                    <a:pt x="310" y="6"/>
                  </a:lnTo>
                  <a:lnTo>
                    <a:pt x="310" y="6"/>
                  </a:lnTo>
                  <a:lnTo>
                    <a:pt x="308" y="6"/>
                  </a:lnTo>
                  <a:lnTo>
                    <a:pt x="304" y="6"/>
                  </a:lnTo>
                  <a:lnTo>
                    <a:pt x="300" y="8"/>
                  </a:lnTo>
                  <a:lnTo>
                    <a:pt x="296" y="6"/>
                  </a:lnTo>
                  <a:lnTo>
                    <a:pt x="296" y="6"/>
                  </a:lnTo>
                  <a:lnTo>
                    <a:pt x="290" y="2"/>
                  </a:lnTo>
                  <a:lnTo>
                    <a:pt x="288" y="0"/>
                  </a:lnTo>
                  <a:lnTo>
                    <a:pt x="284" y="0"/>
                  </a:lnTo>
                  <a:lnTo>
                    <a:pt x="284" y="0"/>
                  </a:lnTo>
                  <a:lnTo>
                    <a:pt x="282" y="2"/>
                  </a:lnTo>
                  <a:lnTo>
                    <a:pt x="282" y="2"/>
                  </a:lnTo>
                  <a:lnTo>
                    <a:pt x="278" y="6"/>
                  </a:lnTo>
                  <a:lnTo>
                    <a:pt x="276" y="12"/>
                  </a:lnTo>
                  <a:lnTo>
                    <a:pt x="276" y="12"/>
                  </a:lnTo>
                  <a:lnTo>
                    <a:pt x="274" y="16"/>
                  </a:lnTo>
                  <a:lnTo>
                    <a:pt x="274" y="16"/>
                  </a:lnTo>
                  <a:lnTo>
                    <a:pt x="272" y="18"/>
                  </a:lnTo>
                  <a:lnTo>
                    <a:pt x="270" y="18"/>
                  </a:lnTo>
                  <a:lnTo>
                    <a:pt x="262" y="20"/>
                  </a:lnTo>
                  <a:lnTo>
                    <a:pt x="262" y="20"/>
                  </a:lnTo>
                  <a:lnTo>
                    <a:pt x="254" y="22"/>
                  </a:lnTo>
                  <a:lnTo>
                    <a:pt x="248" y="30"/>
                  </a:lnTo>
                  <a:lnTo>
                    <a:pt x="248" y="30"/>
                  </a:lnTo>
                  <a:lnTo>
                    <a:pt x="246" y="36"/>
                  </a:lnTo>
                  <a:lnTo>
                    <a:pt x="246" y="36"/>
                  </a:lnTo>
                  <a:lnTo>
                    <a:pt x="240" y="42"/>
                  </a:lnTo>
                  <a:lnTo>
                    <a:pt x="234" y="48"/>
                  </a:lnTo>
                  <a:lnTo>
                    <a:pt x="234" y="48"/>
                  </a:lnTo>
                  <a:lnTo>
                    <a:pt x="228" y="54"/>
                  </a:lnTo>
                  <a:lnTo>
                    <a:pt x="226" y="58"/>
                  </a:lnTo>
                  <a:lnTo>
                    <a:pt x="226" y="62"/>
                  </a:lnTo>
                  <a:lnTo>
                    <a:pt x="226" y="62"/>
                  </a:lnTo>
                  <a:lnTo>
                    <a:pt x="228" y="80"/>
                  </a:lnTo>
                  <a:lnTo>
                    <a:pt x="228" y="80"/>
                  </a:lnTo>
                  <a:lnTo>
                    <a:pt x="228" y="86"/>
                  </a:lnTo>
                  <a:lnTo>
                    <a:pt x="228" y="94"/>
                  </a:lnTo>
                  <a:lnTo>
                    <a:pt x="228" y="94"/>
                  </a:lnTo>
                  <a:lnTo>
                    <a:pt x="224" y="100"/>
                  </a:lnTo>
                  <a:lnTo>
                    <a:pt x="224" y="100"/>
                  </a:lnTo>
                  <a:lnTo>
                    <a:pt x="222" y="104"/>
                  </a:lnTo>
                  <a:lnTo>
                    <a:pt x="220" y="106"/>
                  </a:lnTo>
                  <a:lnTo>
                    <a:pt x="220" y="106"/>
                  </a:lnTo>
                  <a:lnTo>
                    <a:pt x="218" y="106"/>
                  </a:lnTo>
                  <a:lnTo>
                    <a:pt x="218" y="106"/>
                  </a:lnTo>
                  <a:lnTo>
                    <a:pt x="208" y="104"/>
                  </a:lnTo>
                  <a:lnTo>
                    <a:pt x="200" y="102"/>
                  </a:lnTo>
                  <a:lnTo>
                    <a:pt x="182" y="102"/>
                  </a:lnTo>
                  <a:lnTo>
                    <a:pt x="182" y="102"/>
                  </a:lnTo>
                  <a:lnTo>
                    <a:pt x="164" y="106"/>
                  </a:lnTo>
                  <a:lnTo>
                    <a:pt x="154" y="106"/>
                  </a:lnTo>
                  <a:lnTo>
                    <a:pt x="146" y="104"/>
                  </a:lnTo>
                  <a:lnTo>
                    <a:pt x="146" y="104"/>
                  </a:lnTo>
                  <a:lnTo>
                    <a:pt x="138" y="102"/>
                  </a:lnTo>
                  <a:lnTo>
                    <a:pt x="138" y="102"/>
                  </a:lnTo>
                  <a:lnTo>
                    <a:pt x="142" y="104"/>
                  </a:lnTo>
                  <a:lnTo>
                    <a:pt x="142" y="106"/>
                  </a:lnTo>
                  <a:lnTo>
                    <a:pt x="142" y="106"/>
                  </a:lnTo>
                  <a:lnTo>
                    <a:pt x="142" y="110"/>
                  </a:lnTo>
                  <a:lnTo>
                    <a:pt x="140" y="112"/>
                  </a:lnTo>
                  <a:lnTo>
                    <a:pt x="140" y="112"/>
                  </a:lnTo>
                  <a:lnTo>
                    <a:pt x="138" y="112"/>
                  </a:lnTo>
                  <a:lnTo>
                    <a:pt x="138" y="112"/>
                  </a:lnTo>
                  <a:lnTo>
                    <a:pt x="132" y="114"/>
                  </a:lnTo>
                  <a:lnTo>
                    <a:pt x="132" y="114"/>
                  </a:lnTo>
                  <a:lnTo>
                    <a:pt x="128" y="116"/>
                  </a:lnTo>
                  <a:lnTo>
                    <a:pt x="128" y="116"/>
                  </a:lnTo>
                  <a:lnTo>
                    <a:pt x="128" y="120"/>
                  </a:lnTo>
                  <a:lnTo>
                    <a:pt x="128" y="120"/>
                  </a:lnTo>
                  <a:lnTo>
                    <a:pt x="126" y="122"/>
                  </a:lnTo>
                  <a:lnTo>
                    <a:pt x="122" y="124"/>
                  </a:lnTo>
                  <a:lnTo>
                    <a:pt x="122" y="124"/>
                  </a:lnTo>
                  <a:lnTo>
                    <a:pt x="116" y="126"/>
                  </a:lnTo>
                  <a:lnTo>
                    <a:pt x="116" y="126"/>
                  </a:lnTo>
                  <a:lnTo>
                    <a:pt x="112" y="130"/>
                  </a:lnTo>
                  <a:lnTo>
                    <a:pt x="112" y="130"/>
                  </a:lnTo>
                  <a:lnTo>
                    <a:pt x="106" y="130"/>
                  </a:lnTo>
                  <a:lnTo>
                    <a:pt x="106" y="130"/>
                  </a:lnTo>
                  <a:lnTo>
                    <a:pt x="104" y="134"/>
                  </a:lnTo>
                  <a:lnTo>
                    <a:pt x="104" y="136"/>
                  </a:lnTo>
                  <a:lnTo>
                    <a:pt x="104" y="136"/>
                  </a:lnTo>
                  <a:lnTo>
                    <a:pt x="102" y="144"/>
                  </a:lnTo>
                  <a:lnTo>
                    <a:pt x="102" y="144"/>
                  </a:lnTo>
                  <a:lnTo>
                    <a:pt x="102" y="142"/>
                  </a:lnTo>
                  <a:lnTo>
                    <a:pt x="100" y="138"/>
                  </a:lnTo>
                  <a:lnTo>
                    <a:pt x="100" y="138"/>
                  </a:lnTo>
                  <a:lnTo>
                    <a:pt x="94" y="138"/>
                  </a:lnTo>
                  <a:lnTo>
                    <a:pt x="94" y="138"/>
                  </a:lnTo>
                  <a:lnTo>
                    <a:pt x="82" y="138"/>
                  </a:lnTo>
                  <a:lnTo>
                    <a:pt x="82" y="138"/>
                  </a:lnTo>
                  <a:lnTo>
                    <a:pt x="76" y="136"/>
                  </a:lnTo>
                  <a:lnTo>
                    <a:pt x="72" y="132"/>
                  </a:lnTo>
                  <a:lnTo>
                    <a:pt x="72" y="132"/>
                  </a:lnTo>
                  <a:lnTo>
                    <a:pt x="60" y="128"/>
                  </a:lnTo>
                  <a:lnTo>
                    <a:pt x="48" y="126"/>
                  </a:lnTo>
                  <a:lnTo>
                    <a:pt x="48" y="126"/>
                  </a:lnTo>
                  <a:lnTo>
                    <a:pt x="24" y="128"/>
                  </a:lnTo>
                  <a:lnTo>
                    <a:pt x="0" y="132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43" name="Freeform 16"/>
            <p:cNvSpPr>
              <a:spLocks/>
            </p:cNvSpPr>
            <p:nvPr/>
          </p:nvSpPr>
          <p:spPr bwMode="auto">
            <a:xfrm>
              <a:off x="3095905" y="2687022"/>
              <a:ext cx="193449" cy="105239"/>
            </a:xfrm>
            <a:custGeom>
              <a:avLst/>
              <a:gdLst>
                <a:gd name="T0" fmla="*/ 98 w 98"/>
                <a:gd name="T1" fmla="*/ 2 h 52"/>
                <a:gd name="T2" fmla="*/ 98 w 98"/>
                <a:gd name="T3" fmla="*/ 2 h 52"/>
                <a:gd name="T4" fmla="*/ 74 w 98"/>
                <a:gd name="T5" fmla="*/ 0 h 52"/>
                <a:gd name="T6" fmla="*/ 74 w 98"/>
                <a:gd name="T7" fmla="*/ 0 h 52"/>
                <a:gd name="T8" fmla="*/ 72 w 98"/>
                <a:gd name="T9" fmla="*/ 0 h 52"/>
                <a:gd name="T10" fmla="*/ 68 w 98"/>
                <a:gd name="T11" fmla="*/ 2 h 52"/>
                <a:gd name="T12" fmla="*/ 68 w 98"/>
                <a:gd name="T13" fmla="*/ 2 h 52"/>
                <a:gd name="T14" fmla="*/ 64 w 98"/>
                <a:gd name="T15" fmla="*/ 6 h 52"/>
                <a:gd name="T16" fmla="*/ 64 w 98"/>
                <a:gd name="T17" fmla="*/ 6 h 52"/>
                <a:gd name="T18" fmla="*/ 60 w 98"/>
                <a:gd name="T19" fmla="*/ 10 h 52"/>
                <a:gd name="T20" fmla="*/ 58 w 98"/>
                <a:gd name="T21" fmla="*/ 12 h 52"/>
                <a:gd name="T22" fmla="*/ 58 w 98"/>
                <a:gd name="T23" fmla="*/ 12 h 52"/>
                <a:gd name="T24" fmla="*/ 58 w 98"/>
                <a:gd name="T25" fmla="*/ 16 h 52"/>
                <a:gd name="T26" fmla="*/ 58 w 98"/>
                <a:gd name="T27" fmla="*/ 22 h 52"/>
                <a:gd name="T28" fmla="*/ 58 w 98"/>
                <a:gd name="T29" fmla="*/ 22 h 52"/>
                <a:gd name="T30" fmla="*/ 54 w 98"/>
                <a:gd name="T31" fmla="*/ 24 h 52"/>
                <a:gd name="T32" fmla="*/ 48 w 98"/>
                <a:gd name="T33" fmla="*/ 22 h 52"/>
                <a:gd name="T34" fmla="*/ 48 w 98"/>
                <a:gd name="T35" fmla="*/ 22 h 52"/>
                <a:gd name="T36" fmla="*/ 44 w 98"/>
                <a:gd name="T37" fmla="*/ 20 h 52"/>
                <a:gd name="T38" fmla="*/ 40 w 98"/>
                <a:gd name="T39" fmla="*/ 20 h 52"/>
                <a:gd name="T40" fmla="*/ 40 w 98"/>
                <a:gd name="T41" fmla="*/ 20 h 52"/>
                <a:gd name="T42" fmla="*/ 36 w 98"/>
                <a:gd name="T43" fmla="*/ 22 h 52"/>
                <a:gd name="T44" fmla="*/ 36 w 98"/>
                <a:gd name="T45" fmla="*/ 22 h 52"/>
                <a:gd name="T46" fmla="*/ 26 w 98"/>
                <a:gd name="T47" fmla="*/ 26 h 52"/>
                <a:gd name="T48" fmla="*/ 14 w 98"/>
                <a:gd name="T49" fmla="*/ 28 h 52"/>
                <a:gd name="T50" fmla="*/ 14 w 98"/>
                <a:gd name="T51" fmla="*/ 28 h 52"/>
                <a:gd name="T52" fmla="*/ 6 w 98"/>
                <a:gd name="T53" fmla="*/ 30 h 52"/>
                <a:gd name="T54" fmla="*/ 0 w 98"/>
                <a:gd name="T55" fmla="*/ 34 h 52"/>
                <a:gd name="T56" fmla="*/ 0 w 98"/>
                <a:gd name="T57" fmla="*/ 36 h 52"/>
                <a:gd name="T58" fmla="*/ 0 w 98"/>
                <a:gd name="T59" fmla="*/ 40 h 52"/>
                <a:gd name="T60" fmla="*/ 0 w 98"/>
                <a:gd name="T61" fmla="*/ 40 h 52"/>
                <a:gd name="T62" fmla="*/ 4 w 98"/>
                <a:gd name="T63" fmla="*/ 44 h 52"/>
                <a:gd name="T64" fmla="*/ 8 w 98"/>
                <a:gd name="T65" fmla="*/ 50 h 52"/>
                <a:gd name="T66" fmla="*/ 12 w 98"/>
                <a:gd name="T6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8" h="52">
                  <a:moveTo>
                    <a:pt x="98" y="2"/>
                  </a:moveTo>
                  <a:lnTo>
                    <a:pt x="98" y="2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2" y="0"/>
                  </a:lnTo>
                  <a:lnTo>
                    <a:pt x="68" y="2"/>
                  </a:lnTo>
                  <a:lnTo>
                    <a:pt x="68" y="2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0" y="10"/>
                  </a:lnTo>
                  <a:lnTo>
                    <a:pt x="58" y="12"/>
                  </a:lnTo>
                  <a:lnTo>
                    <a:pt x="58" y="12"/>
                  </a:lnTo>
                  <a:lnTo>
                    <a:pt x="58" y="16"/>
                  </a:lnTo>
                  <a:lnTo>
                    <a:pt x="58" y="22"/>
                  </a:lnTo>
                  <a:lnTo>
                    <a:pt x="58" y="22"/>
                  </a:lnTo>
                  <a:lnTo>
                    <a:pt x="54" y="24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44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26" y="26"/>
                  </a:lnTo>
                  <a:lnTo>
                    <a:pt x="14" y="28"/>
                  </a:lnTo>
                  <a:lnTo>
                    <a:pt x="14" y="28"/>
                  </a:lnTo>
                  <a:lnTo>
                    <a:pt x="6" y="30"/>
                  </a:lnTo>
                  <a:lnTo>
                    <a:pt x="0" y="34"/>
                  </a:lnTo>
                  <a:lnTo>
                    <a:pt x="0" y="36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4" y="44"/>
                  </a:lnTo>
                  <a:lnTo>
                    <a:pt x="8" y="50"/>
                  </a:lnTo>
                  <a:lnTo>
                    <a:pt x="12" y="52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44" name="Freeform 17"/>
            <p:cNvSpPr>
              <a:spLocks/>
            </p:cNvSpPr>
            <p:nvPr/>
          </p:nvSpPr>
          <p:spPr bwMode="auto">
            <a:xfrm>
              <a:off x="3364364" y="2658689"/>
              <a:ext cx="181605" cy="178096"/>
            </a:xfrm>
            <a:custGeom>
              <a:avLst/>
              <a:gdLst>
                <a:gd name="T0" fmla="*/ 0 w 92"/>
                <a:gd name="T1" fmla="*/ 88 h 88"/>
                <a:gd name="T2" fmla="*/ 0 w 92"/>
                <a:gd name="T3" fmla="*/ 88 h 88"/>
                <a:gd name="T4" fmla="*/ 4 w 92"/>
                <a:gd name="T5" fmla="*/ 70 h 88"/>
                <a:gd name="T6" fmla="*/ 8 w 92"/>
                <a:gd name="T7" fmla="*/ 58 h 88"/>
                <a:gd name="T8" fmla="*/ 12 w 92"/>
                <a:gd name="T9" fmla="*/ 52 h 88"/>
                <a:gd name="T10" fmla="*/ 12 w 92"/>
                <a:gd name="T11" fmla="*/ 52 h 88"/>
                <a:gd name="T12" fmla="*/ 22 w 92"/>
                <a:gd name="T13" fmla="*/ 44 h 88"/>
                <a:gd name="T14" fmla="*/ 22 w 92"/>
                <a:gd name="T15" fmla="*/ 44 h 88"/>
                <a:gd name="T16" fmla="*/ 30 w 92"/>
                <a:gd name="T17" fmla="*/ 36 h 88"/>
                <a:gd name="T18" fmla="*/ 30 w 92"/>
                <a:gd name="T19" fmla="*/ 36 h 88"/>
                <a:gd name="T20" fmla="*/ 36 w 92"/>
                <a:gd name="T21" fmla="*/ 34 h 88"/>
                <a:gd name="T22" fmla="*/ 36 w 92"/>
                <a:gd name="T23" fmla="*/ 34 h 88"/>
                <a:gd name="T24" fmla="*/ 40 w 92"/>
                <a:gd name="T25" fmla="*/ 32 h 88"/>
                <a:gd name="T26" fmla="*/ 46 w 92"/>
                <a:gd name="T27" fmla="*/ 34 h 88"/>
                <a:gd name="T28" fmla="*/ 46 w 92"/>
                <a:gd name="T29" fmla="*/ 34 h 88"/>
                <a:gd name="T30" fmla="*/ 50 w 92"/>
                <a:gd name="T31" fmla="*/ 34 h 88"/>
                <a:gd name="T32" fmla="*/ 52 w 92"/>
                <a:gd name="T33" fmla="*/ 34 h 88"/>
                <a:gd name="T34" fmla="*/ 52 w 92"/>
                <a:gd name="T35" fmla="*/ 34 h 88"/>
                <a:gd name="T36" fmla="*/ 54 w 92"/>
                <a:gd name="T37" fmla="*/ 32 h 88"/>
                <a:gd name="T38" fmla="*/ 54 w 92"/>
                <a:gd name="T39" fmla="*/ 32 h 88"/>
                <a:gd name="T40" fmla="*/ 58 w 92"/>
                <a:gd name="T41" fmla="*/ 22 h 88"/>
                <a:gd name="T42" fmla="*/ 58 w 92"/>
                <a:gd name="T43" fmla="*/ 22 h 88"/>
                <a:gd name="T44" fmla="*/ 60 w 92"/>
                <a:gd name="T45" fmla="*/ 20 h 88"/>
                <a:gd name="T46" fmla="*/ 60 w 92"/>
                <a:gd name="T47" fmla="*/ 20 h 88"/>
                <a:gd name="T48" fmla="*/ 62 w 92"/>
                <a:gd name="T49" fmla="*/ 18 h 88"/>
                <a:gd name="T50" fmla="*/ 64 w 92"/>
                <a:gd name="T51" fmla="*/ 18 h 88"/>
                <a:gd name="T52" fmla="*/ 70 w 92"/>
                <a:gd name="T53" fmla="*/ 20 h 88"/>
                <a:gd name="T54" fmla="*/ 70 w 92"/>
                <a:gd name="T55" fmla="*/ 20 h 88"/>
                <a:gd name="T56" fmla="*/ 74 w 92"/>
                <a:gd name="T57" fmla="*/ 20 h 88"/>
                <a:gd name="T58" fmla="*/ 78 w 92"/>
                <a:gd name="T59" fmla="*/ 20 h 88"/>
                <a:gd name="T60" fmla="*/ 82 w 92"/>
                <a:gd name="T61" fmla="*/ 16 h 88"/>
                <a:gd name="T62" fmla="*/ 84 w 92"/>
                <a:gd name="T63" fmla="*/ 14 h 88"/>
                <a:gd name="T64" fmla="*/ 84 w 92"/>
                <a:gd name="T65" fmla="*/ 14 h 88"/>
                <a:gd name="T66" fmla="*/ 88 w 92"/>
                <a:gd name="T67" fmla="*/ 6 h 88"/>
                <a:gd name="T68" fmla="*/ 90 w 92"/>
                <a:gd name="T69" fmla="*/ 2 h 88"/>
                <a:gd name="T70" fmla="*/ 92 w 92"/>
                <a:gd name="T71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2" h="88">
                  <a:moveTo>
                    <a:pt x="0" y="88"/>
                  </a:moveTo>
                  <a:lnTo>
                    <a:pt x="0" y="88"/>
                  </a:lnTo>
                  <a:lnTo>
                    <a:pt x="4" y="70"/>
                  </a:lnTo>
                  <a:lnTo>
                    <a:pt x="8" y="58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22" y="44"/>
                  </a:lnTo>
                  <a:lnTo>
                    <a:pt x="22" y="44"/>
                  </a:lnTo>
                  <a:lnTo>
                    <a:pt x="30" y="36"/>
                  </a:lnTo>
                  <a:lnTo>
                    <a:pt x="30" y="36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40" y="32"/>
                  </a:lnTo>
                  <a:lnTo>
                    <a:pt x="46" y="34"/>
                  </a:lnTo>
                  <a:lnTo>
                    <a:pt x="46" y="34"/>
                  </a:lnTo>
                  <a:lnTo>
                    <a:pt x="50" y="34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4" y="32"/>
                  </a:lnTo>
                  <a:lnTo>
                    <a:pt x="54" y="32"/>
                  </a:lnTo>
                  <a:lnTo>
                    <a:pt x="58" y="22"/>
                  </a:lnTo>
                  <a:lnTo>
                    <a:pt x="58" y="22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2" y="18"/>
                  </a:lnTo>
                  <a:lnTo>
                    <a:pt x="64" y="18"/>
                  </a:lnTo>
                  <a:lnTo>
                    <a:pt x="70" y="20"/>
                  </a:lnTo>
                  <a:lnTo>
                    <a:pt x="70" y="20"/>
                  </a:lnTo>
                  <a:lnTo>
                    <a:pt x="74" y="20"/>
                  </a:lnTo>
                  <a:lnTo>
                    <a:pt x="78" y="20"/>
                  </a:lnTo>
                  <a:lnTo>
                    <a:pt x="82" y="16"/>
                  </a:lnTo>
                  <a:lnTo>
                    <a:pt x="84" y="14"/>
                  </a:lnTo>
                  <a:lnTo>
                    <a:pt x="84" y="14"/>
                  </a:lnTo>
                  <a:lnTo>
                    <a:pt x="88" y="6"/>
                  </a:lnTo>
                  <a:lnTo>
                    <a:pt x="90" y="2"/>
                  </a:lnTo>
                  <a:lnTo>
                    <a:pt x="92" y="0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45" name="Freeform 18"/>
            <p:cNvSpPr>
              <a:spLocks/>
            </p:cNvSpPr>
            <p:nvPr/>
          </p:nvSpPr>
          <p:spPr bwMode="auto">
            <a:xfrm>
              <a:off x="3155124" y="2800356"/>
              <a:ext cx="197397" cy="157858"/>
            </a:xfrm>
            <a:custGeom>
              <a:avLst/>
              <a:gdLst>
                <a:gd name="T0" fmla="*/ 100 w 100"/>
                <a:gd name="T1" fmla="*/ 16 h 78"/>
                <a:gd name="T2" fmla="*/ 100 w 100"/>
                <a:gd name="T3" fmla="*/ 16 h 78"/>
                <a:gd name="T4" fmla="*/ 82 w 100"/>
                <a:gd name="T5" fmla="*/ 12 h 78"/>
                <a:gd name="T6" fmla="*/ 82 w 100"/>
                <a:gd name="T7" fmla="*/ 12 h 78"/>
                <a:gd name="T8" fmla="*/ 76 w 100"/>
                <a:gd name="T9" fmla="*/ 12 h 78"/>
                <a:gd name="T10" fmla="*/ 70 w 100"/>
                <a:gd name="T11" fmla="*/ 10 h 78"/>
                <a:gd name="T12" fmla="*/ 70 w 100"/>
                <a:gd name="T13" fmla="*/ 10 h 78"/>
                <a:gd name="T14" fmla="*/ 66 w 100"/>
                <a:gd name="T15" fmla="*/ 6 h 78"/>
                <a:gd name="T16" fmla="*/ 64 w 100"/>
                <a:gd name="T17" fmla="*/ 0 h 78"/>
                <a:gd name="T18" fmla="*/ 64 w 100"/>
                <a:gd name="T19" fmla="*/ 0 h 78"/>
                <a:gd name="T20" fmla="*/ 64 w 100"/>
                <a:gd name="T21" fmla="*/ 20 h 78"/>
                <a:gd name="T22" fmla="*/ 62 w 100"/>
                <a:gd name="T23" fmla="*/ 40 h 78"/>
                <a:gd name="T24" fmla="*/ 62 w 100"/>
                <a:gd name="T25" fmla="*/ 40 h 78"/>
                <a:gd name="T26" fmla="*/ 60 w 100"/>
                <a:gd name="T27" fmla="*/ 44 h 78"/>
                <a:gd name="T28" fmla="*/ 56 w 100"/>
                <a:gd name="T29" fmla="*/ 48 h 78"/>
                <a:gd name="T30" fmla="*/ 56 w 100"/>
                <a:gd name="T31" fmla="*/ 48 h 78"/>
                <a:gd name="T32" fmla="*/ 52 w 100"/>
                <a:gd name="T33" fmla="*/ 52 h 78"/>
                <a:gd name="T34" fmla="*/ 52 w 100"/>
                <a:gd name="T35" fmla="*/ 52 h 78"/>
                <a:gd name="T36" fmla="*/ 42 w 100"/>
                <a:gd name="T37" fmla="*/ 56 h 78"/>
                <a:gd name="T38" fmla="*/ 42 w 100"/>
                <a:gd name="T39" fmla="*/ 56 h 78"/>
                <a:gd name="T40" fmla="*/ 26 w 100"/>
                <a:gd name="T41" fmla="*/ 64 h 78"/>
                <a:gd name="T42" fmla="*/ 26 w 100"/>
                <a:gd name="T43" fmla="*/ 64 h 78"/>
                <a:gd name="T44" fmla="*/ 12 w 100"/>
                <a:gd name="T45" fmla="*/ 70 h 78"/>
                <a:gd name="T46" fmla="*/ 0 w 100"/>
                <a:gd name="T47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0" h="78">
                  <a:moveTo>
                    <a:pt x="100" y="16"/>
                  </a:moveTo>
                  <a:lnTo>
                    <a:pt x="100" y="16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76" y="12"/>
                  </a:lnTo>
                  <a:lnTo>
                    <a:pt x="70" y="10"/>
                  </a:lnTo>
                  <a:lnTo>
                    <a:pt x="70" y="10"/>
                  </a:lnTo>
                  <a:lnTo>
                    <a:pt x="66" y="6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20"/>
                  </a:lnTo>
                  <a:lnTo>
                    <a:pt x="62" y="40"/>
                  </a:lnTo>
                  <a:lnTo>
                    <a:pt x="62" y="40"/>
                  </a:lnTo>
                  <a:lnTo>
                    <a:pt x="60" y="44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42" y="56"/>
                  </a:lnTo>
                  <a:lnTo>
                    <a:pt x="42" y="56"/>
                  </a:lnTo>
                  <a:lnTo>
                    <a:pt x="26" y="64"/>
                  </a:lnTo>
                  <a:lnTo>
                    <a:pt x="26" y="64"/>
                  </a:lnTo>
                  <a:lnTo>
                    <a:pt x="12" y="70"/>
                  </a:lnTo>
                  <a:lnTo>
                    <a:pt x="0" y="78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46" name="Freeform 19"/>
            <p:cNvSpPr>
              <a:spLocks/>
            </p:cNvSpPr>
            <p:nvPr/>
          </p:nvSpPr>
          <p:spPr bwMode="auto">
            <a:xfrm>
              <a:off x="3301197" y="2832737"/>
              <a:ext cx="67115" cy="60715"/>
            </a:xfrm>
            <a:custGeom>
              <a:avLst/>
              <a:gdLst>
                <a:gd name="T0" fmla="*/ 2 w 34"/>
                <a:gd name="T1" fmla="*/ 30 h 30"/>
                <a:gd name="T2" fmla="*/ 2 w 34"/>
                <a:gd name="T3" fmla="*/ 30 h 30"/>
                <a:gd name="T4" fmla="*/ 2 w 34"/>
                <a:gd name="T5" fmla="*/ 26 h 30"/>
                <a:gd name="T6" fmla="*/ 0 w 34"/>
                <a:gd name="T7" fmla="*/ 20 h 30"/>
                <a:gd name="T8" fmla="*/ 0 w 34"/>
                <a:gd name="T9" fmla="*/ 16 h 30"/>
                <a:gd name="T10" fmla="*/ 0 w 34"/>
                <a:gd name="T11" fmla="*/ 12 h 30"/>
                <a:gd name="T12" fmla="*/ 0 w 34"/>
                <a:gd name="T13" fmla="*/ 12 h 30"/>
                <a:gd name="T14" fmla="*/ 2 w 34"/>
                <a:gd name="T15" fmla="*/ 6 h 30"/>
                <a:gd name="T16" fmla="*/ 2 w 34"/>
                <a:gd name="T17" fmla="*/ 6 h 30"/>
                <a:gd name="T18" fmla="*/ 6 w 34"/>
                <a:gd name="T19" fmla="*/ 4 h 30"/>
                <a:gd name="T20" fmla="*/ 6 w 34"/>
                <a:gd name="T21" fmla="*/ 4 h 30"/>
                <a:gd name="T22" fmla="*/ 16 w 34"/>
                <a:gd name="T23" fmla="*/ 2 h 30"/>
                <a:gd name="T24" fmla="*/ 16 w 34"/>
                <a:gd name="T25" fmla="*/ 2 h 30"/>
                <a:gd name="T26" fmla="*/ 34 w 34"/>
                <a:gd name="T2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4" h="30">
                  <a:moveTo>
                    <a:pt x="2" y="30"/>
                  </a:moveTo>
                  <a:lnTo>
                    <a:pt x="2" y="30"/>
                  </a:lnTo>
                  <a:lnTo>
                    <a:pt x="2" y="26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6"/>
                  </a:lnTo>
                  <a:lnTo>
                    <a:pt x="2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34" y="0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47" name="Freeform 20"/>
            <p:cNvSpPr>
              <a:spLocks/>
            </p:cNvSpPr>
            <p:nvPr/>
          </p:nvSpPr>
          <p:spPr bwMode="auto">
            <a:xfrm>
              <a:off x="3309093" y="5334176"/>
              <a:ext cx="501388" cy="380478"/>
            </a:xfrm>
            <a:custGeom>
              <a:avLst/>
              <a:gdLst>
                <a:gd name="T0" fmla="*/ 252 w 254"/>
                <a:gd name="T1" fmla="*/ 100 h 188"/>
                <a:gd name="T2" fmla="*/ 238 w 254"/>
                <a:gd name="T3" fmla="*/ 90 h 188"/>
                <a:gd name="T4" fmla="*/ 232 w 254"/>
                <a:gd name="T5" fmla="*/ 76 h 188"/>
                <a:gd name="T6" fmla="*/ 234 w 254"/>
                <a:gd name="T7" fmla="*/ 72 h 188"/>
                <a:gd name="T8" fmla="*/ 226 w 254"/>
                <a:gd name="T9" fmla="*/ 62 h 188"/>
                <a:gd name="T10" fmla="*/ 200 w 254"/>
                <a:gd name="T11" fmla="*/ 46 h 188"/>
                <a:gd name="T12" fmla="*/ 190 w 254"/>
                <a:gd name="T13" fmla="*/ 18 h 188"/>
                <a:gd name="T14" fmla="*/ 190 w 254"/>
                <a:gd name="T15" fmla="*/ 6 h 188"/>
                <a:gd name="T16" fmla="*/ 174 w 254"/>
                <a:gd name="T17" fmla="*/ 2 h 188"/>
                <a:gd name="T18" fmla="*/ 166 w 254"/>
                <a:gd name="T19" fmla="*/ 6 h 188"/>
                <a:gd name="T20" fmla="*/ 140 w 254"/>
                <a:gd name="T21" fmla="*/ 0 h 188"/>
                <a:gd name="T22" fmla="*/ 148 w 254"/>
                <a:gd name="T23" fmla="*/ 14 h 188"/>
                <a:gd name="T24" fmla="*/ 154 w 254"/>
                <a:gd name="T25" fmla="*/ 20 h 188"/>
                <a:gd name="T26" fmla="*/ 140 w 254"/>
                <a:gd name="T27" fmla="*/ 36 h 188"/>
                <a:gd name="T28" fmla="*/ 120 w 254"/>
                <a:gd name="T29" fmla="*/ 44 h 188"/>
                <a:gd name="T30" fmla="*/ 102 w 254"/>
                <a:gd name="T31" fmla="*/ 38 h 188"/>
                <a:gd name="T32" fmla="*/ 86 w 254"/>
                <a:gd name="T33" fmla="*/ 40 h 188"/>
                <a:gd name="T34" fmla="*/ 58 w 254"/>
                <a:gd name="T35" fmla="*/ 26 h 188"/>
                <a:gd name="T36" fmla="*/ 22 w 254"/>
                <a:gd name="T37" fmla="*/ 30 h 188"/>
                <a:gd name="T38" fmla="*/ 20 w 254"/>
                <a:gd name="T39" fmla="*/ 40 h 188"/>
                <a:gd name="T40" fmla="*/ 32 w 254"/>
                <a:gd name="T41" fmla="*/ 56 h 188"/>
                <a:gd name="T42" fmla="*/ 28 w 254"/>
                <a:gd name="T43" fmla="*/ 68 h 188"/>
                <a:gd name="T44" fmla="*/ 20 w 254"/>
                <a:gd name="T45" fmla="*/ 82 h 188"/>
                <a:gd name="T46" fmla="*/ 18 w 254"/>
                <a:gd name="T47" fmla="*/ 96 h 188"/>
                <a:gd name="T48" fmla="*/ 10 w 254"/>
                <a:gd name="T49" fmla="*/ 110 h 188"/>
                <a:gd name="T50" fmla="*/ 12 w 254"/>
                <a:gd name="T51" fmla="*/ 126 h 188"/>
                <a:gd name="T52" fmla="*/ 8 w 254"/>
                <a:gd name="T53" fmla="*/ 134 h 188"/>
                <a:gd name="T54" fmla="*/ 6 w 254"/>
                <a:gd name="T55" fmla="*/ 142 h 188"/>
                <a:gd name="T56" fmla="*/ 6 w 254"/>
                <a:gd name="T57" fmla="*/ 158 h 188"/>
                <a:gd name="T58" fmla="*/ 0 w 254"/>
                <a:gd name="T59" fmla="*/ 160 h 188"/>
                <a:gd name="T60" fmla="*/ 0 w 254"/>
                <a:gd name="T61" fmla="*/ 176 h 188"/>
                <a:gd name="T62" fmla="*/ 4 w 254"/>
                <a:gd name="T63" fmla="*/ 180 h 188"/>
                <a:gd name="T64" fmla="*/ 14 w 254"/>
                <a:gd name="T65" fmla="*/ 182 h 188"/>
                <a:gd name="T66" fmla="*/ 20 w 254"/>
                <a:gd name="T67" fmla="*/ 182 h 188"/>
                <a:gd name="T68" fmla="*/ 28 w 254"/>
                <a:gd name="T69" fmla="*/ 186 h 188"/>
                <a:gd name="T70" fmla="*/ 36 w 254"/>
                <a:gd name="T71" fmla="*/ 176 h 188"/>
                <a:gd name="T72" fmla="*/ 44 w 254"/>
                <a:gd name="T73" fmla="*/ 170 h 188"/>
                <a:gd name="T74" fmla="*/ 70 w 254"/>
                <a:gd name="T75" fmla="*/ 166 h 188"/>
                <a:gd name="T76" fmla="*/ 74 w 254"/>
                <a:gd name="T77" fmla="*/ 164 h 188"/>
                <a:gd name="T78" fmla="*/ 72 w 254"/>
                <a:gd name="T79" fmla="*/ 144 h 188"/>
                <a:gd name="T80" fmla="*/ 72 w 254"/>
                <a:gd name="T81" fmla="*/ 134 h 188"/>
                <a:gd name="T82" fmla="*/ 70 w 254"/>
                <a:gd name="T83" fmla="*/ 124 h 188"/>
                <a:gd name="T84" fmla="*/ 70 w 254"/>
                <a:gd name="T85" fmla="*/ 106 h 188"/>
                <a:gd name="T86" fmla="*/ 86 w 254"/>
                <a:gd name="T87" fmla="*/ 98 h 188"/>
                <a:gd name="T88" fmla="*/ 94 w 254"/>
                <a:gd name="T89" fmla="*/ 92 h 188"/>
                <a:gd name="T90" fmla="*/ 90 w 254"/>
                <a:gd name="T91" fmla="*/ 78 h 188"/>
                <a:gd name="T92" fmla="*/ 82 w 254"/>
                <a:gd name="T93" fmla="*/ 66 h 188"/>
                <a:gd name="T94" fmla="*/ 64 w 254"/>
                <a:gd name="T95" fmla="*/ 54 h 188"/>
                <a:gd name="T96" fmla="*/ 62 w 254"/>
                <a:gd name="T97" fmla="*/ 36 h 188"/>
                <a:gd name="T98" fmla="*/ 58 w 254"/>
                <a:gd name="T99" fmla="*/ 26 h 188"/>
                <a:gd name="T100" fmla="*/ 44 w 254"/>
                <a:gd name="T101" fmla="*/ 42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54" h="188">
                  <a:moveTo>
                    <a:pt x="254" y="106"/>
                  </a:moveTo>
                  <a:lnTo>
                    <a:pt x="254" y="106"/>
                  </a:lnTo>
                  <a:lnTo>
                    <a:pt x="254" y="102"/>
                  </a:lnTo>
                  <a:lnTo>
                    <a:pt x="252" y="100"/>
                  </a:lnTo>
                  <a:lnTo>
                    <a:pt x="252" y="100"/>
                  </a:lnTo>
                  <a:lnTo>
                    <a:pt x="246" y="96"/>
                  </a:lnTo>
                  <a:lnTo>
                    <a:pt x="246" y="96"/>
                  </a:lnTo>
                  <a:lnTo>
                    <a:pt x="238" y="90"/>
                  </a:lnTo>
                  <a:lnTo>
                    <a:pt x="232" y="82"/>
                  </a:lnTo>
                  <a:lnTo>
                    <a:pt x="232" y="82"/>
                  </a:lnTo>
                  <a:lnTo>
                    <a:pt x="230" y="80"/>
                  </a:lnTo>
                  <a:lnTo>
                    <a:pt x="232" y="76"/>
                  </a:lnTo>
                  <a:lnTo>
                    <a:pt x="232" y="76"/>
                  </a:lnTo>
                  <a:lnTo>
                    <a:pt x="232" y="76"/>
                  </a:lnTo>
                  <a:lnTo>
                    <a:pt x="232" y="76"/>
                  </a:lnTo>
                  <a:lnTo>
                    <a:pt x="234" y="72"/>
                  </a:lnTo>
                  <a:lnTo>
                    <a:pt x="232" y="68"/>
                  </a:lnTo>
                  <a:lnTo>
                    <a:pt x="232" y="68"/>
                  </a:lnTo>
                  <a:lnTo>
                    <a:pt x="230" y="64"/>
                  </a:lnTo>
                  <a:lnTo>
                    <a:pt x="226" y="62"/>
                  </a:lnTo>
                  <a:lnTo>
                    <a:pt x="226" y="62"/>
                  </a:lnTo>
                  <a:lnTo>
                    <a:pt x="212" y="56"/>
                  </a:lnTo>
                  <a:lnTo>
                    <a:pt x="200" y="46"/>
                  </a:lnTo>
                  <a:lnTo>
                    <a:pt x="200" y="46"/>
                  </a:lnTo>
                  <a:lnTo>
                    <a:pt x="194" y="40"/>
                  </a:lnTo>
                  <a:lnTo>
                    <a:pt x="192" y="32"/>
                  </a:lnTo>
                  <a:lnTo>
                    <a:pt x="190" y="24"/>
                  </a:lnTo>
                  <a:lnTo>
                    <a:pt x="190" y="18"/>
                  </a:lnTo>
                  <a:lnTo>
                    <a:pt x="190" y="18"/>
                  </a:lnTo>
                  <a:lnTo>
                    <a:pt x="190" y="12"/>
                  </a:lnTo>
                  <a:lnTo>
                    <a:pt x="190" y="6"/>
                  </a:lnTo>
                  <a:lnTo>
                    <a:pt x="190" y="6"/>
                  </a:lnTo>
                  <a:lnTo>
                    <a:pt x="186" y="2"/>
                  </a:lnTo>
                  <a:lnTo>
                    <a:pt x="180" y="0"/>
                  </a:lnTo>
                  <a:lnTo>
                    <a:pt x="180" y="0"/>
                  </a:lnTo>
                  <a:lnTo>
                    <a:pt x="174" y="2"/>
                  </a:lnTo>
                  <a:lnTo>
                    <a:pt x="170" y="4"/>
                  </a:lnTo>
                  <a:lnTo>
                    <a:pt x="170" y="4"/>
                  </a:lnTo>
                  <a:lnTo>
                    <a:pt x="166" y="6"/>
                  </a:lnTo>
                  <a:lnTo>
                    <a:pt x="166" y="6"/>
                  </a:lnTo>
                  <a:lnTo>
                    <a:pt x="160" y="4"/>
                  </a:lnTo>
                  <a:lnTo>
                    <a:pt x="160" y="4"/>
                  </a:lnTo>
                  <a:lnTo>
                    <a:pt x="150" y="2"/>
                  </a:lnTo>
                  <a:lnTo>
                    <a:pt x="140" y="0"/>
                  </a:lnTo>
                  <a:lnTo>
                    <a:pt x="140" y="0"/>
                  </a:lnTo>
                  <a:lnTo>
                    <a:pt x="140" y="4"/>
                  </a:lnTo>
                  <a:lnTo>
                    <a:pt x="142" y="8"/>
                  </a:lnTo>
                  <a:lnTo>
                    <a:pt x="148" y="14"/>
                  </a:lnTo>
                  <a:lnTo>
                    <a:pt x="148" y="14"/>
                  </a:lnTo>
                  <a:lnTo>
                    <a:pt x="152" y="16"/>
                  </a:lnTo>
                  <a:lnTo>
                    <a:pt x="154" y="20"/>
                  </a:lnTo>
                  <a:lnTo>
                    <a:pt x="154" y="20"/>
                  </a:lnTo>
                  <a:lnTo>
                    <a:pt x="152" y="24"/>
                  </a:lnTo>
                  <a:lnTo>
                    <a:pt x="150" y="28"/>
                  </a:lnTo>
                  <a:lnTo>
                    <a:pt x="150" y="28"/>
                  </a:lnTo>
                  <a:lnTo>
                    <a:pt x="140" y="36"/>
                  </a:lnTo>
                  <a:lnTo>
                    <a:pt x="126" y="42"/>
                  </a:lnTo>
                  <a:lnTo>
                    <a:pt x="126" y="42"/>
                  </a:lnTo>
                  <a:lnTo>
                    <a:pt x="120" y="44"/>
                  </a:lnTo>
                  <a:lnTo>
                    <a:pt x="120" y="44"/>
                  </a:lnTo>
                  <a:lnTo>
                    <a:pt x="116" y="42"/>
                  </a:lnTo>
                  <a:lnTo>
                    <a:pt x="116" y="42"/>
                  </a:lnTo>
                  <a:lnTo>
                    <a:pt x="110" y="38"/>
                  </a:lnTo>
                  <a:lnTo>
                    <a:pt x="102" y="38"/>
                  </a:lnTo>
                  <a:lnTo>
                    <a:pt x="102" y="38"/>
                  </a:lnTo>
                  <a:lnTo>
                    <a:pt x="94" y="40"/>
                  </a:lnTo>
                  <a:lnTo>
                    <a:pt x="86" y="40"/>
                  </a:lnTo>
                  <a:lnTo>
                    <a:pt x="86" y="40"/>
                  </a:lnTo>
                  <a:lnTo>
                    <a:pt x="78" y="38"/>
                  </a:lnTo>
                  <a:lnTo>
                    <a:pt x="72" y="34"/>
                  </a:lnTo>
                  <a:lnTo>
                    <a:pt x="64" y="30"/>
                  </a:lnTo>
                  <a:lnTo>
                    <a:pt x="58" y="26"/>
                  </a:lnTo>
                  <a:lnTo>
                    <a:pt x="30" y="26"/>
                  </a:lnTo>
                  <a:lnTo>
                    <a:pt x="30" y="26"/>
                  </a:lnTo>
                  <a:lnTo>
                    <a:pt x="26" y="28"/>
                  </a:lnTo>
                  <a:lnTo>
                    <a:pt x="22" y="30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18" y="36"/>
                  </a:lnTo>
                  <a:lnTo>
                    <a:pt x="20" y="40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30" y="52"/>
                  </a:lnTo>
                  <a:lnTo>
                    <a:pt x="32" y="56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0" y="64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2" y="76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6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18" y="96"/>
                  </a:lnTo>
                  <a:lnTo>
                    <a:pt x="14" y="98"/>
                  </a:lnTo>
                  <a:lnTo>
                    <a:pt x="14" y="98"/>
                  </a:lnTo>
                  <a:lnTo>
                    <a:pt x="12" y="104"/>
                  </a:lnTo>
                  <a:lnTo>
                    <a:pt x="10" y="110"/>
                  </a:lnTo>
                  <a:lnTo>
                    <a:pt x="10" y="110"/>
                  </a:lnTo>
                  <a:lnTo>
                    <a:pt x="10" y="118"/>
                  </a:lnTo>
                  <a:lnTo>
                    <a:pt x="12" y="126"/>
                  </a:lnTo>
                  <a:lnTo>
                    <a:pt x="12" y="126"/>
                  </a:lnTo>
                  <a:lnTo>
                    <a:pt x="12" y="130"/>
                  </a:lnTo>
                  <a:lnTo>
                    <a:pt x="10" y="134"/>
                  </a:lnTo>
                  <a:lnTo>
                    <a:pt x="10" y="134"/>
                  </a:lnTo>
                  <a:lnTo>
                    <a:pt x="8" y="134"/>
                  </a:lnTo>
                  <a:lnTo>
                    <a:pt x="6" y="136"/>
                  </a:lnTo>
                  <a:lnTo>
                    <a:pt x="6" y="136"/>
                  </a:lnTo>
                  <a:lnTo>
                    <a:pt x="6" y="142"/>
                  </a:lnTo>
                  <a:lnTo>
                    <a:pt x="6" y="142"/>
                  </a:lnTo>
                  <a:lnTo>
                    <a:pt x="6" y="150"/>
                  </a:lnTo>
                  <a:lnTo>
                    <a:pt x="6" y="150"/>
                  </a:lnTo>
                  <a:lnTo>
                    <a:pt x="6" y="154"/>
                  </a:lnTo>
                  <a:lnTo>
                    <a:pt x="6" y="158"/>
                  </a:lnTo>
                  <a:lnTo>
                    <a:pt x="6" y="158"/>
                  </a:lnTo>
                  <a:lnTo>
                    <a:pt x="2" y="158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76"/>
                  </a:lnTo>
                  <a:lnTo>
                    <a:pt x="0" y="176"/>
                  </a:lnTo>
                  <a:lnTo>
                    <a:pt x="2" y="178"/>
                  </a:lnTo>
                  <a:lnTo>
                    <a:pt x="2" y="178"/>
                  </a:lnTo>
                  <a:lnTo>
                    <a:pt x="4" y="180"/>
                  </a:lnTo>
                  <a:lnTo>
                    <a:pt x="4" y="180"/>
                  </a:lnTo>
                  <a:lnTo>
                    <a:pt x="10" y="182"/>
                  </a:lnTo>
                  <a:lnTo>
                    <a:pt x="10" y="182"/>
                  </a:lnTo>
                  <a:lnTo>
                    <a:pt x="14" y="182"/>
                  </a:lnTo>
                  <a:lnTo>
                    <a:pt x="14" y="182"/>
                  </a:lnTo>
                  <a:lnTo>
                    <a:pt x="16" y="180"/>
                  </a:lnTo>
                  <a:lnTo>
                    <a:pt x="16" y="180"/>
                  </a:lnTo>
                  <a:lnTo>
                    <a:pt x="18" y="180"/>
                  </a:lnTo>
                  <a:lnTo>
                    <a:pt x="20" y="182"/>
                  </a:lnTo>
                  <a:lnTo>
                    <a:pt x="20" y="182"/>
                  </a:lnTo>
                  <a:lnTo>
                    <a:pt x="28" y="188"/>
                  </a:lnTo>
                  <a:lnTo>
                    <a:pt x="28" y="188"/>
                  </a:lnTo>
                  <a:lnTo>
                    <a:pt x="28" y="186"/>
                  </a:lnTo>
                  <a:lnTo>
                    <a:pt x="30" y="184"/>
                  </a:lnTo>
                  <a:lnTo>
                    <a:pt x="34" y="182"/>
                  </a:lnTo>
                  <a:lnTo>
                    <a:pt x="34" y="182"/>
                  </a:lnTo>
                  <a:lnTo>
                    <a:pt x="36" y="176"/>
                  </a:lnTo>
                  <a:lnTo>
                    <a:pt x="38" y="172"/>
                  </a:lnTo>
                  <a:lnTo>
                    <a:pt x="38" y="172"/>
                  </a:lnTo>
                  <a:lnTo>
                    <a:pt x="44" y="170"/>
                  </a:lnTo>
                  <a:lnTo>
                    <a:pt x="44" y="170"/>
                  </a:lnTo>
                  <a:lnTo>
                    <a:pt x="52" y="168"/>
                  </a:lnTo>
                  <a:lnTo>
                    <a:pt x="52" y="168"/>
                  </a:lnTo>
                  <a:lnTo>
                    <a:pt x="60" y="166"/>
                  </a:lnTo>
                  <a:lnTo>
                    <a:pt x="70" y="166"/>
                  </a:lnTo>
                  <a:lnTo>
                    <a:pt x="70" y="166"/>
                  </a:lnTo>
                  <a:lnTo>
                    <a:pt x="72" y="166"/>
                  </a:lnTo>
                  <a:lnTo>
                    <a:pt x="72" y="166"/>
                  </a:lnTo>
                  <a:lnTo>
                    <a:pt x="74" y="164"/>
                  </a:lnTo>
                  <a:lnTo>
                    <a:pt x="74" y="160"/>
                  </a:lnTo>
                  <a:lnTo>
                    <a:pt x="74" y="160"/>
                  </a:lnTo>
                  <a:lnTo>
                    <a:pt x="72" y="152"/>
                  </a:lnTo>
                  <a:lnTo>
                    <a:pt x="72" y="144"/>
                  </a:lnTo>
                  <a:lnTo>
                    <a:pt x="72" y="144"/>
                  </a:lnTo>
                  <a:lnTo>
                    <a:pt x="74" y="140"/>
                  </a:lnTo>
                  <a:lnTo>
                    <a:pt x="72" y="134"/>
                  </a:lnTo>
                  <a:lnTo>
                    <a:pt x="72" y="134"/>
                  </a:lnTo>
                  <a:lnTo>
                    <a:pt x="70" y="130"/>
                  </a:lnTo>
                  <a:lnTo>
                    <a:pt x="70" y="130"/>
                  </a:lnTo>
                  <a:lnTo>
                    <a:pt x="70" y="124"/>
                  </a:lnTo>
                  <a:lnTo>
                    <a:pt x="70" y="124"/>
                  </a:lnTo>
                  <a:lnTo>
                    <a:pt x="68" y="112"/>
                  </a:lnTo>
                  <a:lnTo>
                    <a:pt x="68" y="112"/>
                  </a:lnTo>
                  <a:lnTo>
                    <a:pt x="70" y="106"/>
                  </a:lnTo>
                  <a:lnTo>
                    <a:pt x="70" y="106"/>
                  </a:lnTo>
                  <a:lnTo>
                    <a:pt x="72" y="104"/>
                  </a:lnTo>
                  <a:lnTo>
                    <a:pt x="72" y="104"/>
                  </a:lnTo>
                  <a:lnTo>
                    <a:pt x="78" y="100"/>
                  </a:lnTo>
                  <a:lnTo>
                    <a:pt x="86" y="98"/>
                  </a:lnTo>
                  <a:lnTo>
                    <a:pt x="86" y="98"/>
                  </a:lnTo>
                  <a:lnTo>
                    <a:pt x="92" y="96"/>
                  </a:lnTo>
                  <a:lnTo>
                    <a:pt x="94" y="92"/>
                  </a:lnTo>
                  <a:lnTo>
                    <a:pt x="94" y="92"/>
                  </a:lnTo>
                  <a:lnTo>
                    <a:pt x="96" y="88"/>
                  </a:lnTo>
                  <a:lnTo>
                    <a:pt x="94" y="84"/>
                  </a:lnTo>
                  <a:lnTo>
                    <a:pt x="94" y="84"/>
                  </a:lnTo>
                  <a:lnTo>
                    <a:pt x="90" y="78"/>
                  </a:lnTo>
                  <a:lnTo>
                    <a:pt x="90" y="78"/>
                  </a:lnTo>
                  <a:lnTo>
                    <a:pt x="86" y="72"/>
                  </a:lnTo>
                  <a:lnTo>
                    <a:pt x="86" y="72"/>
                  </a:lnTo>
                  <a:lnTo>
                    <a:pt x="82" y="66"/>
                  </a:lnTo>
                  <a:lnTo>
                    <a:pt x="82" y="66"/>
                  </a:lnTo>
                  <a:lnTo>
                    <a:pt x="72" y="60"/>
                  </a:lnTo>
                  <a:lnTo>
                    <a:pt x="64" y="54"/>
                  </a:lnTo>
                  <a:lnTo>
                    <a:pt x="64" y="54"/>
                  </a:lnTo>
                  <a:lnTo>
                    <a:pt x="62" y="50"/>
                  </a:lnTo>
                  <a:lnTo>
                    <a:pt x="60" y="4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2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58" y="26"/>
                  </a:lnTo>
                  <a:lnTo>
                    <a:pt x="58" y="26"/>
                  </a:lnTo>
                  <a:lnTo>
                    <a:pt x="56" y="28"/>
                  </a:lnTo>
                  <a:lnTo>
                    <a:pt x="52" y="30"/>
                  </a:lnTo>
                  <a:lnTo>
                    <a:pt x="44" y="42"/>
                  </a:lnTo>
                  <a:lnTo>
                    <a:pt x="34" y="60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48" name="Freeform 21"/>
            <p:cNvSpPr>
              <a:spLocks/>
            </p:cNvSpPr>
            <p:nvPr/>
          </p:nvSpPr>
          <p:spPr bwMode="auto">
            <a:xfrm>
              <a:off x="3451219" y="5548701"/>
              <a:ext cx="359262" cy="121429"/>
            </a:xfrm>
            <a:custGeom>
              <a:avLst/>
              <a:gdLst>
                <a:gd name="T0" fmla="*/ 182 w 182"/>
                <a:gd name="T1" fmla="*/ 0 h 60"/>
                <a:gd name="T2" fmla="*/ 182 w 182"/>
                <a:gd name="T3" fmla="*/ 0 h 60"/>
                <a:gd name="T4" fmla="*/ 172 w 182"/>
                <a:gd name="T5" fmla="*/ 16 h 60"/>
                <a:gd name="T6" fmla="*/ 172 w 182"/>
                <a:gd name="T7" fmla="*/ 16 h 60"/>
                <a:gd name="T8" fmla="*/ 166 w 182"/>
                <a:gd name="T9" fmla="*/ 24 h 60"/>
                <a:gd name="T10" fmla="*/ 158 w 182"/>
                <a:gd name="T11" fmla="*/ 30 h 60"/>
                <a:gd name="T12" fmla="*/ 158 w 182"/>
                <a:gd name="T13" fmla="*/ 30 h 60"/>
                <a:gd name="T14" fmla="*/ 148 w 182"/>
                <a:gd name="T15" fmla="*/ 36 h 60"/>
                <a:gd name="T16" fmla="*/ 148 w 182"/>
                <a:gd name="T17" fmla="*/ 36 h 60"/>
                <a:gd name="T18" fmla="*/ 132 w 182"/>
                <a:gd name="T19" fmla="*/ 44 h 60"/>
                <a:gd name="T20" fmla="*/ 132 w 182"/>
                <a:gd name="T21" fmla="*/ 44 h 60"/>
                <a:gd name="T22" fmla="*/ 122 w 182"/>
                <a:gd name="T23" fmla="*/ 48 h 60"/>
                <a:gd name="T24" fmla="*/ 122 w 182"/>
                <a:gd name="T25" fmla="*/ 48 h 60"/>
                <a:gd name="T26" fmla="*/ 114 w 182"/>
                <a:gd name="T27" fmla="*/ 48 h 60"/>
                <a:gd name="T28" fmla="*/ 114 w 182"/>
                <a:gd name="T29" fmla="*/ 48 h 60"/>
                <a:gd name="T30" fmla="*/ 92 w 182"/>
                <a:gd name="T31" fmla="*/ 50 h 60"/>
                <a:gd name="T32" fmla="*/ 68 w 182"/>
                <a:gd name="T33" fmla="*/ 50 h 60"/>
                <a:gd name="T34" fmla="*/ 68 w 182"/>
                <a:gd name="T35" fmla="*/ 50 h 60"/>
                <a:gd name="T36" fmla="*/ 52 w 182"/>
                <a:gd name="T37" fmla="*/ 48 h 60"/>
                <a:gd name="T38" fmla="*/ 44 w 182"/>
                <a:gd name="T39" fmla="*/ 50 h 60"/>
                <a:gd name="T40" fmla="*/ 36 w 182"/>
                <a:gd name="T41" fmla="*/ 52 h 60"/>
                <a:gd name="T42" fmla="*/ 36 w 182"/>
                <a:gd name="T43" fmla="*/ 52 h 60"/>
                <a:gd name="T44" fmla="*/ 32 w 182"/>
                <a:gd name="T45" fmla="*/ 54 h 60"/>
                <a:gd name="T46" fmla="*/ 32 w 182"/>
                <a:gd name="T47" fmla="*/ 54 h 60"/>
                <a:gd name="T48" fmla="*/ 24 w 182"/>
                <a:gd name="T49" fmla="*/ 56 h 60"/>
                <a:gd name="T50" fmla="*/ 24 w 182"/>
                <a:gd name="T51" fmla="*/ 56 h 60"/>
                <a:gd name="T52" fmla="*/ 14 w 182"/>
                <a:gd name="T53" fmla="*/ 58 h 60"/>
                <a:gd name="T54" fmla="*/ 14 w 182"/>
                <a:gd name="T55" fmla="*/ 58 h 60"/>
                <a:gd name="T56" fmla="*/ 8 w 182"/>
                <a:gd name="T57" fmla="*/ 60 h 60"/>
                <a:gd name="T58" fmla="*/ 0 w 182"/>
                <a:gd name="T59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82" h="60">
                  <a:moveTo>
                    <a:pt x="182" y="0"/>
                  </a:moveTo>
                  <a:lnTo>
                    <a:pt x="182" y="0"/>
                  </a:lnTo>
                  <a:lnTo>
                    <a:pt x="172" y="16"/>
                  </a:lnTo>
                  <a:lnTo>
                    <a:pt x="172" y="16"/>
                  </a:lnTo>
                  <a:lnTo>
                    <a:pt x="166" y="24"/>
                  </a:lnTo>
                  <a:lnTo>
                    <a:pt x="158" y="30"/>
                  </a:lnTo>
                  <a:lnTo>
                    <a:pt x="158" y="30"/>
                  </a:lnTo>
                  <a:lnTo>
                    <a:pt x="148" y="36"/>
                  </a:lnTo>
                  <a:lnTo>
                    <a:pt x="148" y="36"/>
                  </a:lnTo>
                  <a:lnTo>
                    <a:pt x="132" y="44"/>
                  </a:lnTo>
                  <a:lnTo>
                    <a:pt x="132" y="44"/>
                  </a:lnTo>
                  <a:lnTo>
                    <a:pt x="122" y="48"/>
                  </a:lnTo>
                  <a:lnTo>
                    <a:pt x="122" y="48"/>
                  </a:lnTo>
                  <a:lnTo>
                    <a:pt x="114" y="48"/>
                  </a:lnTo>
                  <a:lnTo>
                    <a:pt x="114" y="48"/>
                  </a:lnTo>
                  <a:lnTo>
                    <a:pt x="92" y="50"/>
                  </a:lnTo>
                  <a:lnTo>
                    <a:pt x="68" y="50"/>
                  </a:lnTo>
                  <a:lnTo>
                    <a:pt x="68" y="50"/>
                  </a:lnTo>
                  <a:lnTo>
                    <a:pt x="52" y="48"/>
                  </a:lnTo>
                  <a:lnTo>
                    <a:pt x="44" y="50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2" y="54"/>
                  </a:lnTo>
                  <a:lnTo>
                    <a:pt x="32" y="54"/>
                  </a:lnTo>
                  <a:lnTo>
                    <a:pt x="24" y="56"/>
                  </a:lnTo>
                  <a:lnTo>
                    <a:pt x="24" y="56"/>
                  </a:lnTo>
                  <a:lnTo>
                    <a:pt x="14" y="58"/>
                  </a:lnTo>
                  <a:lnTo>
                    <a:pt x="14" y="58"/>
                  </a:lnTo>
                  <a:lnTo>
                    <a:pt x="8" y="60"/>
                  </a:lnTo>
                  <a:lnTo>
                    <a:pt x="0" y="60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49" name="Freeform 22"/>
            <p:cNvSpPr>
              <a:spLocks/>
            </p:cNvSpPr>
            <p:nvPr/>
          </p:nvSpPr>
          <p:spPr bwMode="auto">
            <a:xfrm>
              <a:off x="3451219" y="5423224"/>
              <a:ext cx="311887" cy="222620"/>
            </a:xfrm>
            <a:custGeom>
              <a:avLst/>
              <a:gdLst>
                <a:gd name="T0" fmla="*/ 48 w 158"/>
                <a:gd name="T1" fmla="*/ 0 h 110"/>
                <a:gd name="T2" fmla="*/ 48 w 158"/>
                <a:gd name="T3" fmla="*/ 26 h 110"/>
                <a:gd name="T4" fmla="*/ 62 w 158"/>
                <a:gd name="T5" fmla="*/ 28 h 110"/>
                <a:gd name="T6" fmla="*/ 66 w 158"/>
                <a:gd name="T7" fmla="*/ 28 h 110"/>
                <a:gd name="T8" fmla="*/ 66 w 158"/>
                <a:gd name="T9" fmla="*/ 36 h 110"/>
                <a:gd name="T10" fmla="*/ 64 w 158"/>
                <a:gd name="T11" fmla="*/ 48 h 110"/>
                <a:gd name="T12" fmla="*/ 64 w 158"/>
                <a:gd name="T13" fmla="*/ 54 h 110"/>
                <a:gd name="T14" fmla="*/ 66 w 158"/>
                <a:gd name="T15" fmla="*/ 56 h 110"/>
                <a:gd name="T16" fmla="*/ 68 w 158"/>
                <a:gd name="T17" fmla="*/ 56 h 110"/>
                <a:gd name="T18" fmla="*/ 74 w 158"/>
                <a:gd name="T19" fmla="*/ 56 h 110"/>
                <a:gd name="T20" fmla="*/ 100 w 158"/>
                <a:gd name="T21" fmla="*/ 40 h 110"/>
                <a:gd name="T22" fmla="*/ 108 w 158"/>
                <a:gd name="T23" fmla="*/ 38 h 110"/>
                <a:gd name="T24" fmla="*/ 120 w 158"/>
                <a:gd name="T25" fmla="*/ 36 h 110"/>
                <a:gd name="T26" fmla="*/ 124 w 158"/>
                <a:gd name="T27" fmla="*/ 30 h 110"/>
                <a:gd name="T28" fmla="*/ 130 w 158"/>
                <a:gd name="T29" fmla="*/ 26 h 110"/>
                <a:gd name="T30" fmla="*/ 144 w 158"/>
                <a:gd name="T31" fmla="*/ 20 h 110"/>
                <a:gd name="T32" fmla="*/ 152 w 158"/>
                <a:gd name="T33" fmla="*/ 22 h 110"/>
                <a:gd name="T34" fmla="*/ 158 w 158"/>
                <a:gd name="T35" fmla="*/ 28 h 110"/>
                <a:gd name="T36" fmla="*/ 158 w 158"/>
                <a:gd name="T37" fmla="*/ 32 h 110"/>
                <a:gd name="T38" fmla="*/ 156 w 158"/>
                <a:gd name="T39" fmla="*/ 36 h 110"/>
                <a:gd name="T40" fmla="*/ 140 w 158"/>
                <a:gd name="T41" fmla="*/ 54 h 110"/>
                <a:gd name="T42" fmla="*/ 132 w 158"/>
                <a:gd name="T43" fmla="*/ 58 h 110"/>
                <a:gd name="T44" fmla="*/ 126 w 158"/>
                <a:gd name="T45" fmla="*/ 62 h 110"/>
                <a:gd name="T46" fmla="*/ 120 w 158"/>
                <a:gd name="T47" fmla="*/ 68 h 110"/>
                <a:gd name="T48" fmla="*/ 106 w 158"/>
                <a:gd name="T49" fmla="*/ 84 h 110"/>
                <a:gd name="T50" fmla="*/ 96 w 158"/>
                <a:gd name="T51" fmla="*/ 96 h 110"/>
                <a:gd name="T52" fmla="*/ 78 w 158"/>
                <a:gd name="T53" fmla="*/ 96 h 110"/>
                <a:gd name="T54" fmla="*/ 72 w 158"/>
                <a:gd name="T55" fmla="*/ 96 h 110"/>
                <a:gd name="T56" fmla="*/ 64 w 158"/>
                <a:gd name="T57" fmla="*/ 102 h 110"/>
                <a:gd name="T58" fmla="*/ 62 w 158"/>
                <a:gd name="T59" fmla="*/ 110 h 110"/>
                <a:gd name="T60" fmla="*/ 30 w 158"/>
                <a:gd name="T61" fmla="*/ 108 h 110"/>
                <a:gd name="T62" fmla="*/ 8 w 158"/>
                <a:gd name="T63" fmla="*/ 106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58" h="110">
                  <a:moveTo>
                    <a:pt x="48" y="0"/>
                  </a:moveTo>
                  <a:lnTo>
                    <a:pt x="48" y="0"/>
                  </a:lnTo>
                  <a:lnTo>
                    <a:pt x="48" y="26"/>
                  </a:lnTo>
                  <a:lnTo>
                    <a:pt x="48" y="26"/>
                  </a:lnTo>
                  <a:lnTo>
                    <a:pt x="62" y="28"/>
                  </a:lnTo>
                  <a:lnTo>
                    <a:pt x="62" y="28"/>
                  </a:lnTo>
                  <a:lnTo>
                    <a:pt x="66" y="28"/>
                  </a:lnTo>
                  <a:lnTo>
                    <a:pt x="66" y="28"/>
                  </a:lnTo>
                  <a:lnTo>
                    <a:pt x="68" y="32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54"/>
                  </a:lnTo>
                  <a:lnTo>
                    <a:pt x="64" y="54"/>
                  </a:lnTo>
                  <a:lnTo>
                    <a:pt x="66" y="56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74" y="56"/>
                  </a:lnTo>
                  <a:lnTo>
                    <a:pt x="74" y="56"/>
                  </a:lnTo>
                  <a:lnTo>
                    <a:pt x="92" y="44"/>
                  </a:lnTo>
                  <a:lnTo>
                    <a:pt x="100" y="40"/>
                  </a:lnTo>
                  <a:lnTo>
                    <a:pt x="108" y="38"/>
                  </a:lnTo>
                  <a:lnTo>
                    <a:pt x="108" y="38"/>
                  </a:lnTo>
                  <a:lnTo>
                    <a:pt x="114" y="36"/>
                  </a:lnTo>
                  <a:lnTo>
                    <a:pt x="120" y="36"/>
                  </a:lnTo>
                  <a:lnTo>
                    <a:pt x="120" y="36"/>
                  </a:lnTo>
                  <a:lnTo>
                    <a:pt x="124" y="30"/>
                  </a:lnTo>
                  <a:lnTo>
                    <a:pt x="124" y="30"/>
                  </a:lnTo>
                  <a:lnTo>
                    <a:pt x="130" y="26"/>
                  </a:lnTo>
                  <a:lnTo>
                    <a:pt x="136" y="22"/>
                  </a:lnTo>
                  <a:lnTo>
                    <a:pt x="144" y="20"/>
                  </a:lnTo>
                  <a:lnTo>
                    <a:pt x="152" y="22"/>
                  </a:lnTo>
                  <a:lnTo>
                    <a:pt x="152" y="22"/>
                  </a:lnTo>
                  <a:lnTo>
                    <a:pt x="156" y="24"/>
                  </a:lnTo>
                  <a:lnTo>
                    <a:pt x="158" y="28"/>
                  </a:lnTo>
                  <a:lnTo>
                    <a:pt x="158" y="28"/>
                  </a:lnTo>
                  <a:lnTo>
                    <a:pt x="158" y="32"/>
                  </a:lnTo>
                  <a:lnTo>
                    <a:pt x="156" y="36"/>
                  </a:lnTo>
                  <a:lnTo>
                    <a:pt x="156" y="36"/>
                  </a:lnTo>
                  <a:lnTo>
                    <a:pt x="146" y="48"/>
                  </a:lnTo>
                  <a:lnTo>
                    <a:pt x="140" y="54"/>
                  </a:lnTo>
                  <a:lnTo>
                    <a:pt x="132" y="58"/>
                  </a:lnTo>
                  <a:lnTo>
                    <a:pt x="132" y="58"/>
                  </a:lnTo>
                  <a:lnTo>
                    <a:pt x="126" y="62"/>
                  </a:lnTo>
                  <a:lnTo>
                    <a:pt x="126" y="62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14" y="74"/>
                  </a:lnTo>
                  <a:lnTo>
                    <a:pt x="106" y="84"/>
                  </a:lnTo>
                  <a:lnTo>
                    <a:pt x="100" y="92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78" y="96"/>
                  </a:lnTo>
                  <a:lnTo>
                    <a:pt x="78" y="96"/>
                  </a:lnTo>
                  <a:lnTo>
                    <a:pt x="72" y="96"/>
                  </a:lnTo>
                  <a:lnTo>
                    <a:pt x="68" y="98"/>
                  </a:lnTo>
                  <a:lnTo>
                    <a:pt x="64" y="102"/>
                  </a:lnTo>
                  <a:lnTo>
                    <a:pt x="62" y="110"/>
                  </a:lnTo>
                  <a:lnTo>
                    <a:pt x="62" y="110"/>
                  </a:lnTo>
                  <a:lnTo>
                    <a:pt x="30" y="108"/>
                  </a:lnTo>
                  <a:lnTo>
                    <a:pt x="30" y="108"/>
                  </a:lnTo>
                  <a:lnTo>
                    <a:pt x="16" y="106"/>
                  </a:lnTo>
                  <a:lnTo>
                    <a:pt x="8" y="106"/>
                  </a:lnTo>
                  <a:lnTo>
                    <a:pt x="0" y="102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50" name="Freeform 23"/>
            <p:cNvSpPr>
              <a:spLocks/>
            </p:cNvSpPr>
            <p:nvPr/>
          </p:nvSpPr>
          <p:spPr bwMode="auto">
            <a:xfrm>
              <a:off x="3099853" y="3435835"/>
              <a:ext cx="1492319" cy="2112866"/>
            </a:xfrm>
            <a:custGeom>
              <a:avLst/>
              <a:gdLst>
                <a:gd name="T0" fmla="*/ 366 w 756"/>
                <a:gd name="T1" fmla="*/ 1034 h 1044"/>
                <a:gd name="T2" fmla="*/ 412 w 756"/>
                <a:gd name="T3" fmla="*/ 1044 h 1044"/>
                <a:gd name="T4" fmla="*/ 432 w 756"/>
                <a:gd name="T5" fmla="*/ 1044 h 1044"/>
                <a:gd name="T6" fmla="*/ 448 w 756"/>
                <a:gd name="T7" fmla="*/ 1040 h 1044"/>
                <a:gd name="T8" fmla="*/ 488 w 756"/>
                <a:gd name="T9" fmla="*/ 1020 h 1044"/>
                <a:gd name="T10" fmla="*/ 500 w 756"/>
                <a:gd name="T11" fmla="*/ 1008 h 1044"/>
                <a:gd name="T12" fmla="*/ 502 w 756"/>
                <a:gd name="T13" fmla="*/ 1000 h 1044"/>
                <a:gd name="T14" fmla="*/ 502 w 756"/>
                <a:gd name="T15" fmla="*/ 988 h 1044"/>
                <a:gd name="T16" fmla="*/ 502 w 756"/>
                <a:gd name="T17" fmla="*/ 976 h 1044"/>
                <a:gd name="T18" fmla="*/ 506 w 756"/>
                <a:gd name="T19" fmla="*/ 968 h 1044"/>
                <a:gd name="T20" fmla="*/ 516 w 756"/>
                <a:gd name="T21" fmla="*/ 956 h 1044"/>
                <a:gd name="T22" fmla="*/ 542 w 756"/>
                <a:gd name="T23" fmla="*/ 908 h 1044"/>
                <a:gd name="T24" fmla="*/ 546 w 756"/>
                <a:gd name="T25" fmla="*/ 892 h 1044"/>
                <a:gd name="T26" fmla="*/ 546 w 756"/>
                <a:gd name="T27" fmla="*/ 874 h 1044"/>
                <a:gd name="T28" fmla="*/ 534 w 756"/>
                <a:gd name="T29" fmla="*/ 816 h 1044"/>
                <a:gd name="T30" fmla="*/ 528 w 756"/>
                <a:gd name="T31" fmla="*/ 798 h 1044"/>
                <a:gd name="T32" fmla="*/ 530 w 756"/>
                <a:gd name="T33" fmla="*/ 802 h 1044"/>
                <a:gd name="T34" fmla="*/ 554 w 756"/>
                <a:gd name="T35" fmla="*/ 816 h 1044"/>
                <a:gd name="T36" fmla="*/ 574 w 756"/>
                <a:gd name="T37" fmla="*/ 820 h 1044"/>
                <a:gd name="T38" fmla="*/ 600 w 756"/>
                <a:gd name="T39" fmla="*/ 820 h 1044"/>
                <a:gd name="T40" fmla="*/ 626 w 756"/>
                <a:gd name="T41" fmla="*/ 814 h 1044"/>
                <a:gd name="T42" fmla="*/ 654 w 756"/>
                <a:gd name="T43" fmla="*/ 798 h 1044"/>
                <a:gd name="T44" fmla="*/ 680 w 756"/>
                <a:gd name="T45" fmla="*/ 772 h 1044"/>
                <a:gd name="T46" fmla="*/ 702 w 756"/>
                <a:gd name="T47" fmla="*/ 732 h 1044"/>
                <a:gd name="T48" fmla="*/ 724 w 756"/>
                <a:gd name="T49" fmla="*/ 680 h 1044"/>
                <a:gd name="T50" fmla="*/ 748 w 756"/>
                <a:gd name="T51" fmla="*/ 594 h 1044"/>
                <a:gd name="T52" fmla="*/ 756 w 756"/>
                <a:gd name="T53" fmla="*/ 530 h 1044"/>
                <a:gd name="T54" fmla="*/ 754 w 756"/>
                <a:gd name="T55" fmla="*/ 494 h 1044"/>
                <a:gd name="T56" fmla="*/ 750 w 756"/>
                <a:gd name="T57" fmla="*/ 486 h 1044"/>
                <a:gd name="T58" fmla="*/ 732 w 756"/>
                <a:gd name="T59" fmla="*/ 472 h 1044"/>
                <a:gd name="T60" fmla="*/ 700 w 756"/>
                <a:gd name="T61" fmla="*/ 462 h 1044"/>
                <a:gd name="T62" fmla="*/ 670 w 756"/>
                <a:gd name="T63" fmla="*/ 464 h 1044"/>
                <a:gd name="T64" fmla="*/ 660 w 756"/>
                <a:gd name="T65" fmla="*/ 472 h 1044"/>
                <a:gd name="T66" fmla="*/ 652 w 756"/>
                <a:gd name="T67" fmla="*/ 482 h 1044"/>
                <a:gd name="T68" fmla="*/ 650 w 756"/>
                <a:gd name="T69" fmla="*/ 470 h 1044"/>
                <a:gd name="T70" fmla="*/ 628 w 756"/>
                <a:gd name="T71" fmla="*/ 412 h 1044"/>
                <a:gd name="T72" fmla="*/ 598 w 756"/>
                <a:gd name="T73" fmla="*/ 354 h 1044"/>
                <a:gd name="T74" fmla="*/ 552 w 756"/>
                <a:gd name="T75" fmla="*/ 288 h 1044"/>
                <a:gd name="T76" fmla="*/ 488 w 756"/>
                <a:gd name="T77" fmla="*/ 218 h 1044"/>
                <a:gd name="T78" fmla="*/ 402 w 756"/>
                <a:gd name="T79" fmla="*/ 150 h 1044"/>
                <a:gd name="T80" fmla="*/ 350 w 756"/>
                <a:gd name="T81" fmla="*/ 118 h 1044"/>
                <a:gd name="T82" fmla="*/ 290 w 756"/>
                <a:gd name="T83" fmla="*/ 88 h 1044"/>
                <a:gd name="T84" fmla="*/ 226 w 756"/>
                <a:gd name="T85" fmla="*/ 62 h 1044"/>
                <a:gd name="T86" fmla="*/ 200 w 756"/>
                <a:gd name="T87" fmla="*/ 48 h 1044"/>
                <a:gd name="T88" fmla="*/ 138 w 756"/>
                <a:gd name="T89" fmla="*/ 22 h 1044"/>
                <a:gd name="T90" fmla="*/ 64 w 756"/>
                <a:gd name="T91" fmla="*/ 2 h 1044"/>
                <a:gd name="T92" fmla="*/ 28 w 756"/>
                <a:gd name="T93" fmla="*/ 0 h 1044"/>
                <a:gd name="T94" fmla="*/ 0 w 756"/>
                <a:gd name="T95" fmla="*/ 6 h 10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56" h="1044">
                  <a:moveTo>
                    <a:pt x="366" y="1034"/>
                  </a:moveTo>
                  <a:lnTo>
                    <a:pt x="366" y="1034"/>
                  </a:lnTo>
                  <a:lnTo>
                    <a:pt x="392" y="1040"/>
                  </a:lnTo>
                  <a:lnTo>
                    <a:pt x="412" y="1044"/>
                  </a:lnTo>
                  <a:lnTo>
                    <a:pt x="432" y="1044"/>
                  </a:lnTo>
                  <a:lnTo>
                    <a:pt x="432" y="1044"/>
                  </a:lnTo>
                  <a:lnTo>
                    <a:pt x="440" y="1044"/>
                  </a:lnTo>
                  <a:lnTo>
                    <a:pt x="448" y="1040"/>
                  </a:lnTo>
                  <a:lnTo>
                    <a:pt x="470" y="1030"/>
                  </a:lnTo>
                  <a:lnTo>
                    <a:pt x="488" y="1020"/>
                  </a:lnTo>
                  <a:lnTo>
                    <a:pt x="496" y="1014"/>
                  </a:lnTo>
                  <a:lnTo>
                    <a:pt x="500" y="1008"/>
                  </a:lnTo>
                  <a:lnTo>
                    <a:pt x="500" y="1008"/>
                  </a:lnTo>
                  <a:lnTo>
                    <a:pt x="502" y="1000"/>
                  </a:lnTo>
                  <a:lnTo>
                    <a:pt x="504" y="996"/>
                  </a:lnTo>
                  <a:lnTo>
                    <a:pt x="502" y="988"/>
                  </a:lnTo>
                  <a:lnTo>
                    <a:pt x="502" y="988"/>
                  </a:lnTo>
                  <a:lnTo>
                    <a:pt x="502" y="976"/>
                  </a:lnTo>
                  <a:lnTo>
                    <a:pt x="504" y="972"/>
                  </a:lnTo>
                  <a:lnTo>
                    <a:pt x="506" y="968"/>
                  </a:lnTo>
                  <a:lnTo>
                    <a:pt x="506" y="968"/>
                  </a:lnTo>
                  <a:lnTo>
                    <a:pt x="516" y="956"/>
                  </a:lnTo>
                  <a:lnTo>
                    <a:pt x="528" y="934"/>
                  </a:lnTo>
                  <a:lnTo>
                    <a:pt x="542" y="908"/>
                  </a:lnTo>
                  <a:lnTo>
                    <a:pt x="546" y="898"/>
                  </a:lnTo>
                  <a:lnTo>
                    <a:pt x="546" y="892"/>
                  </a:lnTo>
                  <a:lnTo>
                    <a:pt x="546" y="892"/>
                  </a:lnTo>
                  <a:lnTo>
                    <a:pt x="546" y="874"/>
                  </a:lnTo>
                  <a:lnTo>
                    <a:pt x="540" y="844"/>
                  </a:lnTo>
                  <a:lnTo>
                    <a:pt x="534" y="816"/>
                  </a:lnTo>
                  <a:lnTo>
                    <a:pt x="530" y="804"/>
                  </a:lnTo>
                  <a:lnTo>
                    <a:pt x="528" y="798"/>
                  </a:lnTo>
                  <a:lnTo>
                    <a:pt x="528" y="798"/>
                  </a:lnTo>
                  <a:lnTo>
                    <a:pt x="530" y="802"/>
                  </a:lnTo>
                  <a:lnTo>
                    <a:pt x="536" y="808"/>
                  </a:lnTo>
                  <a:lnTo>
                    <a:pt x="554" y="816"/>
                  </a:lnTo>
                  <a:lnTo>
                    <a:pt x="564" y="818"/>
                  </a:lnTo>
                  <a:lnTo>
                    <a:pt x="574" y="820"/>
                  </a:lnTo>
                  <a:lnTo>
                    <a:pt x="586" y="822"/>
                  </a:lnTo>
                  <a:lnTo>
                    <a:pt x="600" y="820"/>
                  </a:lnTo>
                  <a:lnTo>
                    <a:pt x="612" y="818"/>
                  </a:lnTo>
                  <a:lnTo>
                    <a:pt x="626" y="814"/>
                  </a:lnTo>
                  <a:lnTo>
                    <a:pt x="640" y="806"/>
                  </a:lnTo>
                  <a:lnTo>
                    <a:pt x="654" y="798"/>
                  </a:lnTo>
                  <a:lnTo>
                    <a:pt x="666" y="786"/>
                  </a:lnTo>
                  <a:lnTo>
                    <a:pt x="680" y="772"/>
                  </a:lnTo>
                  <a:lnTo>
                    <a:pt x="690" y="754"/>
                  </a:lnTo>
                  <a:lnTo>
                    <a:pt x="702" y="732"/>
                  </a:lnTo>
                  <a:lnTo>
                    <a:pt x="702" y="732"/>
                  </a:lnTo>
                  <a:lnTo>
                    <a:pt x="724" y="680"/>
                  </a:lnTo>
                  <a:lnTo>
                    <a:pt x="738" y="634"/>
                  </a:lnTo>
                  <a:lnTo>
                    <a:pt x="748" y="594"/>
                  </a:lnTo>
                  <a:lnTo>
                    <a:pt x="754" y="558"/>
                  </a:lnTo>
                  <a:lnTo>
                    <a:pt x="756" y="530"/>
                  </a:lnTo>
                  <a:lnTo>
                    <a:pt x="756" y="508"/>
                  </a:lnTo>
                  <a:lnTo>
                    <a:pt x="754" y="494"/>
                  </a:lnTo>
                  <a:lnTo>
                    <a:pt x="750" y="486"/>
                  </a:lnTo>
                  <a:lnTo>
                    <a:pt x="750" y="486"/>
                  </a:lnTo>
                  <a:lnTo>
                    <a:pt x="744" y="478"/>
                  </a:lnTo>
                  <a:lnTo>
                    <a:pt x="732" y="472"/>
                  </a:lnTo>
                  <a:lnTo>
                    <a:pt x="716" y="466"/>
                  </a:lnTo>
                  <a:lnTo>
                    <a:pt x="700" y="462"/>
                  </a:lnTo>
                  <a:lnTo>
                    <a:pt x="684" y="462"/>
                  </a:lnTo>
                  <a:lnTo>
                    <a:pt x="670" y="464"/>
                  </a:lnTo>
                  <a:lnTo>
                    <a:pt x="664" y="468"/>
                  </a:lnTo>
                  <a:lnTo>
                    <a:pt x="660" y="472"/>
                  </a:lnTo>
                  <a:lnTo>
                    <a:pt x="656" y="476"/>
                  </a:lnTo>
                  <a:lnTo>
                    <a:pt x="652" y="482"/>
                  </a:lnTo>
                  <a:lnTo>
                    <a:pt x="652" y="482"/>
                  </a:lnTo>
                  <a:lnTo>
                    <a:pt x="650" y="470"/>
                  </a:lnTo>
                  <a:lnTo>
                    <a:pt x="638" y="436"/>
                  </a:lnTo>
                  <a:lnTo>
                    <a:pt x="628" y="412"/>
                  </a:lnTo>
                  <a:lnTo>
                    <a:pt x="616" y="384"/>
                  </a:lnTo>
                  <a:lnTo>
                    <a:pt x="598" y="354"/>
                  </a:lnTo>
                  <a:lnTo>
                    <a:pt x="578" y="322"/>
                  </a:lnTo>
                  <a:lnTo>
                    <a:pt x="552" y="288"/>
                  </a:lnTo>
                  <a:lnTo>
                    <a:pt x="522" y="254"/>
                  </a:lnTo>
                  <a:lnTo>
                    <a:pt x="488" y="218"/>
                  </a:lnTo>
                  <a:lnTo>
                    <a:pt x="448" y="184"/>
                  </a:lnTo>
                  <a:lnTo>
                    <a:pt x="402" y="150"/>
                  </a:lnTo>
                  <a:lnTo>
                    <a:pt x="376" y="134"/>
                  </a:lnTo>
                  <a:lnTo>
                    <a:pt x="350" y="118"/>
                  </a:lnTo>
                  <a:lnTo>
                    <a:pt x="322" y="102"/>
                  </a:lnTo>
                  <a:lnTo>
                    <a:pt x="290" y="88"/>
                  </a:lnTo>
                  <a:lnTo>
                    <a:pt x="258" y="74"/>
                  </a:lnTo>
                  <a:lnTo>
                    <a:pt x="226" y="62"/>
                  </a:lnTo>
                  <a:lnTo>
                    <a:pt x="226" y="62"/>
                  </a:lnTo>
                  <a:lnTo>
                    <a:pt x="200" y="48"/>
                  </a:lnTo>
                  <a:lnTo>
                    <a:pt x="172" y="36"/>
                  </a:lnTo>
                  <a:lnTo>
                    <a:pt x="138" y="22"/>
                  </a:lnTo>
                  <a:lnTo>
                    <a:pt x="100" y="10"/>
                  </a:lnTo>
                  <a:lnTo>
                    <a:pt x="64" y="2"/>
                  </a:lnTo>
                  <a:lnTo>
                    <a:pt x="46" y="0"/>
                  </a:lnTo>
                  <a:lnTo>
                    <a:pt x="28" y="0"/>
                  </a:lnTo>
                  <a:lnTo>
                    <a:pt x="14" y="2"/>
                  </a:lnTo>
                  <a:lnTo>
                    <a:pt x="0" y="6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51" name="Freeform 24"/>
            <p:cNvSpPr>
              <a:spLocks/>
            </p:cNvSpPr>
            <p:nvPr/>
          </p:nvSpPr>
          <p:spPr bwMode="auto">
            <a:xfrm>
              <a:off x="3099853" y="2905594"/>
              <a:ext cx="1440996" cy="2193819"/>
            </a:xfrm>
            <a:custGeom>
              <a:avLst/>
              <a:gdLst>
                <a:gd name="T0" fmla="*/ 632 w 730"/>
                <a:gd name="T1" fmla="*/ 680 h 1084"/>
                <a:gd name="T2" fmla="*/ 562 w 730"/>
                <a:gd name="T3" fmla="*/ 506 h 1084"/>
                <a:gd name="T4" fmla="*/ 500 w 730"/>
                <a:gd name="T5" fmla="*/ 392 h 1084"/>
                <a:gd name="T6" fmla="*/ 420 w 730"/>
                <a:gd name="T7" fmla="*/ 298 h 1084"/>
                <a:gd name="T8" fmla="*/ 392 w 730"/>
                <a:gd name="T9" fmla="*/ 276 h 1084"/>
                <a:gd name="T10" fmla="*/ 248 w 730"/>
                <a:gd name="T11" fmla="*/ 176 h 1084"/>
                <a:gd name="T12" fmla="*/ 222 w 730"/>
                <a:gd name="T13" fmla="*/ 142 h 1084"/>
                <a:gd name="T14" fmla="*/ 162 w 730"/>
                <a:gd name="T15" fmla="*/ 96 h 1084"/>
                <a:gd name="T16" fmla="*/ 130 w 730"/>
                <a:gd name="T17" fmla="*/ 60 h 1084"/>
                <a:gd name="T18" fmla="*/ 126 w 730"/>
                <a:gd name="T19" fmla="*/ 42 h 1084"/>
                <a:gd name="T20" fmla="*/ 114 w 730"/>
                <a:gd name="T21" fmla="*/ 18 h 1084"/>
                <a:gd name="T22" fmla="*/ 84 w 730"/>
                <a:gd name="T23" fmla="*/ 0 h 1084"/>
                <a:gd name="T24" fmla="*/ 82 w 730"/>
                <a:gd name="T25" fmla="*/ 2 h 1084"/>
                <a:gd name="T26" fmla="*/ 86 w 730"/>
                <a:gd name="T27" fmla="*/ 30 h 1084"/>
                <a:gd name="T28" fmla="*/ 72 w 730"/>
                <a:gd name="T29" fmla="*/ 104 h 1084"/>
                <a:gd name="T30" fmla="*/ 24 w 730"/>
                <a:gd name="T31" fmla="*/ 220 h 1084"/>
                <a:gd name="T32" fmla="*/ 0 w 730"/>
                <a:gd name="T33" fmla="*/ 266 h 1084"/>
                <a:gd name="T34" fmla="*/ 0 w 730"/>
                <a:gd name="T35" fmla="*/ 268 h 1084"/>
                <a:gd name="T36" fmla="*/ 56 w 730"/>
                <a:gd name="T37" fmla="*/ 276 h 1084"/>
                <a:gd name="T38" fmla="*/ 148 w 730"/>
                <a:gd name="T39" fmla="*/ 322 h 1084"/>
                <a:gd name="T40" fmla="*/ 222 w 730"/>
                <a:gd name="T41" fmla="*/ 384 h 1084"/>
                <a:gd name="T42" fmla="*/ 222 w 730"/>
                <a:gd name="T43" fmla="*/ 390 h 1084"/>
                <a:gd name="T44" fmla="*/ 238 w 730"/>
                <a:gd name="T45" fmla="*/ 410 h 1084"/>
                <a:gd name="T46" fmla="*/ 258 w 730"/>
                <a:gd name="T47" fmla="*/ 412 h 1084"/>
                <a:gd name="T48" fmla="*/ 300 w 730"/>
                <a:gd name="T49" fmla="*/ 408 h 1084"/>
                <a:gd name="T50" fmla="*/ 372 w 730"/>
                <a:gd name="T51" fmla="*/ 438 h 1084"/>
                <a:gd name="T52" fmla="*/ 454 w 730"/>
                <a:gd name="T53" fmla="*/ 492 h 1084"/>
                <a:gd name="T54" fmla="*/ 518 w 730"/>
                <a:gd name="T55" fmla="*/ 550 h 1084"/>
                <a:gd name="T56" fmla="*/ 568 w 730"/>
                <a:gd name="T57" fmla="*/ 612 h 1084"/>
                <a:gd name="T58" fmla="*/ 630 w 730"/>
                <a:gd name="T59" fmla="*/ 718 h 1084"/>
                <a:gd name="T60" fmla="*/ 644 w 730"/>
                <a:gd name="T61" fmla="*/ 750 h 1084"/>
                <a:gd name="T62" fmla="*/ 662 w 730"/>
                <a:gd name="T63" fmla="*/ 754 h 1084"/>
                <a:gd name="T64" fmla="*/ 720 w 730"/>
                <a:gd name="T65" fmla="*/ 756 h 1084"/>
                <a:gd name="T66" fmla="*/ 726 w 730"/>
                <a:gd name="T67" fmla="*/ 760 h 1084"/>
                <a:gd name="T68" fmla="*/ 730 w 730"/>
                <a:gd name="T69" fmla="*/ 796 h 1084"/>
                <a:gd name="T70" fmla="*/ 718 w 730"/>
                <a:gd name="T71" fmla="*/ 902 h 1084"/>
                <a:gd name="T72" fmla="*/ 692 w 730"/>
                <a:gd name="T73" fmla="*/ 976 h 1084"/>
                <a:gd name="T74" fmla="*/ 650 w 730"/>
                <a:gd name="T75" fmla="*/ 1042 h 1084"/>
                <a:gd name="T76" fmla="*/ 620 w 730"/>
                <a:gd name="T77" fmla="*/ 1070 h 1084"/>
                <a:gd name="T78" fmla="*/ 604 w 730"/>
                <a:gd name="T79" fmla="*/ 1074 h 1084"/>
                <a:gd name="T80" fmla="*/ 578 w 730"/>
                <a:gd name="T81" fmla="*/ 1066 h 1084"/>
                <a:gd name="T82" fmla="*/ 570 w 730"/>
                <a:gd name="T83" fmla="*/ 1056 h 1084"/>
                <a:gd name="T84" fmla="*/ 568 w 730"/>
                <a:gd name="T85" fmla="*/ 1066 h 1084"/>
                <a:gd name="T86" fmla="*/ 558 w 730"/>
                <a:gd name="T87" fmla="*/ 1082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730" h="1084">
                  <a:moveTo>
                    <a:pt x="650" y="736"/>
                  </a:moveTo>
                  <a:lnTo>
                    <a:pt x="650" y="736"/>
                  </a:lnTo>
                  <a:lnTo>
                    <a:pt x="632" y="680"/>
                  </a:lnTo>
                  <a:lnTo>
                    <a:pt x="610" y="618"/>
                  </a:lnTo>
                  <a:lnTo>
                    <a:pt x="580" y="546"/>
                  </a:lnTo>
                  <a:lnTo>
                    <a:pt x="562" y="506"/>
                  </a:lnTo>
                  <a:lnTo>
                    <a:pt x="544" y="468"/>
                  </a:lnTo>
                  <a:lnTo>
                    <a:pt x="522" y="430"/>
                  </a:lnTo>
                  <a:lnTo>
                    <a:pt x="500" y="392"/>
                  </a:lnTo>
                  <a:lnTo>
                    <a:pt x="474" y="358"/>
                  </a:lnTo>
                  <a:lnTo>
                    <a:pt x="448" y="326"/>
                  </a:lnTo>
                  <a:lnTo>
                    <a:pt x="420" y="298"/>
                  </a:lnTo>
                  <a:lnTo>
                    <a:pt x="406" y="286"/>
                  </a:lnTo>
                  <a:lnTo>
                    <a:pt x="392" y="276"/>
                  </a:lnTo>
                  <a:lnTo>
                    <a:pt x="392" y="276"/>
                  </a:lnTo>
                  <a:lnTo>
                    <a:pt x="304" y="216"/>
                  </a:lnTo>
                  <a:lnTo>
                    <a:pt x="260" y="186"/>
                  </a:lnTo>
                  <a:lnTo>
                    <a:pt x="248" y="176"/>
                  </a:lnTo>
                  <a:lnTo>
                    <a:pt x="240" y="166"/>
                  </a:lnTo>
                  <a:lnTo>
                    <a:pt x="222" y="142"/>
                  </a:lnTo>
                  <a:lnTo>
                    <a:pt x="222" y="142"/>
                  </a:lnTo>
                  <a:lnTo>
                    <a:pt x="208" y="128"/>
                  </a:lnTo>
                  <a:lnTo>
                    <a:pt x="192" y="116"/>
                  </a:lnTo>
                  <a:lnTo>
                    <a:pt x="162" y="96"/>
                  </a:lnTo>
                  <a:lnTo>
                    <a:pt x="148" y="84"/>
                  </a:lnTo>
                  <a:lnTo>
                    <a:pt x="138" y="74"/>
                  </a:lnTo>
                  <a:lnTo>
                    <a:pt x="130" y="60"/>
                  </a:lnTo>
                  <a:lnTo>
                    <a:pt x="126" y="52"/>
                  </a:lnTo>
                  <a:lnTo>
                    <a:pt x="126" y="42"/>
                  </a:lnTo>
                  <a:lnTo>
                    <a:pt x="126" y="42"/>
                  </a:lnTo>
                  <a:lnTo>
                    <a:pt x="122" y="34"/>
                  </a:lnTo>
                  <a:lnTo>
                    <a:pt x="118" y="26"/>
                  </a:lnTo>
                  <a:lnTo>
                    <a:pt x="114" y="18"/>
                  </a:lnTo>
                  <a:lnTo>
                    <a:pt x="106" y="12"/>
                  </a:lnTo>
                  <a:lnTo>
                    <a:pt x="94" y="4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2" y="0"/>
                  </a:lnTo>
                  <a:lnTo>
                    <a:pt x="82" y="2"/>
                  </a:lnTo>
                  <a:lnTo>
                    <a:pt x="82" y="2"/>
                  </a:lnTo>
                  <a:lnTo>
                    <a:pt x="86" y="14"/>
                  </a:lnTo>
                  <a:lnTo>
                    <a:pt x="86" y="30"/>
                  </a:lnTo>
                  <a:lnTo>
                    <a:pt x="86" y="46"/>
                  </a:lnTo>
                  <a:lnTo>
                    <a:pt x="82" y="64"/>
                  </a:lnTo>
                  <a:lnTo>
                    <a:pt x="72" y="104"/>
                  </a:lnTo>
                  <a:lnTo>
                    <a:pt x="58" y="146"/>
                  </a:lnTo>
                  <a:lnTo>
                    <a:pt x="42" y="186"/>
                  </a:lnTo>
                  <a:lnTo>
                    <a:pt x="24" y="220"/>
                  </a:lnTo>
                  <a:lnTo>
                    <a:pt x="10" y="248"/>
                  </a:lnTo>
                  <a:lnTo>
                    <a:pt x="0" y="266"/>
                  </a:lnTo>
                  <a:lnTo>
                    <a:pt x="0" y="266"/>
                  </a:lnTo>
                  <a:lnTo>
                    <a:pt x="0" y="266"/>
                  </a:lnTo>
                  <a:lnTo>
                    <a:pt x="0" y="268"/>
                  </a:lnTo>
                  <a:lnTo>
                    <a:pt x="0" y="268"/>
                  </a:lnTo>
                  <a:lnTo>
                    <a:pt x="14" y="266"/>
                  </a:lnTo>
                  <a:lnTo>
                    <a:pt x="34" y="270"/>
                  </a:lnTo>
                  <a:lnTo>
                    <a:pt x="56" y="276"/>
                  </a:lnTo>
                  <a:lnTo>
                    <a:pt x="84" y="286"/>
                  </a:lnTo>
                  <a:lnTo>
                    <a:pt x="114" y="302"/>
                  </a:lnTo>
                  <a:lnTo>
                    <a:pt x="148" y="322"/>
                  </a:lnTo>
                  <a:lnTo>
                    <a:pt x="184" y="350"/>
                  </a:lnTo>
                  <a:lnTo>
                    <a:pt x="222" y="384"/>
                  </a:lnTo>
                  <a:lnTo>
                    <a:pt x="222" y="384"/>
                  </a:lnTo>
                  <a:lnTo>
                    <a:pt x="222" y="384"/>
                  </a:lnTo>
                  <a:lnTo>
                    <a:pt x="222" y="384"/>
                  </a:lnTo>
                  <a:lnTo>
                    <a:pt x="222" y="390"/>
                  </a:lnTo>
                  <a:lnTo>
                    <a:pt x="228" y="402"/>
                  </a:lnTo>
                  <a:lnTo>
                    <a:pt x="232" y="406"/>
                  </a:lnTo>
                  <a:lnTo>
                    <a:pt x="238" y="410"/>
                  </a:lnTo>
                  <a:lnTo>
                    <a:pt x="246" y="412"/>
                  </a:lnTo>
                  <a:lnTo>
                    <a:pt x="258" y="412"/>
                  </a:lnTo>
                  <a:lnTo>
                    <a:pt x="258" y="412"/>
                  </a:lnTo>
                  <a:lnTo>
                    <a:pt x="270" y="408"/>
                  </a:lnTo>
                  <a:lnTo>
                    <a:pt x="284" y="408"/>
                  </a:lnTo>
                  <a:lnTo>
                    <a:pt x="300" y="408"/>
                  </a:lnTo>
                  <a:lnTo>
                    <a:pt x="318" y="412"/>
                  </a:lnTo>
                  <a:lnTo>
                    <a:pt x="342" y="422"/>
                  </a:lnTo>
                  <a:lnTo>
                    <a:pt x="372" y="438"/>
                  </a:lnTo>
                  <a:lnTo>
                    <a:pt x="408" y="460"/>
                  </a:lnTo>
                  <a:lnTo>
                    <a:pt x="454" y="492"/>
                  </a:lnTo>
                  <a:lnTo>
                    <a:pt x="454" y="492"/>
                  </a:lnTo>
                  <a:lnTo>
                    <a:pt x="476" y="510"/>
                  </a:lnTo>
                  <a:lnTo>
                    <a:pt x="498" y="530"/>
                  </a:lnTo>
                  <a:lnTo>
                    <a:pt x="518" y="550"/>
                  </a:lnTo>
                  <a:lnTo>
                    <a:pt x="536" y="570"/>
                  </a:lnTo>
                  <a:lnTo>
                    <a:pt x="554" y="592"/>
                  </a:lnTo>
                  <a:lnTo>
                    <a:pt x="568" y="612"/>
                  </a:lnTo>
                  <a:lnTo>
                    <a:pt x="594" y="652"/>
                  </a:lnTo>
                  <a:lnTo>
                    <a:pt x="616" y="688"/>
                  </a:lnTo>
                  <a:lnTo>
                    <a:pt x="630" y="718"/>
                  </a:lnTo>
                  <a:lnTo>
                    <a:pt x="644" y="750"/>
                  </a:lnTo>
                  <a:lnTo>
                    <a:pt x="644" y="750"/>
                  </a:lnTo>
                  <a:lnTo>
                    <a:pt x="644" y="750"/>
                  </a:lnTo>
                  <a:lnTo>
                    <a:pt x="644" y="750"/>
                  </a:lnTo>
                  <a:lnTo>
                    <a:pt x="652" y="752"/>
                  </a:lnTo>
                  <a:lnTo>
                    <a:pt x="662" y="754"/>
                  </a:lnTo>
                  <a:lnTo>
                    <a:pt x="686" y="756"/>
                  </a:lnTo>
                  <a:lnTo>
                    <a:pt x="720" y="756"/>
                  </a:lnTo>
                  <a:lnTo>
                    <a:pt x="720" y="756"/>
                  </a:lnTo>
                  <a:lnTo>
                    <a:pt x="722" y="756"/>
                  </a:lnTo>
                  <a:lnTo>
                    <a:pt x="722" y="756"/>
                  </a:lnTo>
                  <a:lnTo>
                    <a:pt x="726" y="760"/>
                  </a:lnTo>
                  <a:lnTo>
                    <a:pt x="728" y="768"/>
                  </a:lnTo>
                  <a:lnTo>
                    <a:pt x="730" y="780"/>
                  </a:lnTo>
                  <a:lnTo>
                    <a:pt x="730" y="796"/>
                  </a:lnTo>
                  <a:lnTo>
                    <a:pt x="730" y="834"/>
                  </a:lnTo>
                  <a:lnTo>
                    <a:pt x="722" y="878"/>
                  </a:lnTo>
                  <a:lnTo>
                    <a:pt x="718" y="902"/>
                  </a:lnTo>
                  <a:lnTo>
                    <a:pt x="710" y="926"/>
                  </a:lnTo>
                  <a:lnTo>
                    <a:pt x="702" y="952"/>
                  </a:lnTo>
                  <a:lnTo>
                    <a:pt x="692" y="976"/>
                  </a:lnTo>
                  <a:lnTo>
                    <a:pt x="680" y="1000"/>
                  </a:lnTo>
                  <a:lnTo>
                    <a:pt x="666" y="1022"/>
                  </a:lnTo>
                  <a:lnTo>
                    <a:pt x="650" y="1042"/>
                  </a:lnTo>
                  <a:lnTo>
                    <a:pt x="632" y="1060"/>
                  </a:lnTo>
                  <a:lnTo>
                    <a:pt x="632" y="1060"/>
                  </a:lnTo>
                  <a:lnTo>
                    <a:pt x="620" y="1070"/>
                  </a:lnTo>
                  <a:lnTo>
                    <a:pt x="612" y="1072"/>
                  </a:lnTo>
                  <a:lnTo>
                    <a:pt x="604" y="1074"/>
                  </a:lnTo>
                  <a:lnTo>
                    <a:pt x="604" y="1074"/>
                  </a:lnTo>
                  <a:lnTo>
                    <a:pt x="596" y="1074"/>
                  </a:lnTo>
                  <a:lnTo>
                    <a:pt x="586" y="1072"/>
                  </a:lnTo>
                  <a:lnTo>
                    <a:pt x="578" y="1066"/>
                  </a:lnTo>
                  <a:lnTo>
                    <a:pt x="572" y="1056"/>
                  </a:lnTo>
                  <a:lnTo>
                    <a:pt x="572" y="1056"/>
                  </a:lnTo>
                  <a:lnTo>
                    <a:pt x="570" y="1056"/>
                  </a:lnTo>
                  <a:lnTo>
                    <a:pt x="568" y="1058"/>
                  </a:lnTo>
                  <a:lnTo>
                    <a:pt x="568" y="1058"/>
                  </a:lnTo>
                  <a:lnTo>
                    <a:pt x="568" y="1066"/>
                  </a:lnTo>
                  <a:lnTo>
                    <a:pt x="566" y="1074"/>
                  </a:lnTo>
                  <a:lnTo>
                    <a:pt x="560" y="1080"/>
                  </a:lnTo>
                  <a:lnTo>
                    <a:pt x="558" y="1082"/>
                  </a:lnTo>
                  <a:lnTo>
                    <a:pt x="552" y="1084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52" name="Freeform 25"/>
            <p:cNvSpPr>
              <a:spLocks/>
            </p:cNvSpPr>
            <p:nvPr/>
          </p:nvSpPr>
          <p:spPr bwMode="auto">
            <a:xfrm>
              <a:off x="3360416" y="2500831"/>
              <a:ext cx="2487199" cy="566669"/>
            </a:xfrm>
            <a:custGeom>
              <a:avLst/>
              <a:gdLst>
                <a:gd name="T0" fmla="*/ 0 w 1260"/>
                <a:gd name="T1" fmla="*/ 250 h 280"/>
                <a:gd name="T2" fmla="*/ 30 w 1260"/>
                <a:gd name="T3" fmla="*/ 262 h 280"/>
                <a:gd name="T4" fmla="*/ 90 w 1260"/>
                <a:gd name="T5" fmla="*/ 276 h 280"/>
                <a:gd name="T6" fmla="*/ 184 w 1260"/>
                <a:gd name="T7" fmla="*/ 280 h 280"/>
                <a:gd name="T8" fmla="*/ 246 w 1260"/>
                <a:gd name="T9" fmla="*/ 274 h 280"/>
                <a:gd name="T10" fmla="*/ 308 w 1260"/>
                <a:gd name="T11" fmla="*/ 264 h 280"/>
                <a:gd name="T12" fmla="*/ 418 w 1260"/>
                <a:gd name="T13" fmla="*/ 238 h 280"/>
                <a:gd name="T14" fmla="*/ 504 w 1260"/>
                <a:gd name="T15" fmla="*/ 210 h 280"/>
                <a:gd name="T16" fmla="*/ 582 w 1260"/>
                <a:gd name="T17" fmla="*/ 180 h 280"/>
                <a:gd name="T18" fmla="*/ 600 w 1260"/>
                <a:gd name="T19" fmla="*/ 170 h 280"/>
                <a:gd name="T20" fmla="*/ 664 w 1260"/>
                <a:gd name="T21" fmla="*/ 132 h 280"/>
                <a:gd name="T22" fmla="*/ 708 w 1260"/>
                <a:gd name="T23" fmla="*/ 106 h 280"/>
                <a:gd name="T24" fmla="*/ 744 w 1260"/>
                <a:gd name="T25" fmla="*/ 96 h 280"/>
                <a:gd name="T26" fmla="*/ 798 w 1260"/>
                <a:gd name="T27" fmla="*/ 92 h 280"/>
                <a:gd name="T28" fmla="*/ 922 w 1260"/>
                <a:gd name="T29" fmla="*/ 84 h 280"/>
                <a:gd name="T30" fmla="*/ 988 w 1260"/>
                <a:gd name="T31" fmla="*/ 72 h 280"/>
                <a:gd name="T32" fmla="*/ 1004 w 1260"/>
                <a:gd name="T33" fmla="*/ 64 h 280"/>
                <a:gd name="T34" fmla="*/ 1020 w 1260"/>
                <a:gd name="T35" fmla="*/ 42 h 280"/>
                <a:gd name="T36" fmla="*/ 1036 w 1260"/>
                <a:gd name="T37" fmla="*/ 24 h 280"/>
                <a:gd name="T38" fmla="*/ 1058 w 1260"/>
                <a:gd name="T39" fmla="*/ 10 h 280"/>
                <a:gd name="T40" fmla="*/ 1086 w 1260"/>
                <a:gd name="T41" fmla="*/ 8 h 280"/>
                <a:gd name="T42" fmla="*/ 1100 w 1260"/>
                <a:gd name="T43" fmla="*/ 8 h 280"/>
                <a:gd name="T44" fmla="*/ 1118 w 1260"/>
                <a:gd name="T45" fmla="*/ 14 h 280"/>
                <a:gd name="T46" fmla="*/ 1134 w 1260"/>
                <a:gd name="T47" fmla="*/ 26 h 280"/>
                <a:gd name="T48" fmla="*/ 1144 w 1260"/>
                <a:gd name="T49" fmla="*/ 32 h 280"/>
                <a:gd name="T50" fmla="*/ 1154 w 1260"/>
                <a:gd name="T51" fmla="*/ 32 h 280"/>
                <a:gd name="T52" fmla="*/ 1166 w 1260"/>
                <a:gd name="T53" fmla="*/ 28 h 280"/>
                <a:gd name="T54" fmla="*/ 1168 w 1260"/>
                <a:gd name="T55" fmla="*/ 20 h 280"/>
                <a:gd name="T56" fmla="*/ 1176 w 1260"/>
                <a:gd name="T57" fmla="*/ 8 h 280"/>
                <a:gd name="T58" fmla="*/ 1192 w 1260"/>
                <a:gd name="T59" fmla="*/ 2 h 280"/>
                <a:gd name="T60" fmla="*/ 1204 w 1260"/>
                <a:gd name="T61" fmla="*/ 0 h 280"/>
                <a:gd name="T62" fmla="*/ 1212 w 1260"/>
                <a:gd name="T63" fmla="*/ 8 h 280"/>
                <a:gd name="T64" fmla="*/ 1218 w 1260"/>
                <a:gd name="T65" fmla="*/ 14 h 280"/>
                <a:gd name="T66" fmla="*/ 1232 w 1260"/>
                <a:gd name="T67" fmla="*/ 52 h 280"/>
                <a:gd name="T68" fmla="*/ 1236 w 1260"/>
                <a:gd name="T69" fmla="*/ 60 h 280"/>
                <a:gd name="T70" fmla="*/ 1244 w 1260"/>
                <a:gd name="T71" fmla="*/ 68 h 280"/>
                <a:gd name="T72" fmla="*/ 1246 w 1260"/>
                <a:gd name="T73" fmla="*/ 70 h 280"/>
                <a:gd name="T74" fmla="*/ 1256 w 1260"/>
                <a:gd name="T75" fmla="*/ 68 h 280"/>
                <a:gd name="T76" fmla="*/ 1258 w 1260"/>
                <a:gd name="T77" fmla="*/ 70 h 280"/>
                <a:gd name="T78" fmla="*/ 1260 w 1260"/>
                <a:gd name="T79" fmla="*/ 80 h 280"/>
                <a:gd name="T80" fmla="*/ 1260 w 1260"/>
                <a:gd name="T81" fmla="*/ 128 h 280"/>
                <a:gd name="T82" fmla="*/ 1252 w 1260"/>
                <a:gd name="T83" fmla="*/ 130 h 280"/>
                <a:gd name="T84" fmla="*/ 1236 w 1260"/>
                <a:gd name="T85" fmla="*/ 136 h 280"/>
                <a:gd name="T86" fmla="*/ 1230 w 1260"/>
                <a:gd name="T87" fmla="*/ 138 h 280"/>
                <a:gd name="T88" fmla="*/ 1216 w 1260"/>
                <a:gd name="T89" fmla="*/ 138 h 280"/>
                <a:gd name="T90" fmla="*/ 1210 w 1260"/>
                <a:gd name="T91" fmla="*/ 134 h 280"/>
                <a:gd name="T92" fmla="*/ 1192 w 1260"/>
                <a:gd name="T93" fmla="*/ 118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260" h="280">
                  <a:moveTo>
                    <a:pt x="0" y="250"/>
                  </a:moveTo>
                  <a:lnTo>
                    <a:pt x="0" y="250"/>
                  </a:lnTo>
                  <a:lnTo>
                    <a:pt x="12" y="256"/>
                  </a:lnTo>
                  <a:lnTo>
                    <a:pt x="30" y="262"/>
                  </a:lnTo>
                  <a:lnTo>
                    <a:pt x="56" y="270"/>
                  </a:lnTo>
                  <a:lnTo>
                    <a:pt x="90" y="276"/>
                  </a:lnTo>
                  <a:lnTo>
                    <a:pt x="134" y="280"/>
                  </a:lnTo>
                  <a:lnTo>
                    <a:pt x="184" y="280"/>
                  </a:lnTo>
                  <a:lnTo>
                    <a:pt x="214" y="278"/>
                  </a:lnTo>
                  <a:lnTo>
                    <a:pt x="246" y="274"/>
                  </a:lnTo>
                  <a:lnTo>
                    <a:pt x="246" y="274"/>
                  </a:lnTo>
                  <a:lnTo>
                    <a:pt x="308" y="264"/>
                  </a:lnTo>
                  <a:lnTo>
                    <a:pt x="366" y="252"/>
                  </a:lnTo>
                  <a:lnTo>
                    <a:pt x="418" y="238"/>
                  </a:lnTo>
                  <a:lnTo>
                    <a:pt x="464" y="224"/>
                  </a:lnTo>
                  <a:lnTo>
                    <a:pt x="504" y="210"/>
                  </a:lnTo>
                  <a:lnTo>
                    <a:pt x="536" y="198"/>
                  </a:lnTo>
                  <a:lnTo>
                    <a:pt x="582" y="180"/>
                  </a:lnTo>
                  <a:lnTo>
                    <a:pt x="582" y="180"/>
                  </a:lnTo>
                  <a:lnTo>
                    <a:pt x="600" y="170"/>
                  </a:lnTo>
                  <a:lnTo>
                    <a:pt x="620" y="158"/>
                  </a:lnTo>
                  <a:lnTo>
                    <a:pt x="664" y="132"/>
                  </a:lnTo>
                  <a:lnTo>
                    <a:pt x="688" y="118"/>
                  </a:lnTo>
                  <a:lnTo>
                    <a:pt x="708" y="106"/>
                  </a:lnTo>
                  <a:lnTo>
                    <a:pt x="728" y="98"/>
                  </a:lnTo>
                  <a:lnTo>
                    <a:pt x="744" y="96"/>
                  </a:lnTo>
                  <a:lnTo>
                    <a:pt x="744" y="96"/>
                  </a:lnTo>
                  <a:lnTo>
                    <a:pt x="798" y="92"/>
                  </a:lnTo>
                  <a:lnTo>
                    <a:pt x="880" y="88"/>
                  </a:lnTo>
                  <a:lnTo>
                    <a:pt x="922" y="84"/>
                  </a:lnTo>
                  <a:lnTo>
                    <a:pt x="960" y="78"/>
                  </a:lnTo>
                  <a:lnTo>
                    <a:pt x="988" y="72"/>
                  </a:lnTo>
                  <a:lnTo>
                    <a:pt x="998" y="68"/>
                  </a:lnTo>
                  <a:lnTo>
                    <a:pt x="1004" y="64"/>
                  </a:lnTo>
                  <a:lnTo>
                    <a:pt x="1004" y="64"/>
                  </a:lnTo>
                  <a:lnTo>
                    <a:pt x="1020" y="42"/>
                  </a:lnTo>
                  <a:lnTo>
                    <a:pt x="1028" y="34"/>
                  </a:lnTo>
                  <a:lnTo>
                    <a:pt x="1036" y="24"/>
                  </a:lnTo>
                  <a:lnTo>
                    <a:pt x="1046" y="16"/>
                  </a:lnTo>
                  <a:lnTo>
                    <a:pt x="1058" y="10"/>
                  </a:lnTo>
                  <a:lnTo>
                    <a:pt x="1070" y="8"/>
                  </a:lnTo>
                  <a:lnTo>
                    <a:pt x="1086" y="8"/>
                  </a:lnTo>
                  <a:lnTo>
                    <a:pt x="1086" y="8"/>
                  </a:lnTo>
                  <a:lnTo>
                    <a:pt x="1100" y="8"/>
                  </a:lnTo>
                  <a:lnTo>
                    <a:pt x="1110" y="12"/>
                  </a:lnTo>
                  <a:lnTo>
                    <a:pt x="1118" y="14"/>
                  </a:lnTo>
                  <a:lnTo>
                    <a:pt x="1126" y="18"/>
                  </a:lnTo>
                  <a:lnTo>
                    <a:pt x="1134" y="26"/>
                  </a:lnTo>
                  <a:lnTo>
                    <a:pt x="1140" y="28"/>
                  </a:lnTo>
                  <a:lnTo>
                    <a:pt x="1144" y="32"/>
                  </a:lnTo>
                  <a:lnTo>
                    <a:pt x="1144" y="32"/>
                  </a:lnTo>
                  <a:lnTo>
                    <a:pt x="1154" y="32"/>
                  </a:lnTo>
                  <a:lnTo>
                    <a:pt x="1160" y="32"/>
                  </a:lnTo>
                  <a:lnTo>
                    <a:pt x="1166" y="28"/>
                  </a:lnTo>
                  <a:lnTo>
                    <a:pt x="1166" y="28"/>
                  </a:lnTo>
                  <a:lnTo>
                    <a:pt x="1168" y="20"/>
                  </a:lnTo>
                  <a:lnTo>
                    <a:pt x="1170" y="12"/>
                  </a:lnTo>
                  <a:lnTo>
                    <a:pt x="1176" y="8"/>
                  </a:lnTo>
                  <a:lnTo>
                    <a:pt x="1176" y="8"/>
                  </a:lnTo>
                  <a:lnTo>
                    <a:pt x="1192" y="2"/>
                  </a:lnTo>
                  <a:lnTo>
                    <a:pt x="1200" y="0"/>
                  </a:lnTo>
                  <a:lnTo>
                    <a:pt x="1204" y="0"/>
                  </a:lnTo>
                  <a:lnTo>
                    <a:pt x="1204" y="0"/>
                  </a:lnTo>
                  <a:lnTo>
                    <a:pt x="1212" y="8"/>
                  </a:lnTo>
                  <a:lnTo>
                    <a:pt x="1218" y="14"/>
                  </a:lnTo>
                  <a:lnTo>
                    <a:pt x="1218" y="14"/>
                  </a:lnTo>
                  <a:lnTo>
                    <a:pt x="1226" y="36"/>
                  </a:lnTo>
                  <a:lnTo>
                    <a:pt x="1232" y="52"/>
                  </a:lnTo>
                  <a:lnTo>
                    <a:pt x="1236" y="60"/>
                  </a:lnTo>
                  <a:lnTo>
                    <a:pt x="1236" y="60"/>
                  </a:lnTo>
                  <a:lnTo>
                    <a:pt x="1240" y="66"/>
                  </a:lnTo>
                  <a:lnTo>
                    <a:pt x="1244" y="68"/>
                  </a:lnTo>
                  <a:lnTo>
                    <a:pt x="1246" y="70"/>
                  </a:lnTo>
                  <a:lnTo>
                    <a:pt x="1246" y="70"/>
                  </a:lnTo>
                  <a:lnTo>
                    <a:pt x="1254" y="70"/>
                  </a:lnTo>
                  <a:lnTo>
                    <a:pt x="1256" y="68"/>
                  </a:lnTo>
                  <a:lnTo>
                    <a:pt x="1258" y="70"/>
                  </a:lnTo>
                  <a:lnTo>
                    <a:pt x="1258" y="70"/>
                  </a:lnTo>
                  <a:lnTo>
                    <a:pt x="1260" y="72"/>
                  </a:lnTo>
                  <a:lnTo>
                    <a:pt x="1260" y="80"/>
                  </a:lnTo>
                  <a:lnTo>
                    <a:pt x="1260" y="100"/>
                  </a:lnTo>
                  <a:lnTo>
                    <a:pt x="1260" y="128"/>
                  </a:lnTo>
                  <a:lnTo>
                    <a:pt x="1260" y="128"/>
                  </a:lnTo>
                  <a:lnTo>
                    <a:pt x="1252" y="130"/>
                  </a:lnTo>
                  <a:lnTo>
                    <a:pt x="1244" y="132"/>
                  </a:lnTo>
                  <a:lnTo>
                    <a:pt x="1236" y="136"/>
                  </a:lnTo>
                  <a:lnTo>
                    <a:pt x="1236" y="136"/>
                  </a:lnTo>
                  <a:lnTo>
                    <a:pt x="1230" y="138"/>
                  </a:lnTo>
                  <a:lnTo>
                    <a:pt x="1222" y="140"/>
                  </a:lnTo>
                  <a:lnTo>
                    <a:pt x="1216" y="138"/>
                  </a:lnTo>
                  <a:lnTo>
                    <a:pt x="1210" y="134"/>
                  </a:lnTo>
                  <a:lnTo>
                    <a:pt x="1210" y="134"/>
                  </a:lnTo>
                  <a:lnTo>
                    <a:pt x="1202" y="128"/>
                  </a:lnTo>
                  <a:lnTo>
                    <a:pt x="1192" y="118"/>
                  </a:lnTo>
                  <a:lnTo>
                    <a:pt x="1178" y="104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53" name="Freeform 26"/>
            <p:cNvSpPr>
              <a:spLocks/>
            </p:cNvSpPr>
            <p:nvPr/>
          </p:nvSpPr>
          <p:spPr bwMode="auto">
            <a:xfrm>
              <a:off x="3589396" y="2185115"/>
              <a:ext cx="2045030" cy="655717"/>
            </a:xfrm>
            <a:custGeom>
              <a:avLst/>
              <a:gdLst>
                <a:gd name="T0" fmla="*/ 10 w 1036"/>
                <a:gd name="T1" fmla="*/ 258 h 324"/>
                <a:gd name="T2" fmla="*/ 0 w 1036"/>
                <a:gd name="T3" fmla="*/ 286 h 324"/>
                <a:gd name="T4" fmla="*/ 0 w 1036"/>
                <a:gd name="T5" fmla="*/ 296 h 324"/>
                <a:gd name="T6" fmla="*/ 2 w 1036"/>
                <a:gd name="T7" fmla="*/ 304 h 324"/>
                <a:gd name="T8" fmla="*/ 10 w 1036"/>
                <a:gd name="T9" fmla="*/ 316 h 324"/>
                <a:gd name="T10" fmla="*/ 24 w 1036"/>
                <a:gd name="T11" fmla="*/ 324 h 324"/>
                <a:gd name="T12" fmla="*/ 52 w 1036"/>
                <a:gd name="T13" fmla="*/ 322 h 324"/>
                <a:gd name="T14" fmla="*/ 70 w 1036"/>
                <a:gd name="T15" fmla="*/ 320 h 324"/>
                <a:gd name="T16" fmla="*/ 136 w 1036"/>
                <a:gd name="T17" fmla="*/ 320 h 324"/>
                <a:gd name="T18" fmla="*/ 186 w 1036"/>
                <a:gd name="T19" fmla="*/ 320 h 324"/>
                <a:gd name="T20" fmla="*/ 234 w 1036"/>
                <a:gd name="T21" fmla="*/ 314 h 324"/>
                <a:gd name="T22" fmla="*/ 246 w 1036"/>
                <a:gd name="T23" fmla="*/ 308 h 324"/>
                <a:gd name="T24" fmla="*/ 270 w 1036"/>
                <a:gd name="T25" fmla="*/ 292 h 324"/>
                <a:gd name="T26" fmla="*/ 312 w 1036"/>
                <a:gd name="T27" fmla="*/ 256 h 324"/>
                <a:gd name="T28" fmla="*/ 376 w 1036"/>
                <a:gd name="T29" fmla="*/ 194 h 324"/>
                <a:gd name="T30" fmla="*/ 416 w 1036"/>
                <a:gd name="T31" fmla="*/ 164 h 324"/>
                <a:gd name="T32" fmla="*/ 462 w 1036"/>
                <a:gd name="T33" fmla="*/ 136 h 324"/>
                <a:gd name="T34" fmla="*/ 514 w 1036"/>
                <a:gd name="T35" fmla="*/ 114 h 324"/>
                <a:gd name="T36" fmla="*/ 570 w 1036"/>
                <a:gd name="T37" fmla="*/ 94 h 324"/>
                <a:gd name="T38" fmla="*/ 754 w 1036"/>
                <a:gd name="T39" fmla="*/ 44 h 324"/>
                <a:gd name="T40" fmla="*/ 880 w 1036"/>
                <a:gd name="T41" fmla="*/ 16 h 324"/>
                <a:gd name="T42" fmla="*/ 896 w 1036"/>
                <a:gd name="T43" fmla="*/ 16 h 324"/>
                <a:gd name="T44" fmla="*/ 914 w 1036"/>
                <a:gd name="T45" fmla="*/ 20 h 324"/>
                <a:gd name="T46" fmla="*/ 924 w 1036"/>
                <a:gd name="T47" fmla="*/ 34 h 324"/>
                <a:gd name="T48" fmla="*/ 926 w 1036"/>
                <a:gd name="T49" fmla="*/ 42 h 324"/>
                <a:gd name="T50" fmla="*/ 928 w 1036"/>
                <a:gd name="T51" fmla="*/ 60 h 324"/>
                <a:gd name="T52" fmla="*/ 934 w 1036"/>
                <a:gd name="T53" fmla="*/ 64 h 324"/>
                <a:gd name="T54" fmla="*/ 942 w 1036"/>
                <a:gd name="T55" fmla="*/ 62 h 324"/>
                <a:gd name="T56" fmla="*/ 966 w 1036"/>
                <a:gd name="T57" fmla="*/ 56 h 324"/>
                <a:gd name="T58" fmla="*/ 956 w 1036"/>
                <a:gd name="T59" fmla="*/ 66 h 324"/>
                <a:gd name="T60" fmla="*/ 940 w 1036"/>
                <a:gd name="T61" fmla="*/ 78 h 324"/>
                <a:gd name="T62" fmla="*/ 938 w 1036"/>
                <a:gd name="T63" fmla="*/ 78 h 324"/>
                <a:gd name="T64" fmla="*/ 934 w 1036"/>
                <a:gd name="T65" fmla="*/ 90 h 324"/>
                <a:gd name="T66" fmla="*/ 936 w 1036"/>
                <a:gd name="T67" fmla="*/ 98 h 324"/>
                <a:gd name="T68" fmla="*/ 946 w 1036"/>
                <a:gd name="T69" fmla="*/ 104 h 324"/>
                <a:gd name="T70" fmla="*/ 958 w 1036"/>
                <a:gd name="T71" fmla="*/ 104 h 324"/>
                <a:gd name="T72" fmla="*/ 972 w 1036"/>
                <a:gd name="T73" fmla="*/ 104 h 324"/>
                <a:gd name="T74" fmla="*/ 974 w 1036"/>
                <a:gd name="T75" fmla="*/ 98 h 324"/>
                <a:gd name="T76" fmla="*/ 980 w 1036"/>
                <a:gd name="T77" fmla="*/ 72 h 324"/>
                <a:gd name="T78" fmla="*/ 976 w 1036"/>
                <a:gd name="T79" fmla="*/ 62 h 324"/>
                <a:gd name="T80" fmla="*/ 968 w 1036"/>
                <a:gd name="T81" fmla="*/ 54 h 324"/>
                <a:gd name="T82" fmla="*/ 966 w 1036"/>
                <a:gd name="T83" fmla="*/ 36 h 324"/>
                <a:gd name="T84" fmla="*/ 968 w 1036"/>
                <a:gd name="T85" fmla="*/ 32 h 324"/>
                <a:gd name="T86" fmla="*/ 974 w 1036"/>
                <a:gd name="T87" fmla="*/ 24 h 324"/>
                <a:gd name="T88" fmla="*/ 974 w 1036"/>
                <a:gd name="T89" fmla="*/ 18 h 324"/>
                <a:gd name="T90" fmla="*/ 972 w 1036"/>
                <a:gd name="T91" fmla="*/ 16 h 324"/>
                <a:gd name="T92" fmla="*/ 964 w 1036"/>
                <a:gd name="T93" fmla="*/ 8 h 324"/>
                <a:gd name="T94" fmla="*/ 964 w 1036"/>
                <a:gd name="T95" fmla="*/ 6 h 324"/>
                <a:gd name="T96" fmla="*/ 972 w 1036"/>
                <a:gd name="T97" fmla="*/ 0 h 324"/>
                <a:gd name="T98" fmla="*/ 974 w 1036"/>
                <a:gd name="T99" fmla="*/ 2 h 324"/>
                <a:gd name="T100" fmla="*/ 988 w 1036"/>
                <a:gd name="T101" fmla="*/ 14 h 324"/>
                <a:gd name="T102" fmla="*/ 990 w 1036"/>
                <a:gd name="T103" fmla="*/ 20 h 324"/>
                <a:gd name="T104" fmla="*/ 992 w 1036"/>
                <a:gd name="T105" fmla="*/ 40 h 324"/>
                <a:gd name="T106" fmla="*/ 988 w 1036"/>
                <a:gd name="T107" fmla="*/ 44 h 324"/>
                <a:gd name="T108" fmla="*/ 978 w 1036"/>
                <a:gd name="T109" fmla="*/ 54 h 324"/>
                <a:gd name="T110" fmla="*/ 1026 w 1036"/>
                <a:gd name="T111" fmla="*/ 52 h 324"/>
                <a:gd name="T112" fmla="*/ 1036 w 1036"/>
                <a:gd name="T113" fmla="*/ 74 h 324"/>
                <a:gd name="T114" fmla="*/ 1032 w 1036"/>
                <a:gd name="T115" fmla="*/ 104 h 324"/>
                <a:gd name="T116" fmla="*/ 1030 w 1036"/>
                <a:gd name="T117" fmla="*/ 108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36" h="324">
                  <a:moveTo>
                    <a:pt x="10" y="258"/>
                  </a:moveTo>
                  <a:lnTo>
                    <a:pt x="10" y="258"/>
                  </a:lnTo>
                  <a:lnTo>
                    <a:pt x="4" y="272"/>
                  </a:lnTo>
                  <a:lnTo>
                    <a:pt x="0" y="286"/>
                  </a:lnTo>
                  <a:lnTo>
                    <a:pt x="0" y="290"/>
                  </a:lnTo>
                  <a:lnTo>
                    <a:pt x="0" y="296"/>
                  </a:lnTo>
                  <a:lnTo>
                    <a:pt x="0" y="296"/>
                  </a:lnTo>
                  <a:lnTo>
                    <a:pt x="2" y="304"/>
                  </a:lnTo>
                  <a:lnTo>
                    <a:pt x="6" y="310"/>
                  </a:lnTo>
                  <a:lnTo>
                    <a:pt x="10" y="316"/>
                  </a:lnTo>
                  <a:lnTo>
                    <a:pt x="16" y="320"/>
                  </a:lnTo>
                  <a:lnTo>
                    <a:pt x="24" y="324"/>
                  </a:lnTo>
                  <a:lnTo>
                    <a:pt x="36" y="324"/>
                  </a:lnTo>
                  <a:lnTo>
                    <a:pt x="52" y="322"/>
                  </a:lnTo>
                  <a:lnTo>
                    <a:pt x="52" y="322"/>
                  </a:lnTo>
                  <a:lnTo>
                    <a:pt x="70" y="320"/>
                  </a:lnTo>
                  <a:lnTo>
                    <a:pt x="90" y="318"/>
                  </a:lnTo>
                  <a:lnTo>
                    <a:pt x="136" y="320"/>
                  </a:lnTo>
                  <a:lnTo>
                    <a:pt x="160" y="320"/>
                  </a:lnTo>
                  <a:lnTo>
                    <a:pt x="186" y="320"/>
                  </a:lnTo>
                  <a:lnTo>
                    <a:pt x="210" y="318"/>
                  </a:lnTo>
                  <a:lnTo>
                    <a:pt x="234" y="314"/>
                  </a:lnTo>
                  <a:lnTo>
                    <a:pt x="234" y="314"/>
                  </a:lnTo>
                  <a:lnTo>
                    <a:pt x="246" y="308"/>
                  </a:lnTo>
                  <a:lnTo>
                    <a:pt x="258" y="302"/>
                  </a:lnTo>
                  <a:lnTo>
                    <a:pt x="270" y="292"/>
                  </a:lnTo>
                  <a:lnTo>
                    <a:pt x="284" y="282"/>
                  </a:lnTo>
                  <a:lnTo>
                    <a:pt x="312" y="256"/>
                  </a:lnTo>
                  <a:lnTo>
                    <a:pt x="342" y="226"/>
                  </a:lnTo>
                  <a:lnTo>
                    <a:pt x="376" y="194"/>
                  </a:lnTo>
                  <a:lnTo>
                    <a:pt x="396" y="178"/>
                  </a:lnTo>
                  <a:lnTo>
                    <a:pt x="416" y="164"/>
                  </a:lnTo>
                  <a:lnTo>
                    <a:pt x="438" y="148"/>
                  </a:lnTo>
                  <a:lnTo>
                    <a:pt x="462" y="136"/>
                  </a:lnTo>
                  <a:lnTo>
                    <a:pt x="486" y="124"/>
                  </a:lnTo>
                  <a:lnTo>
                    <a:pt x="514" y="114"/>
                  </a:lnTo>
                  <a:lnTo>
                    <a:pt x="514" y="114"/>
                  </a:lnTo>
                  <a:lnTo>
                    <a:pt x="570" y="94"/>
                  </a:lnTo>
                  <a:lnTo>
                    <a:pt x="632" y="76"/>
                  </a:lnTo>
                  <a:lnTo>
                    <a:pt x="754" y="44"/>
                  </a:lnTo>
                  <a:lnTo>
                    <a:pt x="850" y="22"/>
                  </a:lnTo>
                  <a:lnTo>
                    <a:pt x="880" y="16"/>
                  </a:lnTo>
                  <a:lnTo>
                    <a:pt x="896" y="16"/>
                  </a:lnTo>
                  <a:lnTo>
                    <a:pt x="896" y="16"/>
                  </a:lnTo>
                  <a:lnTo>
                    <a:pt x="906" y="16"/>
                  </a:lnTo>
                  <a:lnTo>
                    <a:pt x="914" y="20"/>
                  </a:lnTo>
                  <a:lnTo>
                    <a:pt x="920" y="26"/>
                  </a:lnTo>
                  <a:lnTo>
                    <a:pt x="924" y="34"/>
                  </a:lnTo>
                  <a:lnTo>
                    <a:pt x="924" y="34"/>
                  </a:lnTo>
                  <a:lnTo>
                    <a:pt x="926" y="42"/>
                  </a:lnTo>
                  <a:lnTo>
                    <a:pt x="926" y="52"/>
                  </a:lnTo>
                  <a:lnTo>
                    <a:pt x="928" y="60"/>
                  </a:lnTo>
                  <a:lnTo>
                    <a:pt x="930" y="62"/>
                  </a:lnTo>
                  <a:lnTo>
                    <a:pt x="934" y="64"/>
                  </a:lnTo>
                  <a:lnTo>
                    <a:pt x="934" y="64"/>
                  </a:lnTo>
                  <a:lnTo>
                    <a:pt x="942" y="62"/>
                  </a:lnTo>
                  <a:lnTo>
                    <a:pt x="952" y="60"/>
                  </a:lnTo>
                  <a:lnTo>
                    <a:pt x="966" y="56"/>
                  </a:lnTo>
                  <a:lnTo>
                    <a:pt x="966" y="56"/>
                  </a:lnTo>
                  <a:lnTo>
                    <a:pt x="956" y="66"/>
                  </a:lnTo>
                  <a:lnTo>
                    <a:pt x="948" y="74"/>
                  </a:lnTo>
                  <a:lnTo>
                    <a:pt x="940" y="78"/>
                  </a:lnTo>
                  <a:lnTo>
                    <a:pt x="940" y="78"/>
                  </a:lnTo>
                  <a:lnTo>
                    <a:pt x="938" y="78"/>
                  </a:lnTo>
                  <a:lnTo>
                    <a:pt x="936" y="82"/>
                  </a:lnTo>
                  <a:lnTo>
                    <a:pt x="934" y="90"/>
                  </a:lnTo>
                  <a:lnTo>
                    <a:pt x="934" y="94"/>
                  </a:lnTo>
                  <a:lnTo>
                    <a:pt x="936" y="98"/>
                  </a:lnTo>
                  <a:lnTo>
                    <a:pt x="940" y="102"/>
                  </a:lnTo>
                  <a:lnTo>
                    <a:pt x="946" y="104"/>
                  </a:lnTo>
                  <a:lnTo>
                    <a:pt x="946" y="104"/>
                  </a:lnTo>
                  <a:lnTo>
                    <a:pt x="958" y="104"/>
                  </a:lnTo>
                  <a:lnTo>
                    <a:pt x="966" y="104"/>
                  </a:lnTo>
                  <a:lnTo>
                    <a:pt x="972" y="104"/>
                  </a:lnTo>
                  <a:lnTo>
                    <a:pt x="972" y="104"/>
                  </a:lnTo>
                  <a:lnTo>
                    <a:pt x="974" y="98"/>
                  </a:lnTo>
                  <a:lnTo>
                    <a:pt x="978" y="86"/>
                  </a:lnTo>
                  <a:lnTo>
                    <a:pt x="980" y="72"/>
                  </a:lnTo>
                  <a:lnTo>
                    <a:pt x="978" y="66"/>
                  </a:lnTo>
                  <a:lnTo>
                    <a:pt x="976" y="62"/>
                  </a:lnTo>
                  <a:lnTo>
                    <a:pt x="976" y="62"/>
                  </a:lnTo>
                  <a:lnTo>
                    <a:pt x="968" y="54"/>
                  </a:lnTo>
                  <a:lnTo>
                    <a:pt x="966" y="44"/>
                  </a:lnTo>
                  <a:lnTo>
                    <a:pt x="966" y="36"/>
                  </a:lnTo>
                  <a:lnTo>
                    <a:pt x="968" y="32"/>
                  </a:lnTo>
                  <a:lnTo>
                    <a:pt x="968" y="32"/>
                  </a:lnTo>
                  <a:lnTo>
                    <a:pt x="972" y="30"/>
                  </a:lnTo>
                  <a:lnTo>
                    <a:pt x="974" y="24"/>
                  </a:lnTo>
                  <a:lnTo>
                    <a:pt x="974" y="24"/>
                  </a:lnTo>
                  <a:lnTo>
                    <a:pt x="974" y="18"/>
                  </a:lnTo>
                  <a:lnTo>
                    <a:pt x="972" y="16"/>
                  </a:lnTo>
                  <a:lnTo>
                    <a:pt x="972" y="16"/>
                  </a:lnTo>
                  <a:lnTo>
                    <a:pt x="966" y="12"/>
                  </a:lnTo>
                  <a:lnTo>
                    <a:pt x="964" y="8"/>
                  </a:lnTo>
                  <a:lnTo>
                    <a:pt x="964" y="6"/>
                  </a:lnTo>
                  <a:lnTo>
                    <a:pt x="964" y="6"/>
                  </a:lnTo>
                  <a:lnTo>
                    <a:pt x="968" y="2"/>
                  </a:lnTo>
                  <a:lnTo>
                    <a:pt x="972" y="0"/>
                  </a:lnTo>
                  <a:lnTo>
                    <a:pt x="974" y="2"/>
                  </a:lnTo>
                  <a:lnTo>
                    <a:pt x="974" y="2"/>
                  </a:lnTo>
                  <a:lnTo>
                    <a:pt x="982" y="6"/>
                  </a:lnTo>
                  <a:lnTo>
                    <a:pt x="988" y="14"/>
                  </a:lnTo>
                  <a:lnTo>
                    <a:pt x="988" y="14"/>
                  </a:lnTo>
                  <a:lnTo>
                    <a:pt x="990" y="20"/>
                  </a:lnTo>
                  <a:lnTo>
                    <a:pt x="992" y="26"/>
                  </a:lnTo>
                  <a:lnTo>
                    <a:pt x="992" y="40"/>
                  </a:lnTo>
                  <a:lnTo>
                    <a:pt x="992" y="40"/>
                  </a:lnTo>
                  <a:lnTo>
                    <a:pt x="988" y="44"/>
                  </a:lnTo>
                  <a:lnTo>
                    <a:pt x="984" y="48"/>
                  </a:lnTo>
                  <a:lnTo>
                    <a:pt x="978" y="54"/>
                  </a:lnTo>
                  <a:lnTo>
                    <a:pt x="1026" y="52"/>
                  </a:lnTo>
                  <a:lnTo>
                    <a:pt x="1026" y="52"/>
                  </a:lnTo>
                  <a:lnTo>
                    <a:pt x="1036" y="74"/>
                  </a:lnTo>
                  <a:lnTo>
                    <a:pt x="1036" y="74"/>
                  </a:lnTo>
                  <a:lnTo>
                    <a:pt x="1034" y="94"/>
                  </a:lnTo>
                  <a:lnTo>
                    <a:pt x="1032" y="104"/>
                  </a:lnTo>
                  <a:lnTo>
                    <a:pt x="1032" y="108"/>
                  </a:lnTo>
                  <a:lnTo>
                    <a:pt x="1030" y="108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54" name="Freeform 27"/>
            <p:cNvSpPr>
              <a:spLocks/>
            </p:cNvSpPr>
            <p:nvPr/>
          </p:nvSpPr>
          <p:spPr bwMode="auto">
            <a:xfrm>
              <a:off x="5413342" y="2253925"/>
              <a:ext cx="82907" cy="44524"/>
            </a:xfrm>
            <a:custGeom>
              <a:avLst/>
              <a:gdLst>
                <a:gd name="T0" fmla="*/ 42 w 42"/>
                <a:gd name="T1" fmla="*/ 22 h 22"/>
                <a:gd name="T2" fmla="*/ 42 w 42"/>
                <a:gd name="T3" fmla="*/ 22 h 22"/>
                <a:gd name="T4" fmla="*/ 26 w 42"/>
                <a:gd name="T5" fmla="*/ 10 h 22"/>
                <a:gd name="T6" fmla="*/ 14 w 42"/>
                <a:gd name="T7" fmla="*/ 4 h 22"/>
                <a:gd name="T8" fmla="*/ 6 w 42"/>
                <a:gd name="T9" fmla="*/ 0 h 22"/>
                <a:gd name="T10" fmla="*/ 6 w 42"/>
                <a:gd name="T11" fmla="*/ 0 h 22"/>
                <a:gd name="T12" fmla="*/ 2 w 42"/>
                <a:gd name="T13" fmla="*/ 2 h 22"/>
                <a:gd name="T14" fmla="*/ 0 w 42"/>
                <a:gd name="T15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22">
                  <a:moveTo>
                    <a:pt x="42" y="22"/>
                  </a:moveTo>
                  <a:lnTo>
                    <a:pt x="42" y="22"/>
                  </a:lnTo>
                  <a:lnTo>
                    <a:pt x="26" y="10"/>
                  </a:lnTo>
                  <a:lnTo>
                    <a:pt x="14" y="4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55" name="Freeform 28"/>
            <p:cNvSpPr>
              <a:spLocks/>
            </p:cNvSpPr>
            <p:nvPr/>
          </p:nvSpPr>
          <p:spPr bwMode="auto">
            <a:xfrm>
              <a:off x="3305145" y="2377131"/>
              <a:ext cx="2392448" cy="1339768"/>
            </a:xfrm>
            <a:custGeom>
              <a:avLst/>
              <a:gdLst>
                <a:gd name="T0" fmla="*/ 150 w 1212"/>
                <a:gd name="T1" fmla="*/ 170 h 662"/>
                <a:gd name="T2" fmla="*/ 258 w 1212"/>
                <a:gd name="T3" fmla="*/ 124 h 662"/>
                <a:gd name="T4" fmla="*/ 416 w 1212"/>
                <a:gd name="T5" fmla="*/ 70 h 662"/>
                <a:gd name="T6" fmla="*/ 512 w 1212"/>
                <a:gd name="T7" fmla="*/ 44 h 662"/>
                <a:gd name="T8" fmla="*/ 612 w 1212"/>
                <a:gd name="T9" fmla="*/ 22 h 662"/>
                <a:gd name="T10" fmla="*/ 712 w 1212"/>
                <a:gd name="T11" fmla="*/ 10 h 662"/>
                <a:gd name="T12" fmla="*/ 810 w 1212"/>
                <a:gd name="T13" fmla="*/ 4 h 662"/>
                <a:gd name="T14" fmla="*/ 986 w 1212"/>
                <a:gd name="T15" fmla="*/ 0 h 662"/>
                <a:gd name="T16" fmla="*/ 1170 w 1212"/>
                <a:gd name="T17" fmla="*/ 8 h 662"/>
                <a:gd name="T18" fmla="*/ 1212 w 1212"/>
                <a:gd name="T19" fmla="*/ 10 h 662"/>
                <a:gd name="T20" fmla="*/ 1174 w 1212"/>
                <a:gd name="T21" fmla="*/ 12 h 662"/>
                <a:gd name="T22" fmla="*/ 1070 w 1212"/>
                <a:gd name="T23" fmla="*/ 12 h 662"/>
                <a:gd name="T24" fmla="*/ 1060 w 1212"/>
                <a:gd name="T25" fmla="*/ 10 h 662"/>
                <a:gd name="T26" fmla="*/ 1042 w 1212"/>
                <a:gd name="T27" fmla="*/ 14 h 662"/>
                <a:gd name="T28" fmla="*/ 1006 w 1212"/>
                <a:gd name="T29" fmla="*/ 34 h 662"/>
                <a:gd name="T30" fmla="*/ 968 w 1212"/>
                <a:gd name="T31" fmla="*/ 62 h 662"/>
                <a:gd name="T32" fmla="*/ 940 w 1212"/>
                <a:gd name="T33" fmla="*/ 76 h 662"/>
                <a:gd name="T34" fmla="*/ 904 w 1212"/>
                <a:gd name="T35" fmla="*/ 86 h 662"/>
                <a:gd name="T36" fmla="*/ 818 w 1212"/>
                <a:gd name="T37" fmla="*/ 98 h 662"/>
                <a:gd name="T38" fmla="*/ 722 w 1212"/>
                <a:gd name="T39" fmla="*/ 106 h 662"/>
                <a:gd name="T40" fmla="*/ 654 w 1212"/>
                <a:gd name="T41" fmla="*/ 118 h 662"/>
                <a:gd name="T42" fmla="*/ 634 w 1212"/>
                <a:gd name="T43" fmla="*/ 126 h 662"/>
                <a:gd name="T44" fmla="*/ 570 w 1212"/>
                <a:gd name="T45" fmla="*/ 152 h 662"/>
                <a:gd name="T46" fmla="*/ 530 w 1212"/>
                <a:gd name="T47" fmla="*/ 178 h 662"/>
                <a:gd name="T48" fmla="*/ 468 w 1212"/>
                <a:gd name="T49" fmla="*/ 216 h 662"/>
                <a:gd name="T50" fmla="*/ 440 w 1212"/>
                <a:gd name="T51" fmla="*/ 228 h 662"/>
                <a:gd name="T52" fmla="*/ 342 w 1212"/>
                <a:gd name="T53" fmla="*/ 264 h 662"/>
                <a:gd name="T54" fmla="*/ 266 w 1212"/>
                <a:gd name="T55" fmla="*/ 280 h 662"/>
                <a:gd name="T56" fmla="*/ 256 w 1212"/>
                <a:gd name="T57" fmla="*/ 282 h 662"/>
                <a:gd name="T58" fmla="*/ 240 w 1212"/>
                <a:gd name="T59" fmla="*/ 280 h 662"/>
                <a:gd name="T60" fmla="*/ 222 w 1212"/>
                <a:gd name="T61" fmla="*/ 270 h 662"/>
                <a:gd name="T62" fmla="*/ 208 w 1212"/>
                <a:gd name="T63" fmla="*/ 252 h 662"/>
                <a:gd name="T64" fmla="*/ 200 w 1212"/>
                <a:gd name="T65" fmla="*/ 236 h 662"/>
                <a:gd name="T66" fmla="*/ 198 w 1212"/>
                <a:gd name="T67" fmla="*/ 232 h 662"/>
                <a:gd name="T68" fmla="*/ 188 w 1212"/>
                <a:gd name="T69" fmla="*/ 228 h 662"/>
                <a:gd name="T70" fmla="*/ 170 w 1212"/>
                <a:gd name="T71" fmla="*/ 232 h 662"/>
                <a:gd name="T72" fmla="*/ 154 w 1212"/>
                <a:gd name="T73" fmla="*/ 244 h 662"/>
                <a:gd name="T74" fmla="*/ 124 w 1212"/>
                <a:gd name="T75" fmla="*/ 262 h 662"/>
                <a:gd name="T76" fmla="*/ 94 w 1212"/>
                <a:gd name="T77" fmla="*/ 272 h 662"/>
                <a:gd name="T78" fmla="*/ 66 w 1212"/>
                <a:gd name="T79" fmla="*/ 272 h 662"/>
                <a:gd name="T80" fmla="*/ 32 w 1212"/>
                <a:gd name="T81" fmla="*/ 266 h 662"/>
                <a:gd name="T82" fmla="*/ 0 w 1212"/>
                <a:gd name="T83" fmla="*/ 252 h 662"/>
                <a:gd name="T84" fmla="*/ 6 w 1212"/>
                <a:gd name="T85" fmla="*/ 262 h 662"/>
                <a:gd name="T86" fmla="*/ 32 w 1212"/>
                <a:gd name="T87" fmla="*/ 328 h 662"/>
                <a:gd name="T88" fmla="*/ 76 w 1212"/>
                <a:gd name="T89" fmla="*/ 458 h 662"/>
                <a:gd name="T90" fmla="*/ 134 w 1212"/>
                <a:gd name="T91" fmla="*/ 648 h 662"/>
                <a:gd name="T92" fmla="*/ 134 w 1212"/>
                <a:gd name="T93" fmla="*/ 654 h 662"/>
                <a:gd name="T94" fmla="*/ 128 w 1212"/>
                <a:gd name="T95" fmla="*/ 662 h 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12" h="662">
                  <a:moveTo>
                    <a:pt x="150" y="170"/>
                  </a:moveTo>
                  <a:lnTo>
                    <a:pt x="150" y="170"/>
                  </a:lnTo>
                  <a:lnTo>
                    <a:pt x="200" y="148"/>
                  </a:lnTo>
                  <a:lnTo>
                    <a:pt x="258" y="124"/>
                  </a:lnTo>
                  <a:lnTo>
                    <a:pt x="330" y="98"/>
                  </a:lnTo>
                  <a:lnTo>
                    <a:pt x="416" y="70"/>
                  </a:lnTo>
                  <a:lnTo>
                    <a:pt x="464" y="56"/>
                  </a:lnTo>
                  <a:lnTo>
                    <a:pt x="512" y="44"/>
                  </a:lnTo>
                  <a:lnTo>
                    <a:pt x="562" y="32"/>
                  </a:lnTo>
                  <a:lnTo>
                    <a:pt x="612" y="22"/>
                  </a:lnTo>
                  <a:lnTo>
                    <a:pt x="662" y="16"/>
                  </a:lnTo>
                  <a:lnTo>
                    <a:pt x="712" y="10"/>
                  </a:lnTo>
                  <a:lnTo>
                    <a:pt x="712" y="10"/>
                  </a:lnTo>
                  <a:lnTo>
                    <a:pt x="810" y="4"/>
                  </a:lnTo>
                  <a:lnTo>
                    <a:pt x="902" y="2"/>
                  </a:lnTo>
                  <a:lnTo>
                    <a:pt x="986" y="0"/>
                  </a:lnTo>
                  <a:lnTo>
                    <a:pt x="1062" y="2"/>
                  </a:lnTo>
                  <a:lnTo>
                    <a:pt x="1170" y="8"/>
                  </a:lnTo>
                  <a:lnTo>
                    <a:pt x="1212" y="10"/>
                  </a:lnTo>
                  <a:lnTo>
                    <a:pt x="1212" y="10"/>
                  </a:lnTo>
                  <a:lnTo>
                    <a:pt x="1174" y="12"/>
                  </a:lnTo>
                  <a:lnTo>
                    <a:pt x="1174" y="12"/>
                  </a:lnTo>
                  <a:lnTo>
                    <a:pt x="1116" y="12"/>
                  </a:lnTo>
                  <a:lnTo>
                    <a:pt x="1070" y="12"/>
                  </a:lnTo>
                  <a:lnTo>
                    <a:pt x="1070" y="12"/>
                  </a:lnTo>
                  <a:lnTo>
                    <a:pt x="1060" y="10"/>
                  </a:lnTo>
                  <a:lnTo>
                    <a:pt x="1050" y="12"/>
                  </a:lnTo>
                  <a:lnTo>
                    <a:pt x="1042" y="14"/>
                  </a:lnTo>
                  <a:lnTo>
                    <a:pt x="1032" y="18"/>
                  </a:lnTo>
                  <a:lnTo>
                    <a:pt x="1006" y="34"/>
                  </a:lnTo>
                  <a:lnTo>
                    <a:pt x="968" y="62"/>
                  </a:lnTo>
                  <a:lnTo>
                    <a:pt x="968" y="62"/>
                  </a:lnTo>
                  <a:lnTo>
                    <a:pt x="956" y="70"/>
                  </a:lnTo>
                  <a:lnTo>
                    <a:pt x="940" y="76"/>
                  </a:lnTo>
                  <a:lnTo>
                    <a:pt x="922" y="82"/>
                  </a:lnTo>
                  <a:lnTo>
                    <a:pt x="904" y="86"/>
                  </a:lnTo>
                  <a:lnTo>
                    <a:pt x="862" y="92"/>
                  </a:lnTo>
                  <a:lnTo>
                    <a:pt x="818" y="98"/>
                  </a:lnTo>
                  <a:lnTo>
                    <a:pt x="770" y="102"/>
                  </a:lnTo>
                  <a:lnTo>
                    <a:pt x="722" y="106"/>
                  </a:lnTo>
                  <a:lnTo>
                    <a:pt x="676" y="114"/>
                  </a:lnTo>
                  <a:lnTo>
                    <a:pt x="654" y="118"/>
                  </a:lnTo>
                  <a:lnTo>
                    <a:pt x="634" y="126"/>
                  </a:lnTo>
                  <a:lnTo>
                    <a:pt x="634" y="126"/>
                  </a:lnTo>
                  <a:lnTo>
                    <a:pt x="598" y="138"/>
                  </a:lnTo>
                  <a:lnTo>
                    <a:pt x="570" y="152"/>
                  </a:lnTo>
                  <a:lnTo>
                    <a:pt x="548" y="164"/>
                  </a:lnTo>
                  <a:lnTo>
                    <a:pt x="530" y="178"/>
                  </a:lnTo>
                  <a:lnTo>
                    <a:pt x="492" y="202"/>
                  </a:lnTo>
                  <a:lnTo>
                    <a:pt x="468" y="216"/>
                  </a:lnTo>
                  <a:lnTo>
                    <a:pt x="440" y="228"/>
                  </a:lnTo>
                  <a:lnTo>
                    <a:pt x="440" y="228"/>
                  </a:lnTo>
                  <a:lnTo>
                    <a:pt x="384" y="250"/>
                  </a:lnTo>
                  <a:lnTo>
                    <a:pt x="342" y="264"/>
                  </a:lnTo>
                  <a:lnTo>
                    <a:pt x="306" y="272"/>
                  </a:lnTo>
                  <a:lnTo>
                    <a:pt x="266" y="280"/>
                  </a:lnTo>
                  <a:lnTo>
                    <a:pt x="266" y="280"/>
                  </a:lnTo>
                  <a:lnTo>
                    <a:pt x="256" y="282"/>
                  </a:lnTo>
                  <a:lnTo>
                    <a:pt x="248" y="280"/>
                  </a:lnTo>
                  <a:lnTo>
                    <a:pt x="240" y="280"/>
                  </a:lnTo>
                  <a:lnTo>
                    <a:pt x="232" y="278"/>
                  </a:lnTo>
                  <a:lnTo>
                    <a:pt x="222" y="270"/>
                  </a:lnTo>
                  <a:lnTo>
                    <a:pt x="214" y="262"/>
                  </a:lnTo>
                  <a:lnTo>
                    <a:pt x="208" y="252"/>
                  </a:lnTo>
                  <a:lnTo>
                    <a:pt x="204" y="244"/>
                  </a:lnTo>
                  <a:lnTo>
                    <a:pt x="200" y="236"/>
                  </a:lnTo>
                  <a:lnTo>
                    <a:pt x="198" y="232"/>
                  </a:lnTo>
                  <a:lnTo>
                    <a:pt x="198" y="232"/>
                  </a:lnTo>
                  <a:lnTo>
                    <a:pt x="194" y="228"/>
                  </a:lnTo>
                  <a:lnTo>
                    <a:pt x="188" y="228"/>
                  </a:lnTo>
                  <a:lnTo>
                    <a:pt x="180" y="228"/>
                  </a:lnTo>
                  <a:lnTo>
                    <a:pt x="170" y="232"/>
                  </a:lnTo>
                  <a:lnTo>
                    <a:pt x="170" y="232"/>
                  </a:lnTo>
                  <a:lnTo>
                    <a:pt x="154" y="244"/>
                  </a:lnTo>
                  <a:lnTo>
                    <a:pt x="140" y="254"/>
                  </a:lnTo>
                  <a:lnTo>
                    <a:pt x="124" y="262"/>
                  </a:lnTo>
                  <a:lnTo>
                    <a:pt x="110" y="268"/>
                  </a:lnTo>
                  <a:lnTo>
                    <a:pt x="94" y="272"/>
                  </a:lnTo>
                  <a:lnTo>
                    <a:pt x="80" y="272"/>
                  </a:lnTo>
                  <a:lnTo>
                    <a:pt x="66" y="272"/>
                  </a:lnTo>
                  <a:lnTo>
                    <a:pt x="54" y="272"/>
                  </a:lnTo>
                  <a:lnTo>
                    <a:pt x="32" y="266"/>
                  </a:lnTo>
                  <a:lnTo>
                    <a:pt x="14" y="260"/>
                  </a:lnTo>
                  <a:lnTo>
                    <a:pt x="0" y="252"/>
                  </a:lnTo>
                  <a:lnTo>
                    <a:pt x="0" y="252"/>
                  </a:lnTo>
                  <a:lnTo>
                    <a:pt x="6" y="262"/>
                  </a:lnTo>
                  <a:lnTo>
                    <a:pt x="12" y="280"/>
                  </a:lnTo>
                  <a:lnTo>
                    <a:pt x="32" y="328"/>
                  </a:lnTo>
                  <a:lnTo>
                    <a:pt x="54" y="390"/>
                  </a:lnTo>
                  <a:lnTo>
                    <a:pt x="76" y="458"/>
                  </a:lnTo>
                  <a:lnTo>
                    <a:pt x="114" y="584"/>
                  </a:lnTo>
                  <a:lnTo>
                    <a:pt x="134" y="648"/>
                  </a:lnTo>
                  <a:lnTo>
                    <a:pt x="134" y="648"/>
                  </a:lnTo>
                  <a:lnTo>
                    <a:pt x="134" y="654"/>
                  </a:lnTo>
                  <a:lnTo>
                    <a:pt x="132" y="658"/>
                  </a:lnTo>
                  <a:lnTo>
                    <a:pt x="128" y="662"/>
                  </a:lnTo>
                  <a:lnTo>
                    <a:pt x="124" y="662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56" name="Freeform 29"/>
            <p:cNvSpPr>
              <a:spLocks/>
            </p:cNvSpPr>
            <p:nvPr/>
          </p:nvSpPr>
          <p:spPr bwMode="auto">
            <a:xfrm>
              <a:off x="5034340" y="2407735"/>
              <a:ext cx="1780519" cy="3149061"/>
            </a:xfrm>
            <a:custGeom>
              <a:avLst/>
              <a:gdLst>
                <a:gd name="T0" fmla="*/ 314 w 902"/>
                <a:gd name="T1" fmla="*/ 0 h 1556"/>
                <a:gd name="T2" fmla="*/ 206 w 902"/>
                <a:gd name="T3" fmla="*/ 10 h 1556"/>
                <a:gd name="T4" fmla="*/ 162 w 902"/>
                <a:gd name="T5" fmla="*/ 28 h 1556"/>
                <a:gd name="T6" fmla="*/ 120 w 902"/>
                <a:gd name="T7" fmla="*/ 64 h 1556"/>
                <a:gd name="T8" fmla="*/ 72 w 902"/>
                <a:gd name="T9" fmla="*/ 140 h 1556"/>
                <a:gd name="T10" fmla="*/ 46 w 902"/>
                <a:gd name="T11" fmla="*/ 220 h 1556"/>
                <a:gd name="T12" fmla="*/ 26 w 902"/>
                <a:gd name="T13" fmla="*/ 348 h 1556"/>
                <a:gd name="T14" fmla="*/ 32 w 902"/>
                <a:gd name="T15" fmla="*/ 388 h 1556"/>
                <a:gd name="T16" fmla="*/ 54 w 902"/>
                <a:gd name="T17" fmla="*/ 424 h 1556"/>
                <a:gd name="T18" fmla="*/ 78 w 902"/>
                <a:gd name="T19" fmla="*/ 442 h 1556"/>
                <a:gd name="T20" fmla="*/ 128 w 902"/>
                <a:gd name="T21" fmla="*/ 498 h 1556"/>
                <a:gd name="T22" fmla="*/ 60 w 902"/>
                <a:gd name="T23" fmla="*/ 574 h 1556"/>
                <a:gd name="T24" fmla="*/ 8 w 902"/>
                <a:gd name="T25" fmla="*/ 650 h 1556"/>
                <a:gd name="T26" fmla="*/ 0 w 902"/>
                <a:gd name="T27" fmla="*/ 680 h 1556"/>
                <a:gd name="T28" fmla="*/ 4 w 902"/>
                <a:gd name="T29" fmla="*/ 722 h 1556"/>
                <a:gd name="T30" fmla="*/ 18 w 902"/>
                <a:gd name="T31" fmla="*/ 786 h 1556"/>
                <a:gd name="T32" fmla="*/ 54 w 902"/>
                <a:gd name="T33" fmla="*/ 836 h 1556"/>
                <a:gd name="T34" fmla="*/ 120 w 902"/>
                <a:gd name="T35" fmla="*/ 876 h 1556"/>
                <a:gd name="T36" fmla="*/ 188 w 902"/>
                <a:gd name="T37" fmla="*/ 896 h 1556"/>
                <a:gd name="T38" fmla="*/ 284 w 902"/>
                <a:gd name="T39" fmla="*/ 928 h 1556"/>
                <a:gd name="T40" fmla="*/ 346 w 902"/>
                <a:gd name="T41" fmla="*/ 984 h 1556"/>
                <a:gd name="T42" fmla="*/ 386 w 902"/>
                <a:gd name="T43" fmla="*/ 1054 h 1556"/>
                <a:gd name="T44" fmla="*/ 430 w 902"/>
                <a:gd name="T45" fmla="*/ 1178 h 1556"/>
                <a:gd name="T46" fmla="*/ 450 w 902"/>
                <a:gd name="T47" fmla="*/ 1226 h 1556"/>
                <a:gd name="T48" fmla="*/ 526 w 902"/>
                <a:gd name="T49" fmla="*/ 1364 h 1556"/>
                <a:gd name="T50" fmla="*/ 596 w 902"/>
                <a:gd name="T51" fmla="*/ 1458 h 1556"/>
                <a:gd name="T52" fmla="*/ 638 w 902"/>
                <a:gd name="T53" fmla="*/ 1488 h 1556"/>
                <a:gd name="T54" fmla="*/ 664 w 902"/>
                <a:gd name="T55" fmla="*/ 1494 h 1556"/>
                <a:gd name="T56" fmla="*/ 738 w 902"/>
                <a:gd name="T57" fmla="*/ 1468 h 1556"/>
                <a:gd name="T58" fmla="*/ 792 w 902"/>
                <a:gd name="T59" fmla="*/ 1410 h 1556"/>
                <a:gd name="T60" fmla="*/ 804 w 902"/>
                <a:gd name="T61" fmla="*/ 1374 h 1556"/>
                <a:gd name="T62" fmla="*/ 808 w 902"/>
                <a:gd name="T63" fmla="*/ 1358 h 1556"/>
                <a:gd name="T64" fmla="*/ 820 w 902"/>
                <a:gd name="T65" fmla="*/ 1346 h 1556"/>
                <a:gd name="T66" fmla="*/ 830 w 902"/>
                <a:gd name="T67" fmla="*/ 1348 h 1556"/>
                <a:gd name="T68" fmla="*/ 858 w 902"/>
                <a:gd name="T69" fmla="*/ 1346 h 1556"/>
                <a:gd name="T70" fmla="*/ 878 w 902"/>
                <a:gd name="T71" fmla="*/ 1344 h 1556"/>
                <a:gd name="T72" fmla="*/ 892 w 902"/>
                <a:gd name="T73" fmla="*/ 1374 h 1556"/>
                <a:gd name="T74" fmla="*/ 902 w 902"/>
                <a:gd name="T75" fmla="*/ 1412 h 1556"/>
                <a:gd name="T76" fmla="*/ 878 w 902"/>
                <a:gd name="T77" fmla="*/ 1474 h 1556"/>
                <a:gd name="T78" fmla="*/ 846 w 902"/>
                <a:gd name="T79" fmla="*/ 1522 h 1556"/>
                <a:gd name="T80" fmla="*/ 808 w 902"/>
                <a:gd name="T81" fmla="*/ 1548 h 1556"/>
                <a:gd name="T82" fmla="*/ 774 w 902"/>
                <a:gd name="T83" fmla="*/ 1554 h 1556"/>
                <a:gd name="T84" fmla="*/ 696 w 902"/>
                <a:gd name="T85" fmla="*/ 1548 h 1556"/>
                <a:gd name="T86" fmla="*/ 652 w 902"/>
                <a:gd name="T87" fmla="*/ 1526 h 1556"/>
                <a:gd name="T88" fmla="*/ 634 w 902"/>
                <a:gd name="T89" fmla="*/ 1500 h 1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902" h="1556">
                  <a:moveTo>
                    <a:pt x="336" y="2"/>
                  </a:moveTo>
                  <a:lnTo>
                    <a:pt x="336" y="2"/>
                  </a:lnTo>
                  <a:lnTo>
                    <a:pt x="314" y="0"/>
                  </a:lnTo>
                  <a:lnTo>
                    <a:pt x="264" y="4"/>
                  </a:lnTo>
                  <a:lnTo>
                    <a:pt x="234" y="6"/>
                  </a:lnTo>
                  <a:lnTo>
                    <a:pt x="206" y="10"/>
                  </a:lnTo>
                  <a:lnTo>
                    <a:pt x="180" y="18"/>
                  </a:lnTo>
                  <a:lnTo>
                    <a:pt x="170" y="22"/>
                  </a:lnTo>
                  <a:lnTo>
                    <a:pt x="162" y="28"/>
                  </a:lnTo>
                  <a:lnTo>
                    <a:pt x="162" y="28"/>
                  </a:lnTo>
                  <a:lnTo>
                    <a:pt x="136" y="48"/>
                  </a:lnTo>
                  <a:lnTo>
                    <a:pt x="120" y="64"/>
                  </a:lnTo>
                  <a:lnTo>
                    <a:pt x="104" y="84"/>
                  </a:lnTo>
                  <a:lnTo>
                    <a:pt x="88" y="110"/>
                  </a:lnTo>
                  <a:lnTo>
                    <a:pt x="72" y="140"/>
                  </a:lnTo>
                  <a:lnTo>
                    <a:pt x="58" y="178"/>
                  </a:lnTo>
                  <a:lnTo>
                    <a:pt x="46" y="220"/>
                  </a:lnTo>
                  <a:lnTo>
                    <a:pt x="46" y="220"/>
                  </a:lnTo>
                  <a:lnTo>
                    <a:pt x="32" y="286"/>
                  </a:lnTo>
                  <a:lnTo>
                    <a:pt x="28" y="318"/>
                  </a:lnTo>
                  <a:lnTo>
                    <a:pt x="26" y="348"/>
                  </a:lnTo>
                  <a:lnTo>
                    <a:pt x="26" y="362"/>
                  </a:lnTo>
                  <a:lnTo>
                    <a:pt x="30" y="376"/>
                  </a:lnTo>
                  <a:lnTo>
                    <a:pt x="32" y="388"/>
                  </a:lnTo>
                  <a:lnTo>
                    <a:pt x="38" y="402"/>
                  </a:lnTo>
                  <a:lnTo>
                    <a:pt x="46" y="412"/>
                  </a:lnTo>
                  <a:lnTo>
                    <a:pt x="54" y="424"/>
                  </a:lnTo>
                  <a:lnTo>
                    <a:pt x="66" y="434"/>
                  </a:lnTo>
                  <a:lnTo>
                    <a:pt x="78" y="442"/>
                  </a:lnTo>
                  <a:lnTo>
                    <a:pt x="78" y="442"/>
                  </a:lnTo>
                  <a:lnTo>
                    <a:pt x="104" y="458"/>
                  </a:lnTo>
                  <a:lnTo>
                    <a:pt x="126" y="474"/>
                  </a:lnTo>
                  <a:lnTo>
                    <a:pt x="128" y="498"/>
                  </a:lnTo>
                  <a:lnTo>
                    <a:pt x="128" y="498"/>
                  </a:lnTo>
                  <a:lnTo>
                    <a:pt x="106" y="520"/>
                  </a:lnTo>
                  <a:lnTo>
                    <a:pt x="60" y="574"/>
                  </a:lnTo>
                  <a:lnTo>
                    <a:pt x="36" y="606"/>
                  </a:lnTo>
                  <a:lnTo>
                    <a:pt x="16" y="636"/>
                  </a:lnTo>
                  <a:lnTo>
                    <a:pt x="8" y="650"/>
                  </a:lnTo>
                  <a:lnTo>
                    <a:pt x="2" y="662"/>
                  </a:lnTo>
                  <a:lnTo>
                    <a:pt x="0" y="672"/>
                  </a:lnTo>
                  <a:lnTo>
                    <a:pt x="0" y="680"/>
                  </a:lnTo>
                  <a:lnTo>
                    <a:pt x="0" y="680"/>
                  </a:lnTo>
                  <a:lnTo>
                    <a:pt x="2" y="696"/>
                  </a:lnTo>
                  <a:lnTo>
                    <a:pt x="4" y="722"/>
                  </a:lnTo>
                  <a:lnTo>
                    <a:pt x="8" y="752"/>
                  </a:lnTo>
                  <a:lnTo>
                    <a:pt x="12" y="770"/>
                  </a:lnTo>
                  <a:lnTo>
                    <a:pt x="18" y="786"/>
                  </a:lnTo>
                  <a:lnTo>
                    <a:pt x="28" y="804"/>
                  </a:lnTo>
                  <a:lnTo>
                    <a:pt x="38" y="820"/>
                  </a:lnTo>
                  <a:lnTo>
                    <a:pt x="54" y="836"/>
                  </a:lnTo>
                  <a:lnTo>
                    <a:pt x="72" y="850"/>
                  </a:lnTo>
                  <a:lnTo>
                    <a:pt x="94" y="864"/>
                  </a:lnTo>
                  <a:lnTo>
                    <a:pt x="120" y="876"/>
                  </a:lnTo>
                  <a:lnTo>
                    <a:pt x="152" y="886"/>
                  </a:lnTo>
                  <a:lnTo>
                    <a:pt x="188" y="896"/>
                  </a:lnTo>
                  <a:lnTo>
                    <a:pt x="188" y="896"/>
                  </a:lnTo>
                  <a:lnTo>
                    <a:pt x="224" y="904"/>
                  </a:lnTo>
                  <a:lnTo>
                    <a:pt x="256" y="914"/>
                  </a:lnTo>
                  <a:lnTo>
                    <a:pt x="284" y="928"/>
                  </a:lnTo>
                  <a:lnTo>
                    <a:pt x="308" y="946"/>
                  </a:lnTo>
                  <a:lnTo>
                    <a:pt x="328" y="964"/>
                  </a:lnTo>
                  <a:lnTo>
                    <a:pt x="346" y="984"/>
                  </a:lnTo>
                  <a:lnTo>
                    <a:pt x="362" y="1006"/>
                  </a:lnTo>
                  <a:lnTo>
                    <a:pt x="374" y="1030"/>
                  </a:lnTo>
                  <a:lnTo>
                    <a:pt x="386" y="1054"/>
                  </a:lnTo>
                  <a:lnTo>
                    <a:pt x="396" y="1078"/>
                  </a:lnTo>
                  <a:lnTo>
                    <a:pt x="412" y="1128"/>
                  </a:lnTo>
                  <a:lnTo>
                    <a:pt x="430" y="1178"/>
                  </a:lnTo>
                  <a:lnTo>
                    <a:pt x="438" y="1202"/>
                  </a:lnTo>
                  <a:lnTo>
                    <a:pt x="450" y="1226"/>
                  </a:lnTo>
                  <a:lnTo>
                    <a:pt x="450" y="1226"/>
                  </a:lnTo>
                  <a:lnTo>
                    <a:pt x="472" y="1270"/>
                  </a:lnTo>
                  <a:lnTo>
                    <a:pt x="498" y="1318"/>
                  </a:lnTo>
                  <a:lnTo>
                    <a:pt x="526" y="1364"/>
                  </a:lnTo>
                  <a:lnTo>
                    <a:pt x="554" y="1406"/>
                  </a:lnTo>
                  <a:lnTo>
                    <a:pt x="582" y="1442"/>
                  </a:lnTo>
                  <a:lnTo>
                    <a:pt x="596" y="1458"/>
                  </a:lnTo>
                  <a:lnTo>
                    <a:pt x="610" y="1470"/>
                  </a:lnTo>
                  <a:lnTo>
                    <a:pt x="624" y="1480"/>
                  </a:lnTo>
                  <a:lnTo>
                    <a:pt x="638" y="1488"/>
                  </a:lnTo>
                  <a:lnTo>
                    <a:pt x="652" y="1492"/>
                  </a:lnTo>
                  <a:lnTo>
                    <a:pt x="664" y="1494"/>
                  </a:lnTo>
                  <a:lnTo>
                    <a:pt x="664" y="1494"/>
                  </a:lnTo>
                  <a:lnTo>
                    <a:pt x="690" y="1488"/>
                  </a:lnTo>
                  <a:lnTo>
                    <a:pt x="714" y="1480"/>
                  </a:lnTo>
                  <a:lnTo>
                    <a:pt x="738" y="1468"/>
                  </a:lnTo>
                  <a:lnTo>
                    <a:pt x="760" y="1452"/>
                  </a:lnTo>
                  <a:lnTo>
                    <a:pt x="778" y="1432"/>
                  </a:lnTo>
                  <a:lnTo>
                    <a:pt x="792" y="1410"/>
                  </a:lnTo>
                  <a:lnTo>
                    <a:pt x="796" y="1400"/>
                  </a:lnTo>
                  <a:lnTo>
                    <a:pt x="800" y="1388"/>
                  </a:lnTo>
                  <a:lnTo>
                    <a:pt x="804" y="1374"/>
                  </a:lnTo>
                  <a:lnTo>
                    <a:pt x="806" y="1362"/>
                  </a:lnTo>
                  <a:lnTo>
                    <a:pt x="806" y="1362"/>
                  </a:lnTo>
                  <a:lnTo>
                    <a:pt x="808" y="1358"/>
                  </a:lnTo>
                  <a:lnTo>
                    <a:pt x="812" y="1352"/>
                  </a:lnTo>
                  <a:lnTo>
                    <a:pt x="816" y="1348"/>
                  </a:lnTo>
                  <a:lnTo>
                    <a:pt x="820" y="1346"/>
                  </a:lnTo>
                  <a:lnTo>
                    <a:pt x="824" y="1346"/>
                  </a:lnTo>
                  <a:lnTo>
                    <a:pt x="830" y="1348"/>
                  </a:lnTo>
                  <a:lnTo>
                    <a:pt x="830" y="1348"/>
                  </a:lnTo>
                  <a:lnTo>
                    <a:pt x="836" y="1348"/>
                  </a:lnTo>
                  <a:lnTo>
                    <a:pt x="844" y="1348"/>
                  </a:lnTo>
                  <a:lnTo>
                    <a:pt x="858" y="1346"/>
                  </a:lnTo>
                  <a:lnTo>
                    <a:pt x="870" y="1342"/>
                  </a:lnTo>
                  <a:lnTo>
                    <a:pt x="874" y="1342"/>
                  </a:lnTo>
                  <a:lnTo>
                    <a:pt x="878" y="1344"/>
                  </a:lnTo>
                  <a:lnTo>
                    <a:pt x="878" y="1344"/>
                  </a:lnTo>
                  <a:lnTo>
                    <a:pt x="884" y="1356"/>
                  </a:lnTo>
                  <a:lnTo>
                    <a:pt x="892" y="1374"/>
                  </a:lnTo>
                  <a:lnTo>
                    <a:pt x="902" y="1404"/>
                  </a:lnTo>
                  <a:lnTo>
                    <a:pt x="902" y="1404"/>
                  </a:lnTo>
                  <a:lnTo>
                    <a:pt x="902" y="1412"/>
                  </a:lnTo>
                  <a:lnTo>
                    <a:pt x="898" y="1428"/>
                  </a:lnTo>
                  <a:lnTo>
                    <a:pt x="890" y="1450"/>
                  </a:lnTo>
                  <a:lnTo>
                    <a:pt x="878" y="1474"/>
                  </a:lnTo>
                  <a:lnTo>
                    <a:pt x="864" y="1498"/>
                  </a:lnTo>
                  <a:lnTo>
                    <a:pt x="856" y="1510"/>
                  </a:lnTo>
                  <a:lnTo>
                    <a:pt x="846" y="1522"/>
                  </a:lnTo>
                  <a:lnTo>
                    <a:pt x="834" y="1532"/>
                  </a:lnTo>
                  <a:lnTo>
                    <a:pt x="822" y="1540"/>
                  </a:lnTo>
                  <a:lnTo>
                    <a:pt x="808" y="1548"/>
                  </a:lnTo>
                  <a:lnTo>
                    <a:pt x="794" y="1552"/>
                  </a:lnTo>
                  <a:lnTo>
                    <a:pt x="794" y="1552"/>
                  </a:lnTo>
                  <a:lnTo>
                    <a:pt x="774" y="1554"/>
                  </a:lnTo>
                  <a:lnTo>
                    <a:pt x="750" y="1556"/>
                  </a:lnTo>
                  <a:lnTo>
                    <a:pt x="724" y="1554"/>
                  </a:lnTo>
                  <a:lnTo>
                    <a:pt x="696" y="1548"/>
                  </a:lnTo>
                  <a:lnTo>
                    <a:pt x="672" y="1540"/>
                  </a:lnTo>
                  <a:lnTo>
                    <a:pt x="660" y="1534"/>
                  </a:lnTo>
                  <a:lnTo>
                    <a:pt x="652" y="1526"/>
                  </a:lnTo>
                  <a:lnTo>
                    <a:pt x="644" y="1518"/>
                  </a:lnTo>
                  <a:lnTo>
                    <a:pt x="638" y="1510"/>
                  </a:lnTo>
                  <a:lnTo>
                    <a:pt x="634" y="1500"/>
                  </a:lnTo>
                  <a:lnTo>
                    <a:pt x="634" y="1488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57" name="Freeform 30"/>
            <p:cNvSpPr>
              <a:spLocks/>
            </p:cNvSpPr>
            <p:nvPr/>
          </p:nvSpPr>
          <p:spPr bwMode="auto">
            <a:xfrm>
              <a:off x="5287008" y="2427973"/>
              <a:ext cx="2897784" cy="1509768"/>
            </a:xfrm>
            <a:custGeom>
              <a:avLst/>
              <a:gdLst>
                <a:gd name="T0" fmla="*/ 76 w 1468"/>
                <a:gd name="T1" fmla="*/ 4 h 746"/>
                <a:gd name="T2" fmla="*/ 52 w 1468"/>
                <a:gd name="T3" fmla="*/ 36 h 746"/>
                <a:gd name="T4" fmla="*/ 34 w 1468"/>
                <a:gd name="T5" fmla="*/ 112 h 746"/>
                <a:gd name="T6" fmla="*/ 12 w 1468"/>
                <a:gd name="T7" fmla="*/ 160 h 746"/>
                <a:gd name="T8" fmla="*/ 0 w 1468"/>
                <a:gd name="T9" fmla="*/ 180 h 746"/>
                <a:gd name="T10" fmla="*/ 4 w 1468"/>
                <a:gd name="T11" fmla="*/ 230 h 746"/>
                <a:gd name="T12" fmla="*/ 22 w 1468"/>
                <a:gd name="T13" fmla="*/ 280 h 746"/>
                <a:gd name="T14" fmla="*/ 28 w 1468"/>
                <a:gd name="T15" fmla="*/ 286 h 746"/>
                <a:gd name="T16" fmla="*/ 54 w 1468"/>
                <a:gd name="T17" fmla="*/ 276 h 746"/>
                <a:gd name="T18" fmla="*/ 90 w 1468"/>
                <a:gd name="T19" fmla="*/ 248 h 746"/>
                <a:gd name="T20" fmla="*/ 100 w 1468"/>
                <a:gd name="T21" fmla="*/ 250 h 746"/>
                <a:gd name="T22" fmla="*/ 106 w 1468"/>
                <a:gd name="T23" fmla="*/ 248 h 746"/>
                <a:gd name="T24" fmla="*/ 114 w 1468"/>
                <a:gd name="T25" fmla="*/ 242 h 746"/>
                <a:gd name="T26" fmla="*/ 148 w 1468"/>
                <a:gd name="T27" fmla="*/ 240 h 746"/>
                <a:gd name="T28" fmla="*/ 166 w 1468"/>
                <a:gd name="T29" fmla="*/ 244 h 746"/>
                <a:gd name="T30" fmla="*/ 178 w 1468"/>
                <a:gd name="T31" fmla="*/ 250 h 746"/>
                <a:gd name="T32" fmla="*/ 192 w 1468"/>
                <a:gd name="T33" fmla="*/ 252 h 746"/>
                <a:gd name="T34" fmla="*/ 200 w 1468"/>
                <a:gd name="T35" fmla="*/ 254 h 746"/>
                <a:gd name="T36" fmla="*/ 208 w 1468"/>
                <a:gd name="T37" fmla="*/ 244 h 746"/>
                <a:gd name="T38" fmla="*/ 228 w 1468"/>
                <a:gd name="T39" fmla="*/ 216 h 746"/>
                <a:gd name="T40" fmla="*/ 242 w 1468"/>
                <a:gd name="T41" fmla="*/ 212 h 746"/>
                <a:gd name="T42" fmla="*/ 254 w 1468"/>
                <a:gd name="T43" fmla="*/ 206 h 746"/>
                <a:gd name="T44" fmla="*/ 252 w 1468"/>
                <a:gd name="T45" fmla="*/ 180 h 746"/>
                <a:gd name="T46" fmla="*/ 256 w 1468"/>
                <a:gd name="T47" fmla="*/ 174 h 746"/>
                <a:gd name="T48" fmla="*/ 274 w 1468"/>
                <a:gd name="T49" fmla="*/ 168 h 746"/>
                <a:gd name="T50" fmla="*/ 292 w 1468"/>
                <a:gd name="T51" fmla="*/ 176 h 746"/>
                <a:gd name="T52" fmla="*/ 314 w 1468"/>
                <a:gd name="T53" fmla="*/ 210 h 746"/>
                <a:gd name="T54" fmla="*/ 320 w 1468"/>
                <a:gd name="T55" fmla="*/ 240 h 746"/>
                <a:gd name="T56" fmla="*/ 340 w 1468"/>
                <a:gd name="T57" fmla="*/ 272 h 746"/>
                <a:gd name="T58" fmla="*/ 376 w 1468"/>
                <a:gd name="T59" fmla="*/ 288 h 746"/>
                <a:gd name="T60" fmla="*/ 420 w 1468"/>
                <a:gd name="T61" fmla="*/ 302 h 746"/>
                <a:gd name="T62" fmla="*/ 436 w 1468"/>
                <a:gd name="T63" fmla="*/ 318 h 746"/>
                <a:gd name="T64" fmla="*/ 468 w 1468"/>
                <a:gd name="T65" fmla="*/ 332 h 746"/>
                <a:gd name="T66" fmla="*/ 580 w 1468"/>
                <a:gd name="T67" fmla="*/ 354 h 746"/>
                <a:gd name="T68" fmla="*/ 632 w 1468"/>
                <a:gd name="T69" fmla="*/ 358 h 746"/>
                <a:gd name="T70" fmla="*/ 728 w 1468"/>
                <a:gd name="T71" fmla="*/ 392 h 746"/>
                <a:gd name="T72" fmla="*/ 792 w 1468"/>
                <a:gd name="T73" fmla="*/ 430 h 746"/>
                <a:gd name="T74" fmla="*/ 806 w 1468"/>
                <a:gd name="T75" fmla="*/ 450 h 746"/>
                <a:gd name="T76" fmla="*/ 814 w 1468"/>
                <a:gd name="T77" fmla="*/ 468 h 746"/>
                <a:gd name="T78" fmla="*/ 942 w 1468"/>
                <a:gd name="T79" fmla="*/ 664 h 746"/>
                <a:gd name="T80" fmla="*/ 966 w 1468"/>
                <a:gd name="T81" fmla="*/ 704 h 746"/>
                <a:gd name="T82" fmla="*/ 968 w 1468"/>
                <a:gd name="T83" fmla="*/ 722 h 746"/>
                <a:gd name="T84" fmla="*/ 994 w 1468"/>
                <a:gd name="T85" fmla="*/ 740 h 746"/>
                <a:gd name="T86" fmla="*/ 1030 w 1468"/>
                <a:gd name="T87" fmla="*/ 746 h 746"/>
                <a:gd name="T88" fmla="*/ 1050 w 1468"/>
                <a:gd name="T89" fmla="*/ 746 h 7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468" h="746">
                  <a:moveTo>
                    <a:pt x="84" y="0"/>
                  </a:moveTo>
                  <a:lnTo>
                    <a:pt x="84" y="0"/>
                  </a:lnTo>
                  <a:lnTo>
                    <a:pt x="76" y="4"/>
                  </a:lnTo>
                  <a:lnTo>
                    <a:pt x="68" y="10"/>
                  </a:lnTo>
                  <a:lnTo>
                    <a:pt x="60" y="22"/>
                  </a:lnTo>
                  <a:lnTo>
                    <a:pt x="52" y="36"/>
                  </a:lnTo>
                  <a:lnTo>
                    <a:pt x="44" y="56"/>
                  </a:lnTo>
                  <a:lnTo>
                    <a:pt x="38" y="80"/>
                  </a:lnTo>
                  <a:lnTo>
                    <a:pt x="34" y="112"/>
                  </a:lnTo>
                  <a:lnTo>
                    <a:pt x="34" y="112"/>
                  </a:lnTo>
                  <a:lnTo>
                    <a:pt x="22" y="138"/>
                  </a:lnTo>
                  <a:lnTo>
                    <a:pt x="12" y="160"/>
                  </a:lnTo>
                  <a:lnTo>
                    <a:pt x="4" y="174"/>
                  </a:lnTo>
                  <a:lnTo>
                    <a:pt x="4" y="174"/>
                  </a:lnTo>
                  <a:lnTo>
                    <a:pt x="0" y="180"/>
                  </a:lnTo>
                  <a:lnTo>
                    <a:pt x="0" y="194"/>
                  </a:lnTo>
                  <a:lnTo>
                    <a:pt x="2" y="212"/>
                  </a:lnTo>
                  <a:lnTo>
                    <a:pt x="4" y="230"/>
                  </a:lnTo>
                  <a:lnTo>
                    <a:pt x="10" y="250"/>
                  </a:lnTo>
                  <a:lnTo>
                    <a:pt x="14" y="266"/>
                  </a:lnTo>
                  <a:lnTo>
                    <a:pt x="22" y="280"/>
                  </a:lnTo>
                  <a:lnTo>
                    <a:pt x="24" y="284"/>
                  </a:lnTo>
                  <a:lnTo>
                    <a:pt x="28" y="286"/>
                  </a:lnTo>
                  <a:lnTo>
                    <a:pt x="28" y="286"/>
                  </a:lnTo>
                  <a:lnTo>
                    <a:pt x="36" y="284"/>
                  </a:lnTo>
                  <a:lnTo>
                    <a:pt x="46" y="282"/>
                  </a:lnTo>
                  <a:lnTo>
                    <a:pt x="54" y="276"/>
                  </a:lnTo>
                  <a:lnTo>
                    <a:pt x="64" y="268"/>
                  </a:lnTo>
                  <a:lnTo>
                    <a:pt x="80" y="254"/>
                  </a:lnTo>
                  <a:lnTo>
                    <a:pt x="90" y="248"/>
                  </a:lnTo>
                  <a:lnTo>
                    <a:pt x="90" y="248"/>
                  </a:lnTo>
                  <a:lnTo>
                    <a:pt x="96" y="250"/>
                  </a:lnTo>
                  <a:lnTo>
                    <a:pt x="100" y="250"/>
                  </a:lnTo>
                  <a:lnTo>
                    <a:pt x="104" y="250"/>
                  </a:lnTo>
                  <a:lnTo>
                    <a:pt x="104" y="250"/>
                  </a:lnTo>
                  <a:lnTo>
                    <a:pt x="106" y="248"/>
                  </a:lnTo>
                  <a:lnTo>
                    <a:pt x="108" y="246"/>
                  </a:lnTo>
                  <a:lnTo>
                    <a:pt x="110" y="244"/>
                  </a:lnTo>
                  <a:lnTo>
                    <a:pt x="114" y="242"/>
                  </a:lnTo>
                  <a:lnTo>
                    <a:pt x="114" y="242"/>
                  </a:lnTo>
                  <a:lnTo>
                    <a:pt x="128" y="242"/>
                  </a:lnTo>
                  <a:lnTo>
                    <a:pt x="148" y="240"/>
                  </a:lnTo>
                  <a:lnTo>
                    <a:pt x="148" y="240"/>
                  </a:lnTo>
                  <a:lnTo>
                    <a:pt x="158" y="240"/>
                  </a:lnTo>
                  <a:lnTo>
                    <a:pt x="166" y="244"/>
                  </a:lnTo>
                  <a:lnTo>
                    <a:pt x="172" y="250"/>
                  </a:lnTo>
                  <a:lnTo>
                    <a:pt x="172" y="250"/>
                  </a:lnTo>
                  <a:lnTo>
                    <a:pt x="178" y="250"/>
                  </a:lnTo>
                  <a:lnTo>
                    <a:pt x="188" y="252"/>
                  </a:lnTo>
                  <a:lnTo>
                    <a:pt x="188" y="252"/>
                  </a:lnTo>
                  <a:lnTo>
                    <a:pt x="192" y="252"/>
                  </a:lnTo>
                  <a:lnTo>
                    <a:pt x="194" y="254"/>
                  </a:lnTo>
                  <a:lnTo>
                    <a:pt x="196" y="256"/>
                  </a:lnTo>
                  <a:lnTo>
                    <a:pt x="200" y="254"/>
                  </a:lnTo>
                  <a:lnTo>
                    <a:pt x="200" y="254"/>
                  </a:lnTo>
                  <a:lnTo>
                    <a:pt x="204" y="250"/>
                  </a:lnTo>
                  <a:lnTo>
                    <a:pt x="208" y="244"/>
                  </a:lnTo>
                  <a:lnTo>
                    <a:pt x="218" y="228"/>
                  </a:lnTo>
                  <a:lnTo>
                    <a:pt x="222" y="222"/>
                  </a:lnTo>
                  <a:lnTo>
                    <a:pt x="228" y="216"/>
                  </a:lnTo>
                  <a:lnTo>
                    <a:pt x="236" y="212"/>
                  </a:lnTo>
                  <a:lnTo>
                    <a:pt x="242" y="212"/>
                  </a:lnTo>
                  <a:lnTo>
                    <a:pt x="242" y="212"/>
                  </a:lnTo>
                  <a:lnTo>
                    <a:pt x="248" y="214"/>
                  </a:lnTo>
                  <a:lnTo>
                    <a:pt x="252" y="210"/>
                  </a:lnTo>
                  <a:lnTo>
                    <a:pt x="254" y="206"/>
                  </a:lnTo>
                  <a:lnTo>
                    <a:pt x="254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52" y="178"/>
                  </a:lnTo>
                  <a:lnTo>
                    <a:pt x="252" y="178"/>
                  </a:lnTo>
                  <a:lnTo>
                    <a:pt x="256" y="174"/>
                  </a:lnTo>
                  <a:lnTo>
                    <a:pt x="262" y="170"/>
                  </a:lnTo>
                  <a:lnTo>
                    <a:pt x="270" y="168"/>
                  </a:lnTo>
                  <a:lnTo>
                    <a:pt x="274" y="168"/>
                  </a:lnTo>
                  <a:lnTo>
                    <a:pt x="280" y="170"/>
                  </a:lnTo>
                  <a:lnTo>
                    <a:pt x="280" y="170"/>
                  </a:lnTo>
                  <a:lnTo>
                    <a:pt x="292" y="176"/>
                  </a:lnTo>
                  <a:lnTo>
                    <a:pt x="302" y="184"/>
                  </a:lnTo>
                  <a:lnTo>
                    <a:pt x="308" y="194"/>
                  </a:lnTo>
                  <a:lnTo>
                    <a:pt x="314" y="210"/>
                  </a:lnTo>
                  <a:lnTo>
                    <a:pt x="314" y="210"/>
                  </a:lnTo>
                  <a:lnTo>
                    <a:pt x="318" y="228"/>
                  </a:lnTo>
                  <a:lnTo>
                    <a:pt x="320" y="240"/>
                  </a:lnTo>
                  <a:lnTo>
                    <a:pt x="324" y="252"/>
                  </a:lnTo>
                  <a:lnTo>
                    <a:pt x="330" y="262"/>
                  </a:lnTo>
                  <a:lnTo>
                    <a:pt x="340" y="272"/>
                  </a:lnTo>
                  <a:lnTo>
                    <a:pt x="356" y="282"/>
                  </a:lnTo>
                  <a:lnTo>
                    <a:pt x="376" y="288"/>
                  </a:lnTo>
                  <a:lnTo>
                    <a:pt x="376" y="288"/>
                  </a:lnTo>
                  <a:lnTo>
                    <a:pt x="396" y="292"/>
                  </a:lnTo>
                  <a:lnTo>
                    <a:pt x="410" y="296"/>
                  </a:lnTo>
                  <a:lnTo>
                    <a:pt x="420" y="302"/>
                  </a:lnTo>
                  <a:lnTo>
                    <a:pt x="424" y="306"/>
                  </a:lnTo>
                  <a:lnTo>
                    <a:pt x="432" y="314"/>
                  </a:lnTo>
                  <a:lnTo>
                    <a:pt x="436" y="318"/>
                  </a:lnTo>
                  <a:lnTo>
                    <a:pt x="442" y="322"/>
                  </a:lnTo>
                  <a:lnTo>
                    <a:pt x="442" y="322"/>
                  </a:lnTo>
                  <a:lnTo>
                    <a:pt x="468" y="332"/>
                  </a:lnTo>
                  <a:lnTo>
                    <a:pt x="508" y="342"/>
                  </a:lnTo>
                  <a:lnTo>
                    <a:pt x="556" y="350"/>
                  </a:lnTo>
                  <a:lnTo>
                    <a:pt x="580" y="354"/>
                  </a:lnTo>
                  <a:lnTo>
                    <a:pt x="604" y="356"/>
                  </a:lnTo>
                  <a:lnTo>
                    <a:pt x="604" y="356"/>
                  </a:lnTo>
                  <a:lnTo>
                    <a:pt x="632" y="358"/>
                  </a:lnTo>
                  <a:lnTo>
                    <a:pt x="662" y="366"/>
                  </a:lnTo>
                  <a:lnTo>
                    <a:pt x="696" y="378"/>
                  </a:lnTo>
                  <a:lnTo>
                    <a:pt x="728" y="392"/>
                  </a:lnTo>
                  <a:lnTo>
                    <a:pt x="758" y="406"/>
                  </a:lnTo>
                  <a:lnTo>
                    <a:pt x="782" y="422"/>
                  </a:lnTo>
                  <a:lnTo>
                    <a:pt x="792" y="430"/>
                  </a:lnTo>
                  <a:lnTo>
                    <a:pt x="798" y="436"/>
                  </a:lnTo>
                  <a:lnTo>
                    <a:pt x="804" y="444"/>
                  </a:lnTo>
                  <a:lnTo>
                    <a:pt x="806" y="450"/>
                  </a:lnTo>
                  <a:lnTo>
                    <a:pt x="806" y="450"/>
                  </a:lnTo>
                  <a:lnTo>
                    <a:pt x="808" y="458"/>
                  </a:lnTo>
                  <a:lnTo>
                    <a:pt x="814" y="468"/>
                  </a:lnTo>
                  <a:lnTo>
                    <a:pt x="832" y="500"/>
                  </a:lnTo>
                  <a:lnTo>
                    <a:pt x="886" y="584"/>
                  </a:lnTo>
                  <a:lnTo>
                    <a:pt x="942" y="664"/>
                  </a:lnTo>
                  <a:lnTo>
                    <a:pt x="960" y="690"/>
                  </a:lnTo>
                  <a:lnTo>
                    <a:pt x="966" y="704"/>
                  </a:lnTo>
                  <a:lnTo>
                    <a:pt x="966" y="704"/>
                  </a:lnTo>
                  <a:lnTo>
                    <a:pt x="968" y="714"/>
                  </a:lnTo>
                  <a:lnTo>
                    <a:pt x="968" y="722"/>
                  </a:lnTo>
                  <a:lnTo>
                    <a:pt x="968" y="722"/>
                  </a:lnTo>
                  <a:lnTo>
                    <a:pt x="972" y="726"/>
                  </a:lnTo>
                  <a:lnTo>
                    <a:pt x="980" y="732"/>
                  </a:lnTo>
                  <a:lnTo>
                    <a:pt x="994" y="740"/>
                  </a:lnTo>
                  <a:lnTo>
                    <a:pt x="1008" y="744"/>
                  </a:lnTo>
                  <a:lnTo>
                    <a:pt x="1008" y="744"/>
                  </a:lnTo>
                  <a:lnTo>
                    <a:pt x="1030" y="746"/>
                  </a:lnTo>
                  <a:lnTo>
                    <a:pt x="1040" y="746"/>
                  </a:lnTo>
                  <a:lnTo>
                    <a:pt x="1050" y="746"/>
                  </a:lnTo>
                  <a:lnTo>
                    <a:pt x="1050" y="746"/>
                  </a:lnTo>
                  <a:lnTo>
                    <a:pt x="1264" y="682"/>
                  </a:lnTo>
                  <a:lnTo>
                    <a:pt x="1468" y="620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58" name="Freeform 31"/>
            <p:cNvSpPr>
              <a:spLocks/>
            </p:cNvSpPr>
            <p:nvPr/>
          </p:nvSpPr>
          <p:spPr bwMode="auto">
            <a:xfrm>
              <a:off x="6814859" y="3885122"/>
              <a:ext cx="722472" cy="1364053"/>
            </a:xfrm>
            <a:custGeom>
              <a:avLst/>
              <a:gdLst>
                <a:gd name="T0" fmla="*/ 0 w 366"/>
                <a:gd name="T1" fmla="*/ 674 h 674"/>
                <a:gd name="T2" fmla="*/ 0 w 366"/>
                <a:gd name="T3" fmla="*/ 674 h 674"/>
                <a:gd name="T4" fmla="*/ 8 w 366"/>
                <a:gd name="T5" fmla="*/ 670 h 674"/>
                <a:gd name="T6" fmla="*/ 26 w 366"/>
                <a:gd name="T7" fmla="*/ 658 h 674"/>
                <a:gd name="T8" fmla="*/ 50 w 366"/>
                <a:gd name="T9" fmla="*/ 636 h 674"/>
                <a:gd name="T10" fmla="*/ 62 w 366"/>
                <a:gd name="T11" fmla="*/ 622 h 674"/>
                <a:gd name="T12" fmla="*/ 76 w 366"/>
                <a:gd name="T13" fmla="*/ 608 h 674"/>
                <a:gd name="T14" fmla="*/ 76 w 366"/>
                <a:gd name="T15" fmla="*/ 608 h 674"/>
                <a:gd name="T16" fmla="*/ 88 w 366"/>
                <a:gd name="T17" fmla="*/ 588 h 674"/>
                <a:gd name="T18" fmla="*/ 100 w 366"/>
                <a:gd name="T19" fmla="*/ 564 h 674"/>
                <a:gd name="T20" fmla="*/ 110 w 366"/>
                <a:gd name="T21" fmla="*/ 536 h 674"/>
                <a:gd name="T22" fmla="*/ 122 w 366"/>
                <a:gd name="T23" fmla="*/ 506 h 674"/>
                <a:gd name="T24" fmla="*/ 130 w 366"/>
                <a:gd name="T25" fmla="*/ 474 h 674"/>
                <a:gd name="T26" fmla="*/ 136 w 366"/>
                <a:gd name="T27" fmla="*/ 442 h 674"/>
                <a:gd name="T28" fmla="*/ 138 w 366"/>
                <a:gd name="T29" fmla="*/ 410 h 674"/>
                <a:gd name="T30" fmla="*/ 138 w 366"/>
                <a:gd name="T31" fmla="*/ 380 h 674"/>
                <a:gd name="T32" fmla="*/ 138 w 366"/>
                <a:gd name="T33" fmla="*/ 380 h 674"/>
                <a:gd name="T34" fmla="*/ 134 w 366"/>
                <a:gd name="T35" fmla="*/ 326 h 674"/>
                <a:gd name="T36" fmla="*/ 132 w 366"/>
                <a:gd name="T37" fmla="*/ 304 h 674"/>
                <a:gd name="T38" fmla="*/ 134 w 366"/>
                <a:gd name="T39" fmla="*/ 286 h 674"/>
                <a:gd name="T40" fmla="*/ 136 w 366"/>
                <a:gd name="T41" fmla="*/ 268 h 674"/>
                <a:gd name="T42" fmla="*/ 140 w 366"/>
                <a:gd name="T43" fmla="*/ 254 h 674"/>
                <a:gd name="T44" fmla="*/ 150 w 366"/>
                <a:gd name="T45" fmla="*/ 240 h 674"/>
                <a:gd name="T46" fmla="*/ 162 w 366"/>
                <a:gd name="T47" fmla="*/ 230 h 674"/>
                <a:gd name="T48" fmla="*/ 162 w 366"/>
                <a:gd name="T49" fmla="*/ 230 h 674"/>
                <a:gd name="T50" fmla="*/ 208 w 366"/>
                <a:gd name="T51" fmla="*/ 194 h 674"/>
                <a:gd name="T52" fmla="*/ 238 w 366"/>
                <a:gd name="T53" fmla="*/ 168 h 674"/>
                <a:gd name="T54" fmla="*/ 270 w 366"/>
                <a:gd name="T55" fmla="*/ 138 h 674"/>
                <a:gd name="T56" fmla="*/ 300 w 366"/>
                <a:gd name="T57" fmla="*/ 104 h 674"/>
                <a:gd name="T58" fmla="*/ 328 w 366"/>
                <a:gd name="T59" fmla="*/ 70 h 674"/>
                <a:gd name="T60" fmla="*/ 340 w 366"/>
                <a:gd name="T61" fmla="*/ 52 h 674"/>
                <a:gd name="T62" fmla="*/ 352 w 366"/>
                <a:gd name="T63" fmla="*/ 34 h 674"/>
                <a:gd name="T64" fmla="*/ 360 w 366"/>
                <a:gd name="T65" fmla="*/ 16 h 674"/>
                <a:gd name="T66" fmla="*/ 366 w 366"/>
                <a:gd name="T67" fmla="*/ 0 h 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66" h="674">
                  <a:moveTo>
                    <a:pt x="0" y="674"/>
                  </a:moveTo>
                  <a:lnTo>
                    <a:pt x="0" y="674"/>
                  </a:lnTo>
                  <a:lnTo>
                    <a:pt x="8" y="670"/>
                  </a:lnTo>
                  <a:lnTo>
                    <a:pt x="26" y="658"/>
                  </a:lnTo>
                  <a:lnTo>
                    <a:pt x="50" y="636"/>
                  </a:lnTo>
                  <a:lnTo>
                    <a:pt x="62" y="622"/>
                  </a:lnTo>
                  <a:lnTo>
                    <a:pt x="76" y="608"/>
                  </a:lnTo>
                  <a:lnTo>
                    <a:pt x="76" y="608"/>
                  </a:lnTo>
                  <a:lnTo>
                    <a:pt x="88" y="588"/>
                  </a:lnTo>
                  <a:lnTo>
                    <a:pt x="100" y="564"/>
                  </a:lnTo>
                  <a:lnTo>
                    <a:pt x="110" y="536"/>
                  </a:lnTo>
                  <a:lnTo>
                    <a:pt x="122" y="506"/>
                  </a:lnTo>
                  <a:lnTo>
                    <a:pt x="130" y="474"/>
                  </a:lnTo>
                  <a:lnTo>
                    <a:pt x="136" y="442"/>
                  </a:lnTo>
                  <a:lnTo>
                    <a:pt x="138" y="410"/>
                  </a:lnTo>
                  <a:lnTo>
                    <a:pt x="138" y="380"/>
                  </a:lnTo>
                  <a:lnTo>
                    <a:pt x="138" y="380"/>
                  </a:lnTo>
                  <a:lnTo>
                    <a:pt x="134" y="326"/>
                  </a:lnTo>
                  <a:lnTo>
                    <a:pt x="132" y="304"/>
                  </a:lnTo>
                  <a:lnTo>
                    <a:pt x="134" y="286"/>
                  </a:lnTo>
                  <a:lnTo>
                    <a:pt x="136" y="268"/>
                  </a:lnTo>
                  <a:lnTo>
                    <a:pt x="140" y="254"/>
                  </a:lnTo>
                  <a:lnTo>
                    <a:pt x="150" y="240"/>
                  </a:lnTo>
                  <a:lnTo>
                    <a:pt x="162" y="230"/>
                  </a:lnTo>
                  <a:lnTo>
                    <a:pt x="162" y="230"/>
                  </a:lnTo>
                  <a:lnTo>
                    <a:pt x="208" y="194"/>
                  </a:lnTo>
                  <a:lnTo>
                    <a:pt x="238" y="168"/>
                  </a:lnTo>
                  <a:lnTo>
                    <a:pt x="270" y="138"/>
                  </a:lnTo>
                  <a:lnTo>
                    <a:pt x="300" y="104"/>
                  </a:lnTo>
                  <a:lnTo>
                    <a:pt x="328" y="70"/>
                  </a:lnTo>
                  <a:lnTo>
                    <a:pt x="340" y="52"/>
                  </a:lnTo>
                  <a:lnTo>
                    <a:pt x="352" y="34"/>
                  </a:lnTo>
                  <a:lnTo>
                    <a:pt x="360" y="16"/>
                  </a:lnTo>
                  <a:lnTo>
                    <a:pt x="366" y="0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59" name="Freeform 32"/>
            <p:cNvSpPr>
              <a:spLocks/>
            </p:cNvSpPr>
            <p:nvPr/>
          </p:nvSpPr>
          <p:spPr bwMode="auto">
            <a:xfrm>
              <a:off x="5587051" y="2565593"/>
              <a:ext cx="102646" cy="340001"/>
            </a:xfrm>
            <a:custGeom>
              <a:avLst/>
              <a:gdLst>
                <a:gd name="T0" fmla="*/ 0 w 52"/>
                <a:gd name="T1" fmla="*/ 168 h 168"/>
                <a:gd name="T2" fmla="*/ 0 w 52"/>
                <a:gd name="T3" fmla="*/ 168 h 168"/>
                <a:gd name="T4" fmla="*/ 0 w 52"/>
                <a:gd name="T5" fmla="*/ 164 h 168"/>
                <a:gd name="T6" fmla="*/ 0 w 52"/>
                <a:gd name="T7" fmla="*/ 154 h 168"/>
                <a:gd name="T8" fmla="*/ 2 w 52"/>
                <a:gd name="T9" fmla="*/ 142 h 168"/>
                <a:gd name="T10" fmla="*/ 4 w 52"/>
                <a:gd name="T11" fmla="*/ 136 h 168"/>
                <a:gd name="T12" fmla="*/ 10 w 52"/>
                <a:gd name="T13" fmla="*/ 132 h 168"/>
                <a:gd name="T14" fmla="*/ 10 w 52"/>
                <a:gd name="T15" fmla="*/ 132 h 168"/>
                <a:gd name="T16" fmla="*/ 20 w 52"/>
                <a:gd name="T17" fmla="*/ 124 h 168"/>
                <a:gd name="T18" fmla="*/ 30 w 52"/>
                <a:gd name="T19" fmla="*/ 116 h 168"/>
                <a:gd name="T20" fmla="*/ 36 w 52"/>
                <a:gd name="T21" fmla="*/ 106 h 168"/>
                <a:gd name="T22" fmla="*/ 38 w 52"/>
                <a:gd name="T23" fmla="*/ 100 h 168"/>
                <a:gd name="T24" fmla="*/ 38 w 52"/>
                <a:gd name="T25" fmla="*/ 100 h 168"/>
                <a:gd name="T26" fmla="*/ 38 w 52"/>
                <a:gd name="T27" fmla="*/ 86 h 168"/>
                <a:gd name="T28" fmla="*/ 40 w 52"/>
                <a:gd name="T29" fmla="*/ 78 h 168"/>
                <a:gd name="T30" fmla="*/ 44 w 52"/>
                <a:gd name="T31" fmla="*/ 74 h 168"/>
                <a:gd name="T32" fmla="*/ 44 w 52"/>
                <a:gd name="T33" fmla="*/ 74 h 168"/>
                <a:gd name="T34" fmla="*/ 50 w 52"/>
                <a:gd name="T35" fmla="*/ 72 h 168"/>
                <a:gd name="T36" fmla="*/ 52 w 52"/>
                <a:gd name="T37" fmla="*/ 70 h 168"/>
                <a:gd name="T38" fmla="*/ 52 w 52"/>
                <a:gd name="T39" fmla="*/ 66 h 168"/>
                <a:gd name="T40" fmla="*/ 52 w 52"/>
                <a:gd name="T41" fmla="*/ 66 h 168"/>
                <a:gd name="T42" fmla="*/ 50 w 52"/>
                <a:gd name="T43" fmla="*/ 62 h 168"/>
                <a:gd name="T44" fmla="*/ 48 w 52"/>
                <a:gd name="T45" fmla="*/ 60 h 168"/>
                <a:gd name="T46" fmla="*/ 44 w 52"/>
                <a:gd name="T47" fmla="*/ 58 h 168"/>
                <a:gd name="T48" fmla="*/ 42 w 52"/>
                <a:gd name="T49" fmla="*/ 54 h 168"/>
                <a:gd name="T50" fmla="*/ 42 w 52"/>
                <a:gd name="T51" fmla="*/ 54 h 168"/>
                <a:gd name="T52" fmla="*/ 44 w 52"/>
                <a:gd name="T53" fmla="*/ 42 h 168"/>
                <a:gd name="T54" fmla="*/ 44 w 52"/>
                <a:gd name="T55" fmla="*/ 38 h 168"/>
                <a:gd name="T56" fmla="*/ 42 w 52"/>
                <a:gd name="T57" fmla="*/ 36 h 168"/>
                <a:gd name="T58" fmla="*/ 42 w 52"/>
                <a:gd name="T59" fmla="*/ 36 h 168"/>
                <a:gd name="T60" fmla="*/ 40 w 52"/>
                <a:gd name="T61" fmla="*/ 36 h 168"/>
                <a:gd name="T62" fmla="*/ 38 w 52"/>
                <a:gd name="T63" fmla="*/ 34 h 168"/>
                <a:gd name="T64" fmla="*/ 36 w 52"/>
                <a:gd name="T65" fmla="*/ 30 h 168"/>
                <a:gd name="T66" fmla="*/ 34 w 52"/>
                <a:gd name="T67" fmla="*/ 22 h 168"/>
                <a:gd name="T68" fmla="*/ 34 w 52"/>
                <a:gd name="T69" fmla="*/ 22 h 168"/>
                <a:gd name="T70" fmla="*/ 32 w 52"/>
                <a:gd name="T71" fmla="*/ 4 h 168"/>
                <a:gd name="T72" fmla="*/ 30 w 52"/>
                <a:gd name="T73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2" h="168">
                  <a:moveTo>
                    <a:pt x="0" y="168"/>
                  </a:moveTo>
                  <a:lnTo>
                    <a:pt x="0" y="168"/>
                  </a:lnTo>
                  <a:lnTo>
                    <a:pt x="0" y="164"/>
                  </a:lnTo>
                  <a:lnTo>
                    <a:pt x="0" y="154"/>
                  </a:lnTo>
                  <a:lnTo>
                    <a:pt x="2" y="142"/>
                  </a:lnTo>
                  <a:lnTo>
                    <a:pt x="4" y="136"/>
                  </a:lnTo>
                  <a:lnTo>
                    <a:pt x="10" y="132"/>
                  </a:lnTo>
                  <a:lnTo>
                    <a:pt x="10" y="132"/>
                  </a:lnTo>
                  <a:lnTo>
                    <a:pt x="20" y="124"/>
                  </a:lnTo>
                  <a:lnTo>
                    <a:pt x="30" y="116"/>
                  </a:lnTo>
                  <a:lnTo>
                    <a:pt x="36" y="106"/>
                  </a:lnTo>
                  <a:lnTo>
                    <a:pt x="38" y="100"/>
                  </a:lnTo>
                  <a:lnTo>
                    <a:pt x="38" y="100"/>
                  </a:lnTo>
                  <a:lnTo>
                    <a:pt x="38" y="86"/>
                  </a:lnTo>
                  <a:lnTo>
                    <a:pt x="40" y="78"/>
                  </a:lnTo>
                  <a:lnTo>
                    <a:pt x="44" y="74"/>
                  </a:lnTo>
                  <a:lnTo>
                    <a:pt x="44" y="74"/>
                  </a:lnTo>
                  <a:lnTo>
                    <a:pt x="50" y="72"/>
                  </a:lnTo>
                  <a:lnTo>
                    <a:pt x="52" y="70"/>
                  </a:lnTo>
                  <a:lnTo>
                    <a:pt x="52" y="66"/>
                  </a:lnTo>
                  <a:lnTo>
                    <a:pt x="52" y="66"/>
                  </a:lnTo>
                  <a:lnTo>
                    <a:pt x="50" y="62"/>
                  </a:lnTo>
                  <a:lnTo>
                    <a:pt x="48" y="60"/>
                  </a:lnTo>
                  <a:lnTo>
                    <a:pt x="44" y="58"/>
                  </a:lnTo>
                  <a:lnTo>
                    <a:pt x="42" y="54"/>
                  </a:lnTo>
                  <a:lnTo>
                    <a:pt x="42" y="54"/>
                  </a:lnTo>
                  <a:lnTo>
                    <a:pt x="44" y="42"/>
                  </a:lnTo>
                  <a:lnTo>
                    <a:pt x="44" y="38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0" y="36"/>
                  </a:lnTo>
                  <a:lnTo>
                    <a:pt x="38" y="34"/>
                  </a:lnTo>
                  <a:lnTo>
                    <a:pt x="36" y="30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2" y="4"/>
                  </a:lnTo>
                  <a:lnTo>
                    <a:pt x="30" y="0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60" name="Freeform 33"/>
            <p:cNvSpPr>
              <a:spLocks/>
            </p:cNvSpPr>
            <p:nvPr/>
          </p:nvSpPr>
          <p:spPr bwMode="auto">
            <a:xfrm>
              <a:off x="5614687" y="2290354"/>
              <a:ext cx="829066" cy="809527"/>
            </a:xfrm>
            <a:custGeom>
              <a:avLst/>
              <a:gdLst>
                <a:gd name="T0" fmla="*/ 14 w 420"/>
                <a:gd name="T1" fmla="*/ 2 h 400"/>
                <a:gd name="T2" fmla="*/ 26 w 420"/>
                <a:gd name="T3" fmla="*/ 8 h 400"/>
                <a:gd name="T4" fmla="*/ 28 w 420"/>
                <a:gd name="T5" fmla="*/ 24 h 400"/>
                <a:gd name="T6" fmla="*/ 40 w 420"/>
                <a:gd name="T7" fmla="*/ 56 h 400"/>
                <a:gd name="T8" fmla="*/ 56 w 420"/>
                <a:gd name="T9" fmla="*/ 78 h 400"/>
                <a:gd name="T10" fmla="*/ 78 w 420"/>
                <a:gd name="T11" fmla="*/ 94 h 400"/>
                <a:gd name="T12" fmla="*/ 88 w 420"/>
                <a:gd name="T13" fmla="*/ 114 h 400"/>
                <a:gd name="T14" fmla="*/ 92 w 420"/>
                <a:gd name="T15" fmla="*/ 116 h 400"/>
                <a:gd name="T16" fmla="*/ 148 w 420"/>
                <a:gd name="T17" fmla="*/ 118 h 400"/>
                <a:gd name="T18" fmla="*/ 160 w 420"/>
                <a:gd name="T19" fmla="*/ 124 h 400"/>
                <a:gd name="T20" fmla="*/ 160 w 420"/>
                <a:gd name="T21" fmla="*/ 144 h 400"/>
                <a:gd name="T22" fmla="*/ 178 w 420"/>
                <a:gd name="T23" fmla="*/ 168 h 400"/>
                <a:gd name="T24" fmla="*/ 188 w 420"/>
                <a:gd name="T25" fmla="*/ 184 h 400"/>
                <a:gd name="T26" fmla="*/ 210 w 420"/>
                <a:gd name="T27" fmla="*/ 194 h 400"/>
                <a:gd name="T28" fmla="*/ 226 w 420"/>
                <a:gd name="T29" fmla="*/ 194 h 400"/>
                <a:gd name="T30" fmla="*/ 236 w 420"/>
                <a:gd name="T31" fmla="*/ 188 h 400"/>
                <a:gd name="T32" fmla="*/ 240 w 420"/>
                <a:gd name="T33" fmla="*/ 182 h 400"/>
                <a:gd name="T34" fmla="*/ 248 w 420"/>
                <a:gd name="T35" fmla="*/ 184 h 400"/>
                <a:gd name="T36" fmla="*/ 250 w 420"/>
                <a:gd name="T37" fmla="*/ 176 h 400"/>
                <a:gd name="T38" fmla="*/ 252 w 420"/>
                <a:gd name="T39" fmla="*/ 170 h 400"/>
                <a:gd name="T40" fmla="*/ 264 w 420"/>
                <a:gd name="T41" fmla="*/ 176 h 400"/>
                <a:gd name="T42" fmla="*/ 284 w 420"/>
                <a:gd name="T43" fmla="*/ 190 h 400"/>
                <a:gd name="T44" fmla="*/ 324 w 420"/>
                <a:gd name="T45" fmla="*/ 202 h 400"/>
                <a:gd name="T46" fmla="*/ 334 w 420"/>
                <a:gd name="T47" fmla="*/ 200 h 400"/>
                <a:gd name="T48" fmla="*/ 348 w 420"/>
                <a:gd name="T49" fmla="*/ 200 h 400"/>
                <a:gd name="T50" fmla="*/ 364 w 420"/>
                <a:gd name="T51" fmla="*/ 210 h 400"/>
                <a:gd name="T52" fmla="*/ 374 w 420"/>
                <a:gd name="T53" fmla="*/ 224 h 400"/>
                <a:gd name="T54" fmla="*/ 392 w 420"/>
                <a:gd name="T55" fmla="*/ 250 h 400"/>
                <a:gd name="T56" fmla="*/ 398 w 420"/>
                <a:gd name="T57" fmla="*/ 252 h 400"/>
                <a:gd name="T58" fmla="*/ 406 w 420"/>
                <a:gd name="T59" fmla="*/ 264 h 400"/>
                <a:gd name="T60" fmla="*/ 408 w 420"/>
                <a:gd name="T61" fmla="*/ 280 h 400"/>
                <a:gd name="T62" fmla="*/ 410 w 420"/>
                <a:gd name="T63" fmla="*/ 288 h 400"/>
                <a:gd name="T64" fmla="*/ 398 w 420"/>
                <a:gd name="T65" fmla="*/ 300 h 400"/>
                <a:gd name="T66" fmla="*/ 390 w 420"/>
                <a:gd name="T67" fmla="*/ 314 h 400"/>
                <a:gd name="T68" fmla="*/ 406 w 420"/>
                <a:gd name="T69" fmla="*/ 348 h 400"/>
                <a:gd name="T70" fmla="*/ 418 w 420"/>
                <a:gd name="T71" fmla="*/ 368 h 400"/>
                <a:gd name="T72" fmla="*/ 418 w 420"/>
                <a:gd name="T73" fmla="*/ 388 h 400"/>
                <a:gd name="T74" fmla="*/ 406 w 420"/>
                <a:gd name="T75" fmla="*/ 400 h 400"/>
                <a:gd name="T76" fmla="*/ 364 w 420"/>
                <a:gd name="T77" fmla="*/ 390 h 400"/>
                <a:gd name="T78" fmla="*/ 282 w 420"/>
                <a:gd name="T79" fmla="*/ 368 h 400"/>
                <a:gd name="T80" fmla="*/ 278 w 420"/>
                <a:gd name="T81" fmla="*/ 364 h 400"/>
                <a:gd name="T82" fmla="*/ 284 w 420"/>
                <a:gd name="T83" fmla="*/ 350 h 400"/>
                <a:gd name="T84" fmla="*/ 296 w 420"/>
                <a:gd name="T85" fmla="*/ 336 h 400"/>
                <a:gd name="T86" fmla="*/ 288 w 420"/>
                <a:gd name="T87" fmla="*/ 310 h 400"/>
                <a:gd name="T88" fmla="*/ 272 w 420"/>
                <a:gd name="T89" fmla="*/ 290 h 400"/>
                <a:gd name="T90" fmla="*/ 256 w 420"/>
                <a:gd name="T91" fmla="*/ 284 h 400"/>
                <a:gd name="T92" fmla="*/ 204 w 420"/>
                <a:gd name="T93" fmla="*/ 232 h 400"/>
                <a:gd name="T94" fmla="*/ 194 w 420"/>
                <a:gd name="T95" fmla="*/ 222 h 400"/>
                <a:gd name="T96" fmla="*/ 178 w 420"/>
                <a:gd name="T97" fmla="*/ 216 h 400"/>
                <a:gd name="T98" fmla="*/ 176 w 420"/>
                <a:gd name="T99" fmla="*/ 200 h 400"/>
                <a:gd name="T100" fmla="*/ 164 w 420"/>
                <a:gd name="T101" fmla="*/ 200 h 400"/>
                <a:gd name="T102" fmla="*/ 162 w 420"/>
                <a:gd name="T103" fmla="*/ 202 h 400"/>
                <a:gd name="T104" fmla="*/ 162 w 420"/>
                <a:gd name="T105" fmla="*/ 218 h 400"/>
                <a:gd name="T106" fmla="*/ 152 w 420"/>
                <a:gd name="T107" fmla="*/ 220 h 400"/>
                <a:gd name="T108" fmla="*/ 144 w 420"/>
                <a:gd name="T109" fmla="*/ 214 h 400"/>
                <a:gd name="T110" fmla="*/ 136 w 420"/>
                <a:gd name="T111" fmla="*/ 216 h 400"/>
                <a:gd name="T112" fmla="*/ 130 w 420"/>
                <a:gd name="T113" fmla="*/ 246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20" h="400">
                  <a:moveTo>
                    <a:pt x="0" y="0"/>
                  </a:moveTo>
                  <a:lnTo>
                    <a:pt x="0" y="0"/>
                  </a:lnTo>
                  <a:lnTo>
                    <a:pt x="14" y="2"/>
                  </a:lnTo>
                  <a:lnTo>
                    <a:pt x="24" y="4"/>
                  </a:lnTo>
                  <a:lnTo>
                    <a:pt x="26" y="6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18"/>
                  </a:lnTo>
                  <a:lnTo>
                    <a:pt x="28" y="24"/>
                  </a:lnTo>
                  <a:lnTo>
                    <a:pt x="30" y="32"/>
                  </a:lnTo>
                  <a:lnTo>
                    <a:pt x="30" y="32"/>
                  </a:lnTo>
                  <a:lnTo>
                    <a:pt x="40" y="56"/>
                  </a:lnTo>
                  <a:lnTo>
                    <a:pt x="44" y="64"/>
                  </a:lnTo>
                  <a:lnTo>
                    <a:pt x="50" y="72"/>
                  </a:lnTo>
                  <a:lnTo>
                    <a:pt x="56" y="78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78" y="94"/>
                  </a:lnTo>
                  <a:lnTo>
                    <a:pt x="86" y="102"/>
                  </a:lnTo>
                  <a:lnTo>
                    <a:pt x="88" y="108"/>
                  </a:lnTo>
                  <a:lnTo>
                    <a:pt x="88" y="114"/>
                  </a:lnTo>
                  <a:lnTo>
                    <a:pt x="88" y="114"/>
                  </a:lnTo>
                  <a:lnTo>
                    <a:pt x="90" y="116"/>
                  </a:lnTo>
                  <a:lnTo>
                    <a:pt x="92" y="116"/>
                  </a:lnTo>
                  <a:lnTo>
                    <a:pt x="100" y="118"/>
                  </a:lnTo>
                  <a:lnTo>
                    <a:pt x="122" y="118"/>
                  </a:lnTo>
                  <a:lnTo>
                    <a:pt x="148" y="118"/>
                  </a:lnTo>
                  <a:lnTo>
                    <a:pt x="160" y="118"/>
                  </a:lnTo>
                  <a:lnTo>
                    <a:pt x="160" y="118"/>
                  </a:lnTo>
                  <a:lnTo>
                    <a:pt x="160" y="124"/>
                  </a:lnTo>
                  <a:lnTo>
                    <a:pt x="158" y="130"/>
                  </a:lnTo>
                  <a:lnTo>
                    <a:pt x="158" y="138"/>
                  </a:lnTo>
                  <a:lnTo>
                    <a:pt x="160" y="144"/>
                  </a:lnTo>
                  <a:lnTo>
                    <a:pt x="162" y="148"/>
                  </a:lnTo>
                  <a:lnTo>
                    <a:pt x="162" y="148"/>
                  </a:lnTo>
                  <a:lnTo>
                    <a:pt x="178" y="168"/>
                  </a:lnTo>
                  <a:lnTo>
                    <a:pt x="184" y="178"/>
                  </a:lnTo>
                  <a:lnTo>
                    <a:pt x="188" y="184"/>
                  </a:lnTo>
                  <a:lnTo>
                    <a:pt x="188" y="184"/>
                  </a:lnTo>
                  <a:lnTo>
                    <a:pt x="192" y="188"/>
                  </a:lnTo>
                  <a:lnTo>
                    <a:pt x="200" y="192"/>
                  </a:lnTo>
                  <a:lnTo>
                    <a:pt x="210" y="194"/>
                  </a:lnTo>
                  <a:lnTo>
                    <a:pt x="216" y="196"/>
                  </a:lnTo>
                  <a:lnTo>
                    <a:pt x="216" y="196"/>
                  </a:lnTo>
                  <a:lnTo>
                    <a:pt x="226" y="194"/>
                  </a:lnTo>
                  <a:lnTo>
                    <a:pt x="232" y="192"/>
                  </a:lnTo>
                  <a:lnTo>
                    <a:pt x="236" y="188"/>
                  </a:lnTo>
                  <a:lnTo>
                    <a:pt x="236" y="188"/>
                  </a:lnTo>
                  <a:lnTo>
                    <a:pt x="236" y="182"/>
                  </a:lnTo>
                  <a:lnTo>
                    <a:pt x="238" y="182"/>
                  </a:lnTo>
                  <a:lnTo>
                    <a:pt x="240" y="182"/>
                  </a:lnTo>
                  <a:lnTo>
                    <a:pt x="240" y="182"/>
                  </a:lnTo>
                  <a:lnTo>
                    <a:pt x="246" y="184"/>
                  </a:lnTo>
                  <a:lnTo>
                    <a:pt x="248" y="184"/>
                  </a:lnTo>
                  <a:lnTo>
                    <a:pt x="250" y="182"/>
                  </a:lnTo>
                  <a:lnTo>
                    <a:pt x="250" y="182"/>
                  </a:lnTo>
                  <a:lnTo>
                    <a:pt x="250" y="176"/>
                  </a:lnTo>
                  <a:lnTo>
                    <a:pt x="250" y="172"/>
                  </a:lnTo>
                  <a:lnTo>
                    <a:pt x="252" y="170"/>
                  </a:lnTo>
                  <a:lnTo>
                    <a:pt x="252" y="170"/>
                  </a:lnTo>
                  <a:lnTo>
                    <a:pt x="254" y="170"/>
                  </a:lnTo>
                  <a:lnTo>
                    <a:pt x="256" y="170"/>
                  </a:lnTo>
                  <a:lnTo>
                    <a:pt x="264" y="176"/>
                  </a:lnTo>
                  <a:lnTo>
                    <a:pt x="272" y="184"/>
                  </a:lnTo>
                  <a:lnTo>
                    <a:pt x="284" y="190"/>
                  </a:lnTo>
                  <a:lnTo>
                    <a:pt x="284" y="190"/>
                  </a:lnTo>
                  <a:lnTo>
                    <a:pt x="298" y="196"/>
                  </a:lnTo>
                  <a:lnTo>
                    <a:pt x="308" y="200"/>
                  </a:lnTo>
                  <a:lnTo>
                    <a:pt x="324" y="202"/>
                  </a:lnTo>
                  <a:lnTo>
                    <a:pt x="324" y="202"/>
                  </a:lnTo>
                  <a:lnTo>
                    <a:pt x="330" y="202"/>
                  </a:lnTo>
                  <a:lnTo>
                    <a:pt x="334" y="200"/>
                  </a:lnTo>
                  <a:lnTo>
                    <a:pt x="334" y="200"/>
                  </a:lnTo>
                  <a:lnTo>
                    <a:pt x="344" y="200"/>
                  </a:lnTo>
                  <a:lnTo>
                    <a:pt x="348" y="200"/>
                  </a:lnTo>
                  <a:lnTo>
                    <a:pt x="352" y="200"/>
                  </a:lnTo>
                  <a:lnTo>
                    <a:pt x="352" y="200"/>
                  </a:lnTo>
                  <a:lnTo>
                    <a:pt x="364" y="210"/>
                  </a:lnTo>
                  <a:lnTo>
                    <a:pt x="370" y="216"/>
                  </a:lnTo>
                  <a:lnTo>
                    <a:pt x="374" y="224"/>
                  </a:lnTo>
                  <a:lnTo>
                    <a:pt x="374" y="224"/>
                  </a:lnTo>
                  <a:lnTo>
                    <a:pt x="378" y="232"/>
                  </a:lnTo>
                  <a:lnTo>
                    <a:pt x="386" y="242"/>
                  </a:lnTo>
                  <a:lnTo>
                    <a:pt x="392" y="250"/>
                  </a:lnTo>
                  <a:lnTo>
                    <a:pt x="396" y="252"/>
                  </a:lnTo>
                  <a:lnTo>
                    <a:pt x="398" y="252"/>
                  </a:lnTo>
                  <a:lnTo>
                    <a:pt x="398" y="252"/>
                  </a:lnTo>
                  <a:lnTo>
                    <a:pt x="402" y="254"/>
                  </a:lnTo>
                  <a:lnTo>
                    <a:pt x="404" y="256"/>
                  </a:lnTo>
                  <a:lnTo>
                    <a:pt x="406" y="264"/>
                  </a:lnTo>
                  <a:lnTo>
                    <a:pt x="406" y="276"/>
                  </a:lnTo>
                  <a:lnTo>
                    <a:pt x="406" y="276"/>
                  </a:lnTo>
                  <a:lnTo>
                    <a:pt x="408" y="280"/>
                  </a:lnTo>
                  <a:lnTo>
                    <a:pt x="410" y="284"/>
                  </a:lnTo>
                  <a:lnTo>
                    <a:pt x="410" y="288"/>
                  </a:lnTo>
                  <a:lnTo>
                    <a:pt x="410" y="288"/>
                  </a:lnTo>
                  <a:lnTo>
                    <a:pt x="408" y="290"/>
                  </a:lnTo>
                  <a:lnTo>
                    <a:pt x="404" y="294"/>
                  </a:lnTo>
                  <a:lnTo>
                    <a:pt x="398" y="300"/>
                  </a:lnTo>
                  <a:lnTo>
                    <a:pt x="394" y="306"/>
                  </a:lnTo>
                  <a:lnTo>
                    <a:pt x="394" y="306"/>
                  </a:lnTo>
                  <a:lnTo>
                    <a:pt x="390" y="314"/>
                  </a:lnTo>
                  <a:lnTo>
                    <a:pt x="392" y="324"/>
                  </a:lnTo>
                  <a:lnTo>
                    <a:pt x="396" y="334"/>
                  </a:lnTo>
                  <a:lnTo>
                    <a:pt x="406" y="348"/>
                  </a:lnTo>
                  <a:lnTo>
                    <a:pt x="406" y="348"/>
                  </a:lnTo>
                  <a:lnTo>
                    <a:pt x="418" y="366"/>
                  </a:lnTo>
                  <a:lnTo>
                    <a:pt x="418" y="368"/>
                  </a:lnTo>
                  <a:lnTo>
                    <a:pt x="418" y="368"/>
                  </a:lnTo>
                  <a:lnTo>
                    <a:pt x="420" y="374"/>
                  </a:lnTo>
                  <a:lnTo>
                    <a:pt x="418" y="388"/>
                  </a:lnTo>
                  <a:lnTo>
                    <a:pt x="416" y="394"/>
                  </a:lnTo>
                  <a:lnTo>
                    <a:pt x="412" y="398"/>
                  </a:lnTo>
                  <a:lnTo>
                    <a:pt x="406" y="400"/>
                  </a:lnTo>
                  <a:lnTo>
                    <a:pt x="394" y="398"/>
                  </a:lnTo>
                  <a:lnTo>
                    <a:pt x="394" y="398"/>
                  </a:lnTo>
                  <a:lnTo>
                    <a:pt x="364" y="390"/>
                  </a:lnTo>
                  <a:lnTo>
                    <a:pt x="324" y="382"/>
                  </a:lnTo>
                  <a:lnTo>
                    <a:pt x="292" y="374"/>
                  </a:lnTo>
                  <a:lnTo>
                    <a:pt x="282" y="368"/>
                  </a:lnTo>
                  <a:lnTo>
                    <a:pt x="278" y="366"/>
                  </a:lnTo>
                  <a:lnTo>
                    <a:pt x="278" y="364"/>
                  </a:lnTo>
                  <a:lnTo>
                    <a:pt x="278" y="364"/>
                  </a:lnTo>
                  <a:lnTo>
                    <a:pt x="278" y="360"/>
                  </a:lnTo>
                  <a:lnTo>
                    <a:pt x="280" y="356"/>
                  </a:lnTo>
                  <a:lnTo>
                    <a:pt x="284" y="350"/>
                  </a:lnTo>
                  <a:lnTo>
                    <a:pt x="292" y="344"/>
                  </a:lnTo>
                  <a:lnTo>
                    <a:pt x="296" y="336"/>
                  </a:lnTo>
                  <a:lnTo>
                    <a:pt x="296" y="336"/>
                  </a:lnTo>
                  <a:lnTo>
                    <a:pt x="296" y="332"/>
                  </a:lnTo>
                  <a:lnTo>
                    <a:pt x="294" y="326"/>
                  </a:lnTo>
                  <a:lnTo>
                    <a:pt x="288" y="310"/>
                  </a:lnTo>
                  <a:lnTo>
                    <a:pt x="284" y="302"/>
                  </a:lnTo>
                  <a:lnTo>
                    <a:pt x="278" y="296"/>
                  </a:lnTo>
                  <a:lnTo>
                    <a:pt x="272" y="290"/>
                  </a:lnTo>
                  <a:lnTo>
                    <a:pt x="264" y="288"/>
                  </a:lnTo>
                  <a:lnTo>
                    <a:pt x="264" y="288"/>
                  </a:lnTo>
                  <a:lnTo>
                    <a:pt x="256" y="284"/>
                  </a:lnTo>
                  <a:lnTo>
                    <a:pt x="246" y="276"/>
                  </a:lnTo>
                  <a:lnTo>
                    <a:pt x="224" y="254"/>
                  </a:lnTo>
                  <a:lnTo>
                    <a:pt x="204" y="232"/>
                  </a:lnTo>
                  <a:lnTo>
                    <a:pt x="198" y="224"/>
                  </a:lnTo>
                  <a:lnTo>
                    <a:pt x="194" y="222"/>
                  </a:lnTo>
                  <a:lnTo>
                    <a:pt x="194" y="222"/>
                  </a:lnTo>
                  <a:lnTo>
                    <a:pt x="186" y="220"/>
                  </a:lnTo>
                  <a:lnTo>
                    <a:pt x="178" y="216"/>
                  </a:lnTo>
                  <a:lnTo>
                    <a:pt x="178" y="216"/>
                  </a:lnTo>
                  <a:lnTo>
                    <a:pt x="178" y="212"/>
                  </a:lnTo>
                  <a:lnTo>
                    <a:pt x="176" y="208"/>
                  </a:lnTo>
                  <a:lnTo>
                    <a:pt x="176" y="200"/>
                  </a:lnTo>
                  <a:lnTo>
                    <a:pt x="176" y="200"/>
                  </a:lnTo>
                  <a:lnTo>
                    <a:pt x="170" y="200"/>
                  </a:lnTo>
                  <a:lnTo>
                    <a:pt x="164" y="200"/>
                  </a:lnTo>
                  <a:lnTo>
                    <a:pt x="162" y="200"/>
                  </a:lnTo>
                  <a:lnTo>
                    <a:pt x="162" y="202"/>
                  </a:lnTo>
                  <a:lnTo>
                    <a:pt x="162" y="202"/>
                  </a:lnTo>
                  <a:lnTo>
                    <a:pt x="162" y="212"/>
                  </a:lnTo>
                  <a:lnTo>
                    <a:pt x="162" y="216"/>
                  </a:lnTo>
                  <a:lnTo>
                    <a:pt x="162" y="218"/>
                  </a:lnTo>
                  <a:lnTo>
                    <a:pt x="162" y="218"/>
                  </a:lnTo>
                  <a:lnTo>
                    <a:pt x="156" y="218"/>
                  </a:lnTo>
                  <a:lnTo>
                    <a:pt x="152" y="220"/>
                  </a:lnTo>
                  <a:lnTo>
                    <a:pt x="150" y="218"/>
                  </a:lnTo>
                  <a:lnTo>
                    <a:pt x="150" y="218"/>
                  </a:lnTo>
                  <a:lnTo>
                    <a:pt x="144" y="214"/>
                  </a:lnTo>
                  <a:lnTo>
                    <a:pt x="142" y="214"/>
                  </a:lnTo>
                  <a:lnTo>
                    <a:pt x="138" y="214"/>
                  </a:lnTo>
                  <a:lnTo>
                    <a:pt x="136" y="216"/>
                  </a:lnTo>
                  <a:lnTo>
                    <a:pt x="134" y="222"/>
                  </a:lnTo>
                  <a:lnTo>
                    <a:pt x="132" y="232"/>
                  </a:lnTo>
                  <a:lnTo>
                    <a:pt x="130" y="246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61" name="Freeform 34"/>
            <p:cNvSpPr>
              <a:spLocks/>
            </p:cNvSpPr>
            <p:nvPr/>
          </p:nvSpPr>
          <p:spPr bwMode="auto">
            <a:xfrm>
              <a:off x="5673906" y="1865352"/>
              <a:ext cx="1247547" cy="935004"/>
            </a:xfrm>
            <a:custGeom>
              <a:avLst/>
              <a:gdLst>
                <a:gd name="T0" fmla="*/ 18 w 632"/>
                <a:gd name="T1" fmla="*/ 242 h 462"/>
                <a:gd name="T2" fmla="*/ 32 w 632"/>
                <a:gd name="T3" fmla="*/ 240 h 462"/>
                <a:gd name="T4" fmla="*/ 66 w 632"/>
                <a:gd name="T5" fmla="*/ 238 h 462"/>
                <a:gd name="T6" fmla="*/ 82 w 632"/>
                <a:gd name="T7" fmla="*/ 236 h 462"/>
                <a:gd name="T8" fmla="*/ 106 w 632"/>
                <a:gd name="T9" fmla="*/ 222 h 462"/>
                <a:gd name="T10" fmla="*/ 134 w 632"/>
                <a:gd name="T11" fmla="*/ 220 h 462"/>
                <a:gd name="T12" fmla="*/ 158 w 632"/>
                <a:gd name="T13" fmla="*/ 216 h 462"/>
                <a:gd name="T14" fmla="*/ 158 w 632"/>
                <a:gd name="T15" fmla="*/ 172 h 462"/>
                <a:gd name="T16" fmla="*/ 162 w 632"/>
                <a:gd name="T17" fmla="*/ 160 h 462"/>
                <a:gd name="T18" fmla="*/ 186 w 632"/>
                <a:gd name="T19" fmla="*/ 162 h 462"/>
                <a:gd name="T20" fmla="*/ 212 w 632"/>
                <a:gd name="T21" fmla="*/ 148 h 462"/>
                <a:gd name="T22" fmla="*/ 212 w 632"/>
                <a:gd name="T23" fmla="*/ 122 h 462"/>
                <a:gd name="T24" fmla="*/ 206 w 632"/>
                <a:gd name="T25" fmla="*/ 94 h 462"/>
                <a:gd name="T26" fmla="*/ 228 w 632"/>
                <a:gd name="T27" fmla="*/ 76 h 462"/>
                <a:gd name="T28" fmla="*/ 230 w 632"/>
                <a:gd name="T29" fmla="*/ 64 h 462"/>
                <a:gd name="T30" fmla="*/ 254 w 632"/>
                <a:gd name="T31" fmla="*/ 48 h 462"/>
                <a:gd name="T32" fmla="*/ 280 w 632"/>
                <a:gd name="T33" fmla="*/ 38 h 462"/>
                <a:gd name="T34" fmla="*/ 312 w 632"/>
                <a:gd name="T35" fmla="*/ 36 h 462"/>
                <a:gd name="T36" fmla="*/ 362 w 632"/>
                <a:gd name="T37" fmla="*/ 26 h 462"/>
                <a:gd name="T38" fmla="*/ 406 w 632"/>
                <a:gd name="T39" fmla="*/ 20 h 462"/>
                <a:gd name="T40" fmla="*/ 440 w 632"/>
                <a:gd name="T41" fmla="*/ 0 h 462"/>
                <a:gd name="T42" fmla="*/ 496 w 632"/>
                <a:gd name="T43" fmla="*/ 26 h 462"/>
                <a:gd name="T44" fmla="*/ 506 w 632"/>
                <a:gd name="T45" fmla="*/ 42 h 462"/>
                <a:gd name="T46" fmla="*/ 500 w 632"/>
                <a:gd name="T47" fmla="*/ 70 h 462"/>
                <a:gd name="T48" fmla="*/ 538 w 632"/>
                <a:gd name="T49" fmla="*/ 78 h 462"/>
                <a:gd name="T50" fmla="*/ 574 w 632"/>
                <a:gd name="T51" fmla="*/ 84 h 462"/>
                <a:gd name="T52" fmla="*/ 592 w 632"/>
                <a:gd name="T53" fmla="*/ 106 h 462"/>
                <a:gd name="T54" fmla="*/ 598 w 632"/>
                <a:gd name="T55" fmla="*/ 156 h 462"/>
                <a:gd name="T56" fmla="*/ 630 w 632"/>
                <a:gd name="T57" fmla="*/ 242 h 462"/>
                <a:gd name="T58" fmla="*/ 608 w 632"/>
                <a:gd name="T59" fmla="*/ 288 h 462"/>
                <a:gd name="T60" fmla="*/ 576 w 632"/>
                <a:gd name="T61" fmla="*/ 296 h 462"/>
                <a:gd name="T62" fmla="*/ 540 w 632"/>
                <a:gd name="T63" fmla="*/ 268 h 462"/>
                <a:gd name="T64" fmla="*/ 494 w 632"/>
                <a:gd name="T65" fmla="*/ 282 h 462"/>
                <a:gd name="T66" fmla="*/ 426 w 632"/>
                <a:gd name="T67" fmla="*/ 290 h 462"/>
                <a:gd name="T68" fmla="*/ 390 w 632"/>
                <a:gd name="T69" fmla="*/ 308 h 462"/>
                <a:gd name="T70" fmla="*/ 362 w 632"/>
                <a:gd name="T71" fmla="*/ 338 h 462"/>
                <a:gd name="T72" fmla="*/ 350 w 632"/>
                <a:gd name="T73" fmla="*/ 346 h 462"/>
                <a:gd name="T74" fmla="*/ 312 w 632"/>
                <a:gd name="T75" fmla="*/ 360 h 462"/>
                <a:gd name="T76" fmla="*/ 340 w 632"/>
                <a:gd name="T77" fmla="*/ 366 h 462"/>
                <a:gd name="T78" fmla="*/ 360 w 632"/>
                <a:gd name="T79" fmla="*/ 372 h 462"/>
                <a:gd name="T80" fmla="*/ 366 w 632"/>
                <a:gd name="T81" fmla="*/ 374 h 462"/>
                <a:gd name="T82" fmla="*/ 370 w 632"/>
                <a:gd name="T83" fmla="*/ 366 h 462"/>
                <a:gd name="T84" fmla="*/ 380 w 632"/>
                <a:gd name="T85" fmla="*/ 372 h 462"/>
                <a:gd name="T86" fmla="*/ 384 w 632"/>
                <a:gd name="T87" fmla="*/ 388 h 462"/>
                <a:gd name="T88" fmla="*/ 384 w 632"/>
                <a:gd name="T89" fmla="*/ 398 h 462"/>
                <a:gd name="T90" fmla="*/ 398 w 632"/>
                <a:gd name="T91" fmla="*/ 398 h 462"/>
                <a:gd name="T92" fmla="*/ 410 w 632"/>
                <a:gd name="T93" fmla="*/ 396 h 462"/>
                <a:gd name="T94" fmla="*/ 420 w 632"/>
                <a:gd name="T95" fmla="*/ 424 h 462"/>
                <a:gd name="T96" fmla="*/ 402 w 632"/>
                <a:gd name="T97" fmla="*/ 418 h 462"/>
                <a:gd name="T98" fmla="*/ 396 w 632"/>
                <a:gd name="T99" fmla="*/ 428 h 462"/>
                <a:gd name="T100" fmla="*/ 384 w 632"/>
                <a:gd name="T101" fmla="*/ 428 h 462"/>
                <a:gd name="T102" fmla="*/ 378 w 632"/>
                <a:gd name="T103" fmla="*/ 404 h 462"/>
                <a:gd name="T104" fmla="*/ 374 w 632"/>
                <a:gd name="T105" fmla="*/ 392 h 462"/>
                <a:gd name="T106" fmla="*/ 358 w 632"/>
                <a:gd name="T107" fmla="*/ 398 h 462"/>
                <a:gd name="T108" fmla="*/ 360 w 632"/>
                <a:gd name="T109" fmla="*/ 414 h 462"/>
                <a:gd name="T110" fmla="*/ 370 w 632"/>
                <a:gd name="T111" fmla="*/ 426 h 4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32" h="462">
                  <a:moveTo>
                    <a:pt x="0" y="236"/>
                  </a:moveTo>
                  <a:lnTo>
                    <a:pt x="0" y="236"/>
                  </a:lnTo>
                  <a:lnTo>
                    <a:pt x="8" y="238"/>
                  </a:lnTo>
                  <a:lnTo>
                    <a:pt x="18" y="242"/>
                  </a:lnTo>
                  <a:lnTo>
                    <a:pt x="18" y="242"/>
                  </a:lnTo>
                  <a:lnTo>
                    <a:pt x="22" y="242"/>
                  </a:lnTo>
                  <a:lnTo>
                    <a:pt x="26" y="242"/>
                  </a:lnTo>
                  <a:lnTo>
                    <a:pt x="32" y="240"/>
                  </a:lnTo>
                  <a:lnTo>
                    <a:pt x="38" y="238"/>
                  </a:lnTo>
                  <a:lnTo>
                    <a:pt x="38" y="238"/>
                  </a:lnTo>
                  <a:lnTo>
                    <a:pt x="56" y="238"/>
                  </a:lnTo>
                  <a:lnTo>
                    <a:pt x="66" y="238"/>
                  </a:lnTo>
                  <a:lnTo>
                    <a:pt x="76" y="238"/>
                  </a:lnTo>
                  <a:lnTo>
                    <a:pt x="76" y="238"/>
                  </a:lnTo>
                  <a:lnTo>
                    <a:pt x="80" y="238"/>
                  </a:lnTo>
                  <a:lnTo>
                    <a:pt x="82" y="236"/>
                  </a:lnTo>
                  <a:lnTo>
                    <a:pt x="90" y="232"/>
                  </a:lnTo>
                  <a:lnTo>
                    <a:pt x="98" y="226"/>
                  </a:lnTo>
                  <a:lnTo>
                    <a:pt x="102" y="224"/>
                  </a:lnTo>
                  <a:lnTo>
                    <a:pt x="106" y="222"/>
                  </a:lnTo>
                  <a:lnTo>
                    <a:pt x="106" y="222"/>
                  </a:lnTo>
                  <a:lnTo>
                    <a:pt x="118" y="222"/>
                  </a:lnTo>
                  <a:lnTo>
                    <a:pt x="134" y="220"/>
                  </a:lnTo>
                  <a:lnTo>
                    <a:pt x="134" y="220"/>
                  </a:lnTo>
                  <a:lnTo>
                    <a:pt x="144" y="220"/>
                  </a:lnTo>
                  <a:lnTo>
                    <a:pt x="156" y="218"/>
                  </a:lnTo>
                  <a:lnTo>
                    <a:pt x="156" y="218"/>
                  </a:lnTo>
                  <a:lnTo>
                    <a:pt x="158" y="216"/>
                  </a:lnTo>
                  <a:lnTo>
                    <a:pt x="160" y="214"/>
                  </a:lnTo>
                  <a:lnTo>
                    <a:pt x="162" y="208"/>
                  </a:lnTo>
                  <a:lnTo>
                    <a:pt x="162" y="190"/>
                  </a:lnTo>
                  <a:lnTo>
                    <a:pt x="158" y="172"/>
                  </a:lnTo>
                  <a:lnTo>
                    <a:pt x="158" y="164"/>
                  </a:lnTo>
                  <a:lnTo>
                    <a:pt x="158" y="162"/>
                  </a:lnTo>
                  <a:lnTo>
                    <a:pt x="158" y="162"/>
                  </a:lnTo>
                  <a:lnTo>
                    <a:pt x="162" y="160"/>
                  </a:lnTo>
                  <a:lnTo>
                    <a:pt x="164" y="160"/>
                  </a:lnTo>
                  <a:lnTo>
                    <a:pt x="172" y="160"/>
                  </a:lnTo>
                  <a:lnTo>
                    <a:pt x="186" y="162"/>
                  </a:lnTo>
                  <a:lnTo>
                    <a:pt x="186" y="162"/>
                  </a:lnTo>
                  <a:lnTo>
                    <a:pt x="194" y="160"/>
                  </a:lnTo>
                  <a:lnTo>
                    <a:pt x="200" y="158"/>
                  </a:lnTo>
                  <a:lnTo>
                    <a:pt x="206" y="154"/>
                  </a:lnTo>
                  <a:lnTo>
                    <a:pt x="212" y="148"/>
                  </a:lnTo>
                  <a:lnTo>
                    <a:pt x="216" y="138"/>
                  </a:lnTo>
                  <a:lnTo>
                    <a:pt x="218" y="130"/>
                  </a:lnTo>
                  <a:lnTo>
                    <a:pt x="218" y="130"/>
                  </a:lnTo>
                  <a:lnTo>
                    <a:pt x="212" y="122"/>
                  </a:lnTo>
                  <a:lnTo>
                    <a:pt x="208" y="110"/>
                  </a:lnTo>
                  <a:lnTo>
                    <a:pt x="208" y="110"/>
                  </a:lnTo>
                  <a:lnTo>
                    <a:pt x="206" y="100"/>
                  </a:lnTo>
                  <a:lnTo>
                    <a:pt x="206" y="94"/>
                  </a:lnTo>
                  <a:lnTo>
                    <a:pt x="210" y="92"/>
                  </a:lnTo>
                  <a:lnTo>
                    <a:pt x="210" y="92"/>
                  </a:lnTo>
                  <a:lnTo>
                    <a:pt x="220" y="86"/>
                  </a:lnTo>
                  <a:lnTo>
                    <a:pt x="228" y="76"/>
                  </a:lnTo>
                  <a:lnTo>
                    <a:pt x="228" y="76"/>
                  </a:lnTo>
                  <a:lnTo>
                    <a:pt x="230" y="72"/>
                  </a:lnTo>
                  <a:lnTo>
                    <a:pt x="230" y="68"/>
                  </a:lnTo>
                  <a:lnTo>
                    <a:pt x="230" y="64"/>
                  </a:lnTo>
                  <a:lnTo>
                    <a:pt x="234" y="62"/>
                  </a:lnTo>
                  <a:lnTo>
                    <a:pt x="234" y="62"/>
                  </a:lnTo>
                  <a:lnTo>
                    <a:pt x="242" y="56"/>
                  </a:lnTo>
                  <a:lnTo>
                    <a:pt x="254" y="48"/>
                  </a:lnTo>
                  <a:lnTo>
                    <a:pt x="268" y="40"/>
                  </a:lnTo>
                  <a:lnTo>
                    <a:pt x="274" y="38"/>
                  </a:lnTo>
                  <a:lnTo>
                    <a:pt x="280" y="38"/>
                  </a:lnTo>
                  <a:lnTo>
                    <a:pt x="280" y="38"/>
                  </a:lnTo>
                  <a:lnTo>
                    <a:pt x="300" y="42"/>
                  </a:lnTo>
                  <a:lnTo>
                    <a:pt x="310" y="42"/>
                  </a:lnTo>
                  <a:lnTo>
                    <a:pt x="310" y="42"/>
                  </a:lnTo>
                  <a:lnTo>
                    <a:pt x="312" y="36"/>
                  </a:lnTo>
                  <a:lnTo>
                    <a:pt x="316" y="32"/>
                  </a:lnTo>
                  <a:lnTo>
                    <a:pt x="320" y="30"/>
                  </a:lnTo>
                  <a:lnTo>
                    <a:pt x="320" y="30"/>
                  </a:lnTo>
                  <a:lnTo>
                    <a:pt x="362" y="26"/>
                  </a:lnTo>
                  <a:lnTo>
                    <a:pt x="390" y="24"/>
                  </a:lnTo>
                  <a:lnTo>
                    <a:pt x="400" y="22"/>
                  </a:lnTo>
                  <a:lnTo>
                    <a:pt x="406" y="20"/>
                  </a:lnTo>
                  <a:lnTo>
                    <a:pt x="406" y="20"/>
                  </a:lnTo>
                  <a:lnTo>
                    <a:pt x="422" y="6"/>
                  </a:lnTo>
                  <a:lnTo>
                    <a:pt x="432" y="2"/>
                  </a:lnTo>
                  <a:lnTo>
                    <a:pt x="436" y="0"/>
                  </a:lnTo>
                  <a:lnTo>
                    <a:pt x="440" y="0"/>
                  </a:lnTo>
                  <a:lnTo>
                    <a:pt x="440" y="0"/>
                  </a:lnTo>
                  <a:lnTo>
                    <a:pt x="456" y="6"/>
                  </a:lnTo>
                  <a:lnTo>
                    <a:pt x="476" y="16"/>
                  </a:lnTo>
                  <a:lnTo>
                    <a:pt x="496" y="26"/>
                  </a:lnTo>
                  <a:lnTo>
                    <a:pt x="502" y="32"/>
                  </a:lnTo>
                  <a:lnTo>
                    <a:pt x="506" y="36"/>
                  </a:lnTo>
                  <a:lnTo>
                    <a:pt x="506" y="36"/>
                  </a:lnTo>
                  <a:lnTo>
                    <a:pt x="506" y="42"/>
                  </a:lnTo>
                  <a:lnTo>
                    <a:pt x="504" y="46"/>
                  </a:lnTo>
                  <a:lnTo>
                    <a:pt x="500" y="58"/>
                  </a:lnTo>
                  <a:lnTo>
                    <a:pt x="500" y="64"/>
                  </a:lnTo>
                  <a:lnTo>
                    <a:pt x="500" y="70"/>
                  </a:lnTo>
                  <a:lnTo>
                    <a:pt x="502" y="72"/>
                  </a:lnTo>
                  <a:lnTo>
                    <a:pt x="508" y="74"/>
                  </a:lnTo>
                  <a:lnTo>
                    <a:pt x="508" y="74"/>
                  </a:lnTo>
                  <a:lnTo>
                    <a:pt x="538" y="78"/>
                  </a:lnTo>
                  <a:lnTo>
                    <a:pt x="554" y="78"/>
                  </a:lnTo>
                  <a:lnTo>
                    <a:pt x="566" y="82"/>
                  </a:lnTo>
                  <a:lnTo>
                    <a:pt x="566" y="82"/>
                  </a:lnTo>
                  <a:lnTo>
                    <a:pt x="574" y="84"/>
                  </a:lnTo>
                  <a:lnTo>
                    <a:pt x="580" y="90"/>
                  </a:lnTo>
                  <a:lnTo>
                    <a:pt x="586" y="96"/>
                  </a:lnTo>
                  <a:lnTo>
                    <a:pt x="592" y="106"/>
                  </a:lnTo>
                  <a:lnTo>
                    <a:pt x="592" y="106"/>
                  </a:lnTo>
                  <a:lnTo>
                    <a:pt x="594" y="120"/>
                  </a:lnTo>
                  <a:lnTo>
                    <a:pt x="596" y="136"/>
                  </a:lnTo>
                  <a:lnTo>
                    <a:pt x="598" y="156"/>
                  </a:lnTo>
                  <a:lnTo>
                    <a:pt x="598" y="156"/>
                  </a:lnTo>
                  <a:lnTo>
                    <a:pt x="630" y="228"/>
                  </a:lnTo>
                  <a:lnTo>
                    <a:pt x="630" y="228"/>
                  </a:lnTo>
                  <a:lnTo>
                    <a:pt x="632" y="232"/>
                  </a:lnTo>
                  <a:lnTo>
                    <a:pt x="630" y="242"/>
                  </a:lnTo>
                  <a:lnTo>
                    <a:pt x="628" y="254"/>
                  </a:lnTo>
                  <a:lnTo>
                    <a:pt x="624" y="266"/>
                  </a:lnTo>
                  <a:lnTo>
                    <a:pt x="618" y="278"/>
                  </a:lnTo>
                  <a:lnTo>
                    <a:pt x="608" y="288"/>
                  </a:lnTo>
                  <a:lnTo>
                    <a:pt x="602" y="292"/>
                  </a:lnTo>
                  <a:lnTo>
                    <a:pt x="594" y="294"/>
                  </a:lnTo>
                  <a:lnTo>
                    <a:pt x="586" y="296"/>
                  </a:lnTo>
                  <a:lnTo>
                    <a:pt x="576" y="296"/>
                  </a:lnTo>
                  <a:lnTo>
                    <a:pt x="576" y="296"/>
                  </a:lnTo>
                  <a:lnTo>
                    <a:pt x="560" y="280"/>
                  </a:lnTo>
                  <a:lnTo>
                    <a:pt x="546" y="272"/>
                  </a:lnTo>
                  <a:lnTo>
                    <a:pt x="540" y="268"/>
                  </a:lnTo>
                  <a:lnTo>
                    <a:pt x="534" y="268"/>
                  </a:lnTo>
                  <a:lnTo>
                    <a:pt x="534" y="268"/>
                  </a:lnTo>
                  <a:lnTo>
                    <a:pt x="510" y="278"/>
                  </a:lnTo>
                  <a:lnTo>
                    <a:pt x="494" y="282"/>
                  </a:lnTo>
                  <a:lnTo>
                    <a:pt x="482" y="286"/>
                  </a:lnTo>
                  <a:lnTo>
                    <a:pt x="482" y="286"/>
                  </a:lnTo>
                  <a:lnTo>
                    <a:pt x="454" y="286"/>
                  </a:lnTo>
                  <a:lnTo>
                    <a:pt x="426" y="290"/>
                  </a:lnTo>
                  <a:lnTo>
                    <a:pt x="426" y="290"/>
                  </a:lnTo>
                  <a:lnTo>
                    <a:pt x="418" y="292"/>
                  </a:lnTo>
                  <a:lnTo>
                    <a:pt x="410" y="296"/>
                  </a:lnTo>
                  <a:lnTo>
                    <a:pt x="390" y="308"/>
                  </a:lnTo>
                  <a:lnTo>
                    <a:pt x="372" y="322"/>
                  </a:lnTo>
                  <a:lnTo>
                    <a:pt x="366" y="330"/>
                  </a:lnTo>
                  <a:lnTo>
                    <a:pt x="362" y="338"/>
                  </a:lnTo>
                  <a:lnTo>
                    <a:pt x="362" y="338"/>
                  </a:lnTo>
                  <a:lnTo>
                    <a:pt x="358" y="342"/>
                  </a:lnTo>
                  <a:lnTo>
                    <a:pt x="356" y="346"/>
                  </a:lnTo>
                  <a:lnTo>
                    <a:pt x="352" y="346"/>
                  </a:lnTo>
                  <a:lnTo>
                    <a:pt x="350" y="346"/>
                  </a:lnTo>
                  <a:lnTo>
                    <a:pt x="346" y="344"/>
                  </a:lnTo>
                  <a:lnTo>
                    <a:pt x="342" y="342"/>
                  </a:lnTo>
                  <a:lnTo>
                    <a:pt x="342" y="342"/>
                  </a:lnTo>
                  <a:lnTo>
                    <a:pt x="312" y="360"/>
                  </a:lnTo>
                  <a:lnTo>
                    <a:pt x="312" y="360"/>
                  </a:lnTo>
                  <a:lnTo>
                    <a:pt x="322" y="364"/>
                  </a:lnTo>
                  <a:lnTo>
                    <a:pt x="332" y="366"/>
                  </a:lnTo>
                  <a:lnTo>
                    <a:pt x="340" y="366"/>
                  </a:lnTo>
                  <a:lnTo>
                    <a:pt x="340" y="366"/>
                  </a:lnTo>
                  <a:lnTo>
                    <a:pt x="346" y="364"/>
                  </a:lnTo>
                  <a:lnTo>
                    <a:pt x="352" y="366"/>
                  </a:lnTo>
                  <a:lnTo>
                    <a:pt x="360" y="372"/>
                  </a:lnTo>
                  <a:lnTo>
                    <a:pt x="360" y="372"/>
                  </a:lnTo>
                  <a:lnTo>
                    <a:pt x="362" y="374"/>
                  </a:lnTo>
                  <a:lnTo>
                    <a:pt x="364" y="376"/>
                  </a:lnTo>
                  <a:lnTo>
                    <a:pt x="366" y="374"/>
                  </a:lnTo>
                  <a:lnTo>
                    <a:pt x="366" y="374"/>
                  </a:lnTo>
                  <a:lnTo>
                    <a:pt x="368" y="372"/>
                  </a:lnTo>
                  <a:lnTo>
                    <a:pt x="368" y="368"/>
                  </a:lnTo>
                  <a:lnTo>
                    <a:pt x="370" y="366"/>
                  </a:lnTo>
                  <a:lnTo>
                    <a:pt x="372" y="366"/>
                  </a:lnTo>
                  <a:lnTo>
                    <a:pt x="372" y="366"/>
                  </a:lnTo>
                  <a:lnTo>
                    <a:pt x="376" y="368"/>
                  </a:lnTo>
                  <a:lnTo>
                    <a:pt x="380" y="372"/>
                  </a:lnTo>
                  <a:lnTo>
                    <a:pt x="384" y="376"/>
                  </a:lnTo>
                  <a:lnTo>
                    <a:pt x="386" y="380"/>
                  </a:lnTo>
                  <a:lnTo>
                    <a:pt x="386" y="380"/>
                  </a:lnTo>
                  <a:lnTo>
                    <a:pt x="384" y="388"/>
                  </a:lnTo>
                  <a:lnTo>
                    <a:pt x="382" y="394"/>
                  </a:lnTo>
                  <a:lnTo>
                    <a:pt x="382" y="394"/>
                  </a:lnTo>
                  <a:lnTo>
                    <a:pt x="384" y="396"/>
                  </a:lnTo>
                  <a:lnTo>
                    <a:pt x="384" y="398"/>
                  </a:lnTo>
                  <a:lnTo>
                    <a:pt x="388" y="400"/>
                  </a:lnTo>
                  <a:lnTo>
                    <a:pt x="394" y="400"/>
                  </a:lnTo>
                  <a:lnTo>
                    <a:pt x="394" y="400"/>
                  </a:lnTo>
                  <a:lnTo>
                    <a:pt x="398" y="398"/>
                  </a:lnTo>
                  <a:lnTo>
                    <a:pt x="402" y="396"/>
                  </a:lnTo>
                  <a:lnTo>
                    <a:pt x="406" y="396"/>
                  </a:lnTo>
                  <a:lnTo>
                    <a:pt x="410" y="396"/>
                  </a:lnTo>
                  <a:lnTo>
                    <a:pt x="410" y="396"/>
                  </a:lnTo>
                  <a:lnTo>
                    <a:pt x="414" y="402"/>
                  </a:lnTo>
                  <a:lnTo>
                    <a:pt x="416" y="412"/>
                  </a:lnTo>
                  <a:lnTo>
                    <a:pt x="420" y="424"/>
                  </a:lnTo>
                  <a:lnTo>
                    <a:pt x="420" y="424"/>
                  </a:lnTo>
                  <a:lnTo>
                    <a:pt x="412" y="420"/>
                  </a:lnTo>
                  <a:lnTo>
                    <a:pt x="408" y="418"/>
                  </a:lnTo>
                  <a:lnTo>
                    <a:pt x="404" y="416"/>
                  </a:lnTo>
                  <a:lnTo>
                    <a:pt x="402" y="418"/>
                  </a:lnTo>
                  <a:lnTo>
                    <a:pt x="402" y="418"/>
                  </a:lnTo>
                  <a:lnTo>
                    <a:pt x="398" y="422"/>
                  </a:lnTo>
                  <a:lnTo>
                    <a:pt x="398" y="426"/>
                  </a:lnTo>
                  <a:lnTo>
                    <a:pt x="396" y="428"/>
                  </a:lnTo>
                  <a:lnTo>
                    <a:pt x="394" y="430"/>
                  </a:lnTo>
                  <a:lnTo>
                    <a:pt x="394" y="430"/>
                  </a:lnTo>
                  <a:lnTo>
                    <a:pt x="386" y="430"/>
                  </a:lnTo>
                  <a:lnTo>
                    <a:pt x="384" y="428"/>
                  </a:lnTo>
                  <a:lnTo>
                    <a:pt x="382" y="426"/>
                  </a:lnTo>
                  <a:lnTo>
                    <a:pt x="382" y="426"/>
                  </a:lnTo>
                  <a:lnTo>
                    <a:pt x="378" y="414"/>
                  </a:lnTo>
                  <a:lnTo>
                    <a:pt x="378" y="404"/>
                  </a:lnTo>
                  <a:lnTo>
                    <a:pt x="378" y="404"/>
                  </a:lnTo>
                  <a:lnTo>
                    <a:pt x="378" y="400"/>
                  </a:lnTo>
                  <a:lnTo>
                    <a:pt x="376" y="394"/>
                  </a:lnTo>
                  <a:lnTo>
                    <a:pt x="374" y="392"/>
                  </a:lnTo>
                  <a:lnTo>
                    <a:pt x="366" y="392"/>
                  </a:lnTo>
                  <a:lnTo>
                    <a:pt x="366" y="392"/>
                  </a:lnTo>
                  <a:lnTo>
                    <a:pt x="360" y="394"/>
                  </a:lnTo>
                  <a:lnTo>
                    <a:pt x="358" y="398"/>
                  </a:lnTo>
                  <a:lnTo>
                    <a:pt x="358" y="402"/>
                  </a:lnTo>
                  <a:lnTo>
                    <a:pt x="358" y="406"/>
                  </a:lnTo>
                  <a:lnTo>
                    <a:pt x="358" y="406"/>
                  </a:lnTo>
                  <a:lnTo>
                    <a:pt x="360" y="414"/>
                  </a:lnTo>
                  <a:lnTo>
                    <a:pt x="362" y="420"/>
                  </a:lnTo>
                  <a:lnTo>
                    <a:pt x="368" y="424"/>
                  </a:lnTo>
                  <a:lnTo>
                    <a:pt x="368" y="424"/>
                  </a:lnTo>
                  <a:lnTo>
                    <a:pt x="370" y="426"/>
                  </a:lnTo>
                  <a:lnTo>
                    <a:pt x="372" y="430"/>
                  </a:lnTo>
                  <a:lnTo>
                    <a:pt x="372" y="444"/>
                  </a:lnTo>
                  <a:lnTo>
                    <a:pt x="372" y="462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62" name="Freeform 35"/>
            <p:cNvSpPr>
              <a:spLocks/>
            </p:cNvSpPr>
            <p:nvPr/>
          </p:nvSpPr>
          <p:spPr bwMode="auto">
            <a:xfrm>
              <a:off x="5705489" y="2359164"/>
              <a:ext cx="260564" cy="194287"/>
            </a:xfrm>
            <a:custGeom>
              <a:avLst/>
              <a:gdLst>
                <a:gd name="T0" fmla="*/ 0 w 132"/>
                <a:gd name="T1" fmla="*/ 20 h 96"/>
                <a:gd name="T2" fmla="*/ 0 w 132"/>
                <a:gd name="T3" fmla="*/ 20 h 96"/>
                <a:gd name="T4" fmla="*/ 22 w 132"/>
                <a:gd name="T5" fmla="*/ 22 h 96"/>
                <a:gd name="T6" fmla="*/ 40 w 132"/>
                <a:gd name="T7" fmla="*/ 24 h 96"/>
                <a:gd name="T8" fmla="*/ 54 w 132"/>
                <a:gd name="T9" fmla="*/ 28 h 96"/>
                <a:gd name="T10" fmla="*/ 54 w 132"/>
                <a:gd name="T11" fmla="*/ 28 h 96"/>
                <a:gd name="T12" fmla="*/ 60 w 132"/>
                <a:gd name="T13" fmla="*/ 28 h 96"/>
                <a:gd name="T14" fmla="*/ 64 w 132"/>
                <a:gd name="T15" fmla="*/ 26 h 96"/>
                <a:gd name="T16" fmla="*/ 66 w 132"/>
                <a:gd name="T17" fmla="*/ 22 h 96"/>
                <a:gd name="T18" fmla="*/ 68 w 132"/>
                <a:gd name="T19" fmla="*/ 18 h 96"/>
                <a:gd name="T20" fmla="*/ 68 w 132"/>
                <a:gd name="T21" fmla="*/ 8 h 96"/>
                <a:gd name="T22" fmla="*/ 68 w 132"/>
                <a:gd name="T23" fmla="*/ 2 h 96"/>
                <a:gd name="T24" fmla="*/ 68 w 132"/>
                <a:gd name="T25" fmla="*/ 2 h 96"/>
                <a:gd name="T26" fmla="*/ 70 w 132"/>
                <a:gd name="T27" fmla="*/ 0 h 96"/>
                <a:gd name="T28" fmla="*/ 74 w 132"/>
                <a:gd name="T29" fmla="*/ 0 h 96"/>
                <a:gd name="T30" fmla="*/ 78 w 132"/>
                <a:gd name="T31" fmla="*/ 0 h 96"/>
                <a:gd name="T32" fmla="*/ 78 w 132"/>
                <a:gd name="T33" fmla="*/ 0 h 96"/>
                <a:gd name="T34" fmla="*/ 78 w 132"/>
                <a:gd name="T35" fmla="*/ 6 h 96"/>
                <a:gd name="T36" fmla="*/ 78 w 132"/>
                <a:gd name="T37" fmla="*/ 12 h 96"/>
                <a:gd name="T38" fmla="*/ 80 w 132"/>
                <a:gd name="T39" fmla="*/ 16 h 96"/>
                <a:gd name="T40" fmla="*/ 80 w 132"/>
                <a:gd name="T41" fmla="*/ 16 h 96"/>
                <a:gd name="T42" fmla="*/ 82 w 132"/>
                <a:gd name="T43" fmla="*/ 18 h 96"/>
                <a:gd name="T44" fmla="*/ 88 w 132"/>
                <a:gd name="T45" fmla="*/ 18 h 96"/>
                <a:gd name="T46" fmla="*/ 94 w 132"/>
                <a:gd name="T47" fmla="*/ 18 h 96"/>
                <a:gd name="T48" fmla="*/ 98 w 132"/>
                <a:gd name="T49" fmla="*/ 20 h 96"/>
                <a:gd name="T50" fmla="*/ 98 w 132"/>
                <a:gd name="T51" fmla="*/ 20 h 96"/>
                <a:gd name="T52" fmla="*/ 100 w 132"/>
                <a:gd name="T53" fmla="*/ 26 h 96"/>
                <a:gd name="T54" fmla="*/ 102 w 132"/>
                <a:gd name="T55" fmla="*/ 36 h 96"/>
                <a:gd name="T56" fmla="*/ 104 w 132"/>
                <a:gd name="T57" fmla="*/ 44 h 96"/>
                <a:gd name="T58" fmla="*/ 106 w 132"/>
                <a:gd name="T59" fmla="*/ 48 h 96"/>
                <a:gd name="T60" fmla="*/ 108 w 132"/>
                <a:gd name="T61" fmla="*/ 50 h 96"/>
                <a:gd name="T62" fmla="*/ 108 w 132"/>
                <a:gd name="T63" fmla="*/ 50 h 96"/>
                <a:gd name="T64" fmla="*/ 120 w 132"/>
                <a:gd name="T65" fmla="*/ 52 h 96"/>
                <a:gd name="T66" fmla="*/ 128 w 132"/>
                <a:gd name="T67" fmla="*/ 56 h 96"/>
                <a:gd name="T68" fmla="*/ 128 w 132"/>
                <a:gd name="T69" fmla="*/ 56 h 96"/>
                <a:gd name="T70" fmla="*/ 130 w 132"/>
                <a:gd name="T71" fmla="*/ 58 h 96"/>
                <a:gd name="T72" fmla="*/ 130 w 132"/>
                <a:gd name="T73" fmla="*/ 60 h 96"/>
                <a:gd name="T74" fmla="*/ 132 w 132"/>
                <a:gd name="T75" fmla="*/ 68 h 96"/>
                <a:gd name="T76" fmla="*/ 130 w 132"/>
                <a:gd name="T77" fmla="*/ 80 h 96"/>
                <a:gd name="T78" fmla="*/ 130 w 132"/>
                <a:gd name="T79" fmla="*/ 80 h 96"/>
                <a:gd name="T80" fmla="*/ 128 w 132"/>
                <a:gd name="T81" fmla="*/ 86 h 96"/>
                <a:gd name="T82" fmla="*/ 126 w 132"/>
                <a:gd name="T83" fmla="*/ 90 h 96"/>
                <a:gd name="T84" fmla="*/ 120 w 132"/>
                <a:gd name="T85" fmla="*/ 92 h 96"/>
                <a:gd name="T86" fmla="*/ 120 w 132"/>
                <a:gd name="T87" fmla="*/ 92 h 96"/>
                <a:gd name="T88" fmla="*/ 116 w 132"/>
                <a:gd name="T89" fmla="*/ 92 h 96"/>
                <a:gd name="T90" fmla="*/ 114 w 132"/>
                <a:gd name="T91" fmla="*/ 94 h 96"/>
                <a:gd name="T92" fmla="*/ 114 w 132"/>
                <a:gd name="T93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32" h="96">
                  <a:moveTo>
                    <a:pt x="0" y="20"/>
                  </a:moveTo>
                  <a:lnTo>
                    <a:pt x="0" y="20"/>
                  </a:lnTo>
                  <a:lnTo>
                    <a:pt x="22" y="22"/>
                  </a:lnTo>
                  <a:lnTo>
                    <a:pt x="40" y="24"/>
                  </a:lnTo>
                  <a:lnTo>
                    <a:pt x="54" y="28"/>
                  </a:lnTo>
                  <a:lnTo>
                    <a:pt x="54" y="28"/>
                  </a:lnTo>
                  <a:lnTo>
                    <a:pt x="60" y="28"/>
                  </a:lnTo>
                  <a:lnTo>
                    <a:pt x="64" y="26"/>
                  </a:lnTo>
                  <a:lnTo>
                    <a:pt x="66" y="22"/>
                  </a:lnTo>
                  <a:lnTo>
                    <a:pt x="68" y="18"/>
                  </a:lnTo>
                  <a:lnTo>
                    <a:pt x="68" y="8"/>
                  </a:lnTo>
                  <a:lnTo>
                    <a:pt x="68" y="2"/>
                  </a:lnTo>
                  <a:lnTo>
                    <a:pt x="68" y="2"/>
                  </a:lnTo>
                  <a:lnTo>
                    <a:pt x="70" y="0"/>
                  </a:lnTo>
                  <a:lnTo>
                    <a:pt x="74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8" y="12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2" y="18"/>
                  </a:lnTo>
                  <a:lnTo>
                    <a:pt x="88" y="18"/>
                  </a:lnTo>
                  <a:lnTo>
                    <a:pt x="94" y="18"/>
                  </a:lnTo>
                  <a:lnTo>
                    <a:pt x="98" y="20"/>
                  </a:lnTo>
                  <a:lnTo>
                    <a:pt x="98" y="20"/>
                  </a:lnTo>
                  <a:lnTo>
                    <a:pt x="100" y="26"/>
                  </a:lnTo>
                  <a:lnTo>
                    <a:pt x="102" y="36"/>
                  </a:lnTo>
                  <a:lnTo>
                    <a:pt x="104" y="44"/>
                  </a:lnTo>
                  <a:lnTo>
                    <a:pt x="106" y="48"/>
                  </a:lnTo>
                  <a:lnTo>
                    <a:pt x="108" y="50"/>
                  </a:lnTo>
                  <a:lnTo>
                    <a:pt x="108" y="50"/>
                  </a:lnTo>
                  <a:lnTo>
                    <a:pt x="120" y="52"/>
                  </a:lnTo>
                  <a:lnTo>
                    <a:pt x="128" y="56"/>
                  </a:lnTo>
                  <a:lnTo>
                    <a:pt x="128" y="56"/>
                  </a:lnTo>
                  <a:lnTo>
                    <a:pt x="130" y="58"/>
                  </a:lnTo>
                  <a:lnTo>
                    <a:pt x="130" y="60"/>
                  </a:lnTo>
                  <a:lnTo>
                    <a:pt x="132" y="68"/>
                  </a:lnTo>
                  <a:lnTo>
                    <a:pt x="130" y="80"/>
                  </a:lnTo>
                  <a:lnTo>
                    <a:pt x="130" y="80"/>
                  </a:lnTo>
                  <a:lnTo>
                    <a:pt x="128" y="86"/>
                  </a:lnTo>
                  <a:lnTo>
                    <a:pt x="126" y="90"/>
                  </a:lnTo>
                  <a:lnTo>
                    <a:pt x="120" y="92"/>
                  </a:lnTo>
                  <a:lnTo>
                    <a:pt x="120" y="92"/>
                  </a:lnTo>
                  <a:lnTo>
                    <a:pt x="116" y="92"/>
                  </a:lnTo>
                  <a:lnTo>
                    <a:pt x="114" y="94"/>
                  </a:lnTo>
                  <a:lnTo>
                    <a:pt x="114" y="96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63" name="Freeform 36"/>
            <p:cNvSpPr>
              <a:spLocks/>
            </p:cNvSpPr>
            <p:nvPr/>
          </p:nvSpPr>
          <p:spPr bwMode="auto">
            <a:xfrm>
              <a:off x="5962105" y="2529164"/>
              <a:ext cx="359262" cy="174048"/>
            </a:xfrm>
            <a:custGeom>
              <a:avLst/>
              <a:gdLst>
                <a:gd name="T0" fmla="*/ 182 w 182"/>
                <a:gd name="T1" fmla="*/ 86 h 86"/>
                <a:gd name="T2" fmla="*/ 178 w 182"/>
                <a:gd name="T3" fmla="*/ 82 h 86"/>
                <a:gd name="T4" fmla="*/ 180 w 182"/>
                <a:gd name="T5" fmla="*/ 76 h 86"/>
                <a:gd name="T6" fmla="*/ 176 w 182"/>
                <a:gd name="T7" fmla="*/ 64 h 86"/>
                <a:gd name="T8" fmla="*/ 174 w 182"/>
                <a:gd name="T9" fmla="*/ 62 h 86"/>
                <a:gd name="T10" fmla="*/ 162 w 182"/>
                <a:gd name="T11" fmla="*/ 58 h 86"/>
                <a:gd name="T12" fmla="*/ 158 w 182"/>
                <a:gd name="T13" fmla="*/ 56 h 86"/>
                <a:gd name="T14" fmla="*/ 158 w 182"/>
                <a:gd name="T15" fmla="*/ 48 h 86"/>
                <a:gd name="T16" fmla="*/ 158 w 182"/>
                <a:gd name="T17" fmla="*/ 38 h 86"/>
                <a:gd name="T18" fmla="*/ 154 w 182"/>
                <a:gd name="T19" fmla="*/ 30 h 86"/>
                <a:gd name="T20" fmla="*/ 148 w 182"/>
                <a:gd name="T21" fmla="*/ 28 h 86"/>
                <a:gd name="T22" fmla="*/ 144 w 182"/>
                <a:gd name="T23" fmla="*/ 26 h 86"/>
                <a:gd name="T24" fmla="*/ 136 w 182"/>
                <a:gd name="T25" fmla="*/ 22 h 86"/>
                <a:gd name="T26" fmla="*/ 126 w 182"/>
                <a:gd name="T27" fmla="*/ 20 h 86"/>
                <a:gd name="T28" fmla="*/ 122 w 182"/>
                <a:gd name="T29" fmla="*/ 20 h 86"/>
                <a:gd name="T30" fmla="*/ 120 w 182"/>
                <a:gd name="T31" fmla="*/ 24 h 86"/>
                <a:gd name="T32" fmla="*/ 118 w 182"/>
                <a:gd name="T33" fmla="*/ 30 h 86"/>
                <a:gd name="T34" fmla="*/ 112 w 182"/>
                <a:gd name="T35" fmla="*/ 38 h 86"/>
                <a:gd name="T36" fmla="*/ 110 w 182"/>
                <a:gd name="T37" fmla="*/ 42 h 86"/>
                <a:gd name="T38" fmla="*/ 110 w 182"/>
                <a:gd name="T39" fmla="*/ 44 h 86"/>
                <a:gd name="T40" fmla="*/ 110 w 182"/>
                <a:gd name="T41" fmla="*/ 56 h 86"/>
                <a:gd name="T42" fmla="*/ 88 w 182"/>
                <a:gd name="T43" fmla="*/ 52 h 86"/>
                <a:gd name="T44" fmla="*/ 80 w 182"/>
                <a:gd name="T45" fmla="*/ 50 h 86"/>
                <a:gd name="T46" fmla="*/ 80 w 182"/>
                <a:gd name="T47" fmla="*/ 46 h 86"/>
                <a:gd name="T48" fmla="*/ 80 w 182"/>
                <a:gd name="T49" fmla="*/ 42 h 86"/>
                <a:gd name="T50" fmla="*/ 76 w 182"/>
                <a:gd name="T51" fmla="*/ 30 h 86"/>
                <a:gd name="T52" fmla="*/ 66 w 182"/>
                <a:gd name="T53" fmla="*/ 22 h 86"/>
                <a:gd name="T54" fmla="*/ 58 w 182"/>
                <a:gd name="T55" fmla="*/ 22 h 86"/>
                <a:gd name="T56" fmla="*/ 50 w 182"/>
                <a:gd name="T57" fmla="*/ 20 h 86"/>
                <a:gd name="T58" fmla="*/ 48 w 182"/>
                <a:gd name="T59" fmla="*/ 16 h 86"/>
                <a:gd name="T60" fmla="*/ 48 w 182"/>
                <a:gd name="T61" fmla="*/ 4 h 86"/>
                <a:gd name="T62" fmla="*/ 46 w 182"/>
                <a:gd name="T63" fmla="*/ 0 h 86"/>
                <a:gd name="T64" fmla="*/ 42 w 182"/>
                <a:gd name="T65" fmla="*/ 0 h 86"/>
                <a:gd name="T66" fmla="*/ 38 w 182"/>
                <a:gd name="T67" fmla="*/ 0 h 86"/>
                <a:gd name="T68" fmla="*/ 4 w 182"/>
                <a:gd name="T69" fmla="*/ 0 h 86"/>
                <a:gd name="T70" fmla="*/ 0 w 182"/>
                <a:gd name="T71" fmla="*/ 32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82" h="86">
                  <a:moveTo>
                    <a:pt x="182" y="86"/>
                  </a:moveTo>
                  <a:lnTo>
                    <a:pt x="182" y="86"/>
                  </a:lnTo>
                  <a:lnTo>
                    <a:pt x="180" y="84"/>
                  </a:lnTo>
                  <a:lnTo>
                    <a:pt x="178" y="82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78" y="68"/>
                  </a:lnTo>
                  <a:lnTo>
                    <a:pt x="176" y="64"/>
                  </a:lnTo>
                  <a:lnTo>
                    <a:pt x="174" y="62"/>
                  </a:lnTo>
                  <a:lnTo>
                    <a:pt x="174" y="62"/>
                  </a:lnTo>
                  <a:lnTo>
                    <a:pt x="166" y="60"/>
                  </a:lnTo>
                  <a:lnTo>
                    <a:pt x="162" y="58"/>
                  </a:lnTo>
                  <a:lnTo>
                    <a:pt x="158" y="56"/>
                  </a:lnTo>
                  <a:lnTo>
                    <a:pt x="158" y="56"/>
                  </a:lnTo>
                  <a:lnTo>
                    <a:pt x="158" y="52"/>
                  </a:lnTo>
                  <a:lnTo>
                    <a:pt x="158" y="48"/>
                  </a:lnTo>
                  <a:lnTo>
                    <a:pt x="158" y="48"/>
                  </a:lnTo>
                  <a:lnTo>
                    <a:pt x="158" y="38"/>
                  </a:lnTo>
                  <a:lnTo>
                    <a:pt x="156" y="34"/>
                  </a:lnTo>
                  <a:lnTo>
                    <a:pt x="154" y="30"/>
                  </a:lnTo>
                  <a:lnTo>
                    <a:pt x="154" y="30"/>
                  </a:lnTo>
                  <a:lnTo>
                    <a:pt x="148" y="28"/>
                  </a:lnTo>
                  <a:lnTo>
                    <a:pt x="144" y="26"/>
                  </a:lnTo>
                  <a:lnTo>
                    <a:pt x="144" y="26"/>
                  </a:lnTo>
                  <a:lnTo>
                    <a:pt x="136" y="22"/>
                  </a:lnTo>
                  <a:lnTo>
                    <a:pt x="136" y="22"/>
                  </a:lnTo>
                  <a:lnTo>
                    <a:pt x="130" y="20"/>
                  </a:lnTo>
                  <a:lnTo>
                    <a:pt x="126" y="20"/>
                  </a:lnTo>
                  <a:lnTo>
                    <a:pt x="126" y="20"/>
                  </a:lnTo>
                  <a:lnTo>
                    <a:pt x="122" y="20"/>
                  </a:lnTo>
                  <a:lnTo>
                    <a:pt x="122" y="20"/>
                  </a:lnTo>
                  <a:lnTo>
                    <a:pt x="120" y="24"/>
                  </a:lnTo>
                  <a:lnTo>
                    <a:pt x="120" y="24"/>
                  </a:lnTo>
                  <a:lnTo>
                    <a:pt x="118" y="30"/>
                  </a:lnTo>
                  <a:lnTo>
                    <a:pt x="112" y="38"/>
                  </a:lnTo>
                  <a:lnTo>
                    <a:pt x="112" y="38"/>
                  </a:lnTo>
                  <a:lnTo>
                    <a:pt x="110" y="42"/>
                  </a:lnTo>
                  <a:lnTo>
                    <a:pt x="110" y="42"/>
                  </a:lnTo>
                  <a:lnTo>
                    <a:pt x="110" y="44"/>
                  </a:lnTo>
                  <a:lnTo>
                    <a:pt x="110" y="44"/>
                  </a:lnTo>
                  <a:lnTo>
                    <a:pt x="110" y="56"/>
                  </a:lnTo>
                  <a:lnTo>
                    <a:pt x="110" y="56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4" y="52"/>
                  </a:lnTo>
                  <a:lnTo>
                    <a:pt x="80" y="50"/>
                  </a:lnTo>
                  <a:lnTo>
                    <a:pt x="80" y="50"/>
                  </a:lnTo>
                  <a:lnTo>
                    <a:pt x="80" y="46"/>
                  </a:lnTo>
                  <a:lnTo>
                    <a:pt x="80" y="42"/>
                  </a:lnTo>
                  <a:lnTo>
                    <a:pt x="80" y="42"/>
                  </a:lnTo>
                  <a:lnTo>
                    <a:pt x="78" y="36"/>
                  </a:lnTo>
                  <a:lnTo>
                    <a:pt x="76" y="30"/>
                  </a:lnTo>
                  <a:lnTo>
                    <a:pt x="72" y="24"/>
                  </a:lnTo>
                  <a:lnTo>
                    <a:pt x="66" y="22"/>
                  </a:lnTo>
                  <a:lnTo>
                    <a:pt x="66" y="22"/>
                  </a:lnTo>
                  <a:lnTo>
                    <a:pt x="58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18"/>
                  </a:lnTo>
                  <a:lnTo>
                    <a:pt x="48" y="16"/>
                  </a:lnTo>
                  <a:lnTo>
                    <a:pt x="48" y="10"/>
                  </a:lnTo>
                  <a:lnTo>
                    <a:pt x="48" y="4"/>
                  </a:lnTo>
                  <a:lnTo>
                    <a:pt x="48" y="2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0" y="16"/>
                  </a:lnTo>
                  <a:lnTo>
                    <a:pt x="0" y="32"/>
                  </a:lnTo>
                  <a:lnTo>
                    <a:pt x="0" y="46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64" name="Freeform 37"/>
            <p:cNvSpPr>
              <a:spLocks/>
            </p:cNvSpPr>
            <p:nvPr/>
          </p:nvSpPr>
          <p:spPr bwMode="auto">
            <a:xfrm>
              <a:off x="5958157" y="2318687"/>
              <a:ext cx="394793" cy="218572"/>
            </a:xfrm>
            <a:custGeom>
              <a:avLst/>
              <a:gdLst>
                <a:gd name="T0" fmla="*/ 88 w 200"/>
                <a:gd name="T1" fmla="*/ 74 h 108"/>
                <a:gd name="T2" fmla="*/ 80 w 200"/>
                <a:gd name="T3" fmla="*/ 68 h 108"/>
                <a:gd name="T4" fmla="*/ 80 w 200"/>
                <a:gd name="T5" fmla="*/ 56 h 108"/>
                <a:gd name="T6" fmla="*/ 84 w 200"/>
                <a:gd name="T7" fmla="*/ 38 h 108"/>
                <a:gd name="T8" fmla="*/ 84 w 200"/>
                <a:gd name="T9" fmla="*/ 30 h 108"/>
                <a:gd name="T10" fmla="*/ 80 w 200"/>
                <a:gd name="T11" fmla="*/ 6 h 108"/>
                <a:gd name="T12" fmla="*/ 82 w 200"/>
                <a:gd name="T13" fmla="*/ 0 h 108"/>
                <a:gd name="T14" fmla="*/ 84 w 200"/>
                <a:gd name="T15" fmla="*/ 0 h 108"/>
                <a:gd name="T16" fmla="*/ 100 w 200"/>
                <a:gd name="T17" fmla="*/ 2 h 108"/>
                <a:gd name="T18" fmla="*/ 122 w 200"/>
                <a:gd name="T19" fmla="*/ 14 h 108"/>
                <a:gd name="T20" fmla="*/ 132 w 200"/>
                <a:gd name="T21" fmla="*/ 16 h 108"/>
                <a:gd name="T22" fmla="*/ 164 w 200"/>
                <a:gd name="T23" fmla="*/ 14 h 108"/>
                <a:gd name="T24" fmla="*/ 174 w 200"/>
                <a:gd name="T25" fmla="*/ 12 h 108"/>
                <a:gd name="T26" fmla="*/ 184 w 200"/>
                <a:gd name="T27" fmla="*/ 16 h 108"/>
                <a:gd name="T28" fmla="*/ 196 w 200"/>
                <a:gd name="T29" fmla="*/ 26 h 108"/>
                <a:gd name="T30" fmla="*/ 200 w 200"/>
                <a:gd name="T31" fmla="*/ 40 h 108"/>
                <a:gd name="T32" fmla="*/ 200 w 200"/>
                <a:gd name="T33" fmla="*/ 50 h 108"/>
                <a:gd name="T34" fmla="*/ 194 w 200"/>
                <a:gd name="T35" fmla="*/ 56 h 108"/>
                <a:gd name="T36" fmla="*/ 190 w 200"/>
                <a:gd name="T37" fmla="*/ 60 h 108"/>
                <a:gd name="T38" fmla="*/ 184 w 200"/>
                <a:gd name="T39" fmla="*/ 68 h 108"/>
                <a:gd name="T40" fmla="*/ 182 w 200"/>
                <a:gd name="T41" fmla="*/ 76 h 108"/>
                <a:gd name="T42" fmla="*/ 174 w 200"/>
                <a:gd name="T43" fmla="*/ 74 h 108"/>
                <a:gd name="T44" fmla="*/ 164 w 200"/>
                <a:gd name="T45" fmla="*/ 72 h 108"/>
                <a:gd name="T46" fmla="*/ 160 w 200"/>
                <a:gd name="T47" fmla="*/ 72 h 108"/>
                <a:gd name="T48" fmla="*/ 162 w 200"/>
                <a:gd name="T49" fmla="*/ 78 h 108"/>
                <a:gd name="T50" fmla="*/ 162 w 200"/>
                <a:gd name="T51" fmla="*/ 80 h 108"/>
                <a:gd name="T52" fmla="*/ 152 w 200"/>
                <a:gd name="T53" fmla="*/ 86 h 108"/>
                <a:gd name="T54" fmla="*/ 136 w 200"/>
                <a:gd name="T55" fmla="*/ 90 h 108"/>
                <a:gd name="T56" fmla="*/ 130 w 200"/>
                <a:gd name="T57" fmla="*/ 94 h 108"/>
                <a:gd name="T58" fmla="*/ 126 w 200"/>
                <a:gd name="T59" fmla="*/ 108 h 108"/>
                <a:gd name="T60" fmla="*/ 124 w 200"/>
                <a:gd name="T61" fmla="*/ 102 h 108"/>
                <a:gd name="T62" fmla="*/ 116 w 200"/>
                <a:gd name="T63" fmla="*/ 86 h 108"/>
                <a:gd name="T64" fmla="*/ 108 w 200"/>
                <a:gd name="T65" fmla="*/ 78 h 108"/>
                <a:gd name="T66" fmla="*/ 94 w 200"/>
                <a:gd name="T67" fmla="*/ 74 h 108"/>
                <a:gd name="T68" fmla="*/ 80 w 200"/>
                <a:gd name="T69" fmla="*/ 80 h 108"/>
                <a:gd name="T70" fmla="*/ 58 w 200"/>
                <a:gd name="T71" fmla="*/ 84 h 108"/>
                <a:gd name="T72" fmla="*/ 18 w 200"/>
                <a:gd name="T73" fmla="*/ 80 h 108"/>
                <a:gd name="T74" fmla="*/ 0 w 200"/>
                <a:gd name="T75" fmla="*/ 76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00" h="108">
                  <a:moveTo>
                    <a:pt x="88" y="74"/>
                  </a:moveTo>
                  <a:lnTo>
                    <a:pt x="88" y="74"/>
                  </a:lnTo>
                  <a:lnTo>
                    <a:pt x="84" y="72"/>
                  </a:lnTo>
                  <a:lnTo>
                    <a:pt x="80" y="68"/>
                  </a:lnTo>
                  <a:lnTo>
                    <a:pt x="80" y="62"/>
                  </a:lnTo>
                  <a:lnTo>
                    <a:pt x="80" y="56"/>
                  </a:lnTo>
                  <a:lnTo>
                    <a:pt x="82" y="46"/>
                  </a:lnTo>
                  <a:lnTo>
                    <a:pt x="84" y="38"/>
                  </a:lnTo>
                  <a:lnTo>
                    <a:pt x="84" y="38"/>
                  </a:lnTo>
                  <a:lnTo>
                    <a:pt x="84" y="30"/>
                  </a:lnTo>
                  <a:lnTo>
                    <a:pt x="82" y="18"/>
                  </a:lnTo>
                  <a:lnTo>
                    <a:pt x="80" y="6"/>
                  </a:lnTo>
                  <a:lnTo>
                    <a:pt x="80" y="2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84" y="0"/>
                  </a:lnTo>
                  <a:lnTo>
                    <a:pt x="90" y="0"/>
                  </a:lnTo>
                  <a:lnTo>
                    <a:pt x="100" y="2"/>
                  </a:lnTo>
                  <a:lnTo>
                    <a:pt x="122" y="14"/>
                  </a:lnTo>
                  <a:lnTo>
                    <a:pt x="122" y="14"/>
                  </a:lnTo>
                  <a:lnTo>
                    <a:pt x="126" y="14"/>
                  </a:lnTo>
                  <a:lnTo>
                    <a:pt x="132" y="16"/>
                  </a:lnTo>
                  <a:lnTo>
                    <a:pt x="148" y="16"/>
                  </a:lnTo>
                  <a:lnTo>
                    <a:pt x="164" y="14"/>
                  </a:lnTo>
                  <a:lnTo>
                    <a:pt x="174" y="12"/>
                  </a:lnTo>
                  <a:lnTo>
                    <a:pt x="174" y="12"/>
                  </a:lnTo>
                  <a:lnTo>
                    <a:pt x="178" y="12"/>
                  </a:lnTo>
                  <a:lnTo>
                    <a:pt x="184" y="16"/>
                  </a:lnTo>
                  <a:lnTo>
                    <a:pt x="196" y="26"/>
                  </a:lnTo>
                  <a:lnTo>
                    <a:pt x="196" y="26"/>
                  </a:lnTo>
                  <a:lnTo>
                    <a:pt x="200" y="32"/>
                  </a:lnTo>
                  <a:lnTo>
                    <a:pt x="200" y="40"/>
                  </a:lnTo>
                  <a:lnTo>
                    <a:pt x="200" y="46"/>
                  </a:lnTo>
                  <a:lnTo>
                    <a:pt x="200" y="50"/>
                  </a:lnTo>
                  <a:lnTo>
                    <a:pt x="200" y="50"/>
                  </a:lnTo>
                  <a:lnTo>
                    <a:pt x="194" y="56"/>
                  </a:lnTo>
                  <a:lnTo>
                    <a:pt x="190" y="60"/>
                  </a:lnTo>
                  <a:lnTo>
                    <a:pt x="190" y="60"/>
                  </a:lnTo>
                  <a:lnTo>
                    <a:pt x="186" y="62"/>
                  </a:lnTo>
                  <a:lnTo>
                    <a:pt x="184" y="68"/>
                  </a:lnTo>
                  <a:lnTo>
                    <a:pt x="182" y="74"/>
                  </a:lnTo>
                  <a:lnTo>
                    <a:pt x="182" y="76"/>
                  </a:lnTo>
                  <a:lnTo>
                    <a:pt x="182" y="76"/>
                  </a:lnTo>
                  <a:lnTo>
                    <a:pt x="174" y="74"/>
                  </a:lnTo>
                  <a:lnTo>
                    <a:pt x="168" y="72"/>
                  </a:lnTo>
                  <a:lnTo>
                    <a:pt x="164" y="72"/>
                  </a:lnTo>
                  <a:lnTo>
                    <a:pt x="164" y="72"/>
                  </a:lnTo>
                  <a:lnTo>
                    <a:pt x="160" y="72"/>
                  </a:lnTo>
                  <a:lnTo>
                    <a:pt x="160" y="74"/>
                  </a:lnTo>
                  <a:lnTo>
                    <a:pt x="162" y="78"/>
                  </a:lnTo>
                  <a:lnTo>
                    <a:pt x="162" y="80"/>
                  </a:lnTo>
                  <a:lnTo>
                    <a:pt x="162" y="80"/>
                  </a:lnTo>
                  <a:lnTo>
                    <a:pt x="158" y="84"/>
                  </a:lnTo>
                  <a:lnTo>
                    <a:pt x="152" y="86"/>
                  </a:lnTo>
                  <a:lnTo>
                    <a:pt x="136" y="90"/>
                  </a:lnTo>
                  <a:lnTo>
                    <a:pt x="136" y="90"/>
                  </a:lnTo>
                  <a:lnTo>
                    <a:pt x="132" y="92"/>
                  </a:lnTo>
                  <a:lnTo>
                    <a:pt x="130" y="94"/>
                  </a:lnTo>
                  <a:lnTo>
                    <a:pt x="126" y="100"/>
                  </a:lnTo>
                  <a:lnTo>
                    <a:pt x="126" y="108"/>
                  </a:lnTo>
                  <a:lnTo>
                    <a:pt x="126" y="108"/>
                  </a:lnTo>
                  <a:lnTo>
                    <a:pt x="124" y="102"/>
                  </a:lnTo>
                  <a:lnTo>
                    <a:pt x="120" y="94"/>
                  </a:lnTo>
                  <a:lnTo>
                    <a:pt x="116" y="86"/>
                  </a:lnTo>
                  <a:lnTo>
                    <a:pt x="116" y="86"/>
                  </a:lnTo>
                  <a:lnTo>
                    <a:pt x="108" y="78"/>
                  </a:lnTo>
                  <a:lnTo>
                    <a:pt x="102" y="74"/>
                  </a:lnTo>
                  <a:lnTo>
                    <a:pt x="94" y="74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70" y="82"/>
                  </a:lnTo>
                  <a:lnTo>
                    <a:pt x="58" y="84"/>
                  </a:lnTo>
                  <a:lnTo>
                    <a:pt x="36" y="82"/>
                  </a:lnTo>
                  <a:lnTo>
                    <a:pt x="18" y="80"/>
                  </a:lnTo>
                  <a:lnTo>
                    <a:pt x="12" y="78"/>
                  </a:lnTo>
                  <a:lnTo>
                    <a:pt x="0" y="76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65" name="Freeform 38"/>
            <p:cNvSpPr>
              <a:spLocks/>
            </p:cNvSpPr>
            <p:nvPr/>
          </p:nvSpPr>
          <p:spPr bwMode="auto">
            <a:xfrm>
              <a:off x="5993689" y="2290354"/>
              <a:ext cx="130282" cy="105239"/>
            </a:xfrm>
            <a:custGeom>
              <a:avLst/>
              <a:gdLst>
                <a:gd name="T0" fmla="*/ 0 w 66"/>
                <a:gd name="T1" fmla="*/ 0 h 52"/>
                <a:gd name="T2" fmla="*/ 0 w 66"/>
                <a:gd name="T3" fmla="*/ 0 h 52"/>
                <a:gd name="T4" fmla="*/ 2 w 66"/>
                <a:gd name="T5" fmla="*/ 6 h 52"/>
                <a:gd name="T6" fmla="*/ 4 w 66"/>
                <a:gd name="T7" fmla="*/ 12 h 52"/>
                <a:gd name="T8" fmla="*/ 4 w 66"/>
                <a:gd name="T9" fmla="*/ 12 h 52"/>
                <a:gd name="T10" fmla="*/ 4 w 66"/>
                <a:gd name="T11" fmla="*/ 22 h 52"/>
                <a:gd name="T12" fmla="*/ 4 w 66"/>
                <a:gd name="T13" fmla="*/ 26 h 52"/>
                <a:gd name="T14" fmla="*/ 4 w 66"/>
                <a:gd name="T15" fmla="*/ 30 h 52"/>
                <a:gd name="T16" fmla="*/ 4 w 66"/>
                <a:gd name="T17" fmla="*/ 30 h 52"/>
                <a:gd name="T18" fmla="*/ 8 w 66"/>
                <a:gd name="T19" fmla="*/ 32 h 52"/>
                <a:gd name="T20" fmla="*/ 10 w 66"/>
                <a:gd name="T21" fmla="*/ 32 h 52"/>
                <a:gd name="T22" fmla="*/ 16 w 66"/>
                <a:gd name="T23" fmla="*/ 30 h 52"/>
                <a:gd name="T24" fmla="*/ 16 w 66"/>
                <a:gd name="T25" fmla="*/ 30 h 52"/>
                <a:gd name="T26" fmla="*/ 20 w 66"/>
                <a:gd name="T27" fmla="*/ 30 h 52"/>
                <a:gd name="T28" fmla="*/ 30 w 66"/>
                <a:gd name="T29" fmla="*/ 32 h 52"/>
                <a:gd name="T30" fmla="*/ 30 w 66"/>
                <a:gd name="T31" fmla="*/ 32 h 52"/>
                <a:gd name="T32" fmla="*/ 44 w 66"/>
                <a:gd name="T33" fmla="*/ 38 h 52"/>
                <a:gd name="T34" fmla="*/ 66 w 66"/>
                <a:gd name="T3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" h="52">
                  <a:moveTo>
                    <a:pt x="0" y="0"/>
                  </a:moveTo>
                  <a:lnTo>
                    <a:pt x="0" y="0"/>
                  </a:lnTo>
                  <a:lnTo>
                    <a:pt x="2" y="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22"/>
                  </a:lnTo>
                  <a:lnTo>
                    <a:pt x="4" y="26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8" y="32"/>
                  </a:lnTo>
                  <a:lnTo>
                    <a:pt x="10" y="32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20" y="30"/>
                  </a:lnTo>
                  <a:lnTo>
                    <a:pt x="30" y="32"/>
                  </a:lnTo>
                  <a:lnTo>
                    <a:pt x="30" y="32"/>
                  </a:lnTo>
                  <a:lnTo>
                    <a:pt x="44" y="38"/>
                  </a:lnTo>
                  <a:lnTo>
                    <a:pt x="66" y="52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66" name="Freeform 39"/>
            <p:cNvSpPr>
              <a:spLocks/>
            </p:cNvSpPr>
            <p:nvPr/>
          </p:nvSpPr>
          <p:spPr bwMode="auto">
            <a:xfrm>
              <a:off x="5997637" y="1950352"/>
              <a:ext cx="288199" cy="344049"/>
            </a:xfrm>
            <a:custGeom>
              <a:avLst/>
              <a:gdLst>
                <a:gd name="T0" fmla="*/ 0 w 146"/>
                <a:gd name="T1" fmla="*/ 170 h 170"/>
                <a:gd name="T2" fmla="*/ 0 w 146"/>
                <a:gd name="T3" fmla="*/ 170 h 170"/>
                <a:gd name="T4" fmla="*/ 10 w 146"/>
                <a:gd name="T5" fmla="*/ 164 h 170"/>
                <a:gd name="T6" fmla="*/ 10 w 146"/>
                <a:gd name="T7" fmla="*/ 164 h 170"/>
                <a:gd name="T8" fmla="*/ 14 w 146"/>
                <a:gd name="T9" fmla="*/ 160 h 170"/>
                <a:gd name="T10" fmla="*/ 18 w 146"/>
                <a:gd name="T11" fmla="*/ 156 h 170"/>
                <a:gd name="T12" fmla="*/ 18 w 146"/>
                <a:gd name="T13" fmla="*/ 156 h 170"/>
                <a:gd name="T14" fmla="*/ 20 w 146"/>
                <a:gd name="T15" fmla="*/ 150 h 170"/>
                <a:gd name="T16" fmla="*/ 20 w 146"/>
                <a:gd name="T17" fmla="*/ 148 h 170"/>
                <a:gd name="T18" fmla="*/ 22 w 146"/>
                <a:gd name="T19" fmla="*/ 148 h 170"/>
                <a:gd name="T20" fmla="*/ 22 w 146"/>
                <a:gd name="T21" fmla="*/ 148 h 170"/>
                <a:gd name="T22" fmla="*/ 24 w 146"/>
                <a:gd name="T23" fmla="*/ 146 h 170"/>
                <a:gd name="T24" fmla="*/ 26 w 146"/>
                <a:gd name="T25" fmla="*/ 144 h 170"/>
                <a:gd name="T26" fmla="*/ 26 w 146"/>
                <a:gd name="T27" fmla="*/ 138 h 170"/>
                <a:gd name="T28" fmla="*/ 26 w 146"/>
                <a:gd name="T29" fmla="*/ 138 h 170"/>
                <a:gd name="T30" fmla="*/ 26 w 146"/>
                <a:gd name="T31" fmla="*/ 136 h 170"/>
                <a:gd name="T32" fmla="*/ 28 w 146"/>
                <a:gd name="T33" fmla="*/ 136 h 170"/>
                <a:gd name="T34" fmla="*/ 32 w 146"/>
                <a:gd name="T35" fmla="*/ 134 h 170"/>
                <a:gd name="T36" fmla="*/ 32 w 146"/>
                <a:gd name="T37" fmla="*/ 134 h 170"/>
                <a:gd name="T38" fmla="*/ 34 w 146"/>
                <a:gd name="T39" fmla="*/ 134 h 170"/>
                <a:gd name="T40" fmla="*/ 34 w 146"/>
                <a:gd name="T41" fmla="*/ 132 h 170"/>
                <a:gd name="T42" fmla="*/ 34 w 146"/>
                <a:gd name="T43" fmla="*/ 128 h 170"/>
                <a:gd name="T44" fmla="*/ 34 w 146"/>
                <a:gd name="T45" fmla="*/ 128 h 170"/>
                <a:gd name="T46" fmla="*/ 40 w 146"/>
                <a:gd name="T47" fmla="*/ 120 h 170"/>
                <a:gd name="T48" fmla="*/ 48 w 146"/>
                <a:gd name="T49" fmla="*/ 112 h 170"/>
                <a:gd name="T50" fmla="*/ 48 w 146"/>
                <a:gd name="T51" fmla="*/ 112 h 170"/>
                <a:gd name="T52" fmla="*/ 54 w 146"/>
                <a:gd name="T53" fmla="*/ 104 h 170"/>
                <a:gd name="T54" fmla="*/ 62 w 146"/>
                <a:gd name="T55" fmla="*/ 86 h 170"/>
                <a:gd name="T56" fmla="*/ 74 w 146"/>
                <a:gd name="T57" fmla="*/ 54 h 170"/>
                <a:gd name="T58" fmla="*/ 74 w 146"/>
                <a:gd name="T59" fmla="*/ 54 h 170"/>
                <a:gd name="T60" fmla="*/ 76 w 146"/>
                <a:gd name="T61" fmla="*/ 48 h 170"/>
                <a:gd name="T62" fmla="*/ 80 w 146"/>
                <a:gd name="T63" fmla="*/ 44 h 170"/>
                <a:gd name="T64" fmla="*/ 86 w 146"/>
                <a:gd name="T65" fmla="*/ 38 h 170"/>
                <a:gd name="T66" fmla="*/ 86 w 146"/>
                <a:gd name="T67" fmla="*/ 38 h 170"/>
                <a:gd name="T68" fmla="*/ 128 w 146"/>
                <a:gd name="T69" fmla="*/ 14 h 170"/>
                <a:gd name="T70" fmla="*/ 146 w 146"/>
                <a:gd name="T71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" h="170">
                  <a:moveTo>
                    <a:pt x="0" y="170"/>
                  </a:moveTo>
                  <a:lnTo>
                    <a:pt x="0" y="170"/>
                  </a:lnTo>
                  <a:lnTo>
                    <a:pt x="10" y="164"/>
                  </a:lnTo>
                  <a:lnTo>
                    <a:pt x="10" y="164"/>
                  </a:lnTo>
                  <a:lnTo>
                    <a:pt x="14" y="160"/>
                  </a:lnTo>
                  <a:lnTo>
                    <a:pt x="18" y="156"/>
                  </a:lnTo>
                  <a:lnTo>
                    <a:pt x="18" y="156"/>
                  </a:lnTo>
                  <a:lnTo>
                    <a:pt x="20" y="150"/>
                  </a:lnTo>
                  <a:lnTo>
                    <a:pt x="20" y="148"/>
                  </a:lnTo>
                  <a:lnTo>
                    <a:pt x="22" y="148"/>
                  </a:lnTo>
                  <a:lnTo>
                    <a:pt x="22" y="148"/>
                  </a:lnTo>
                  <a:lnTo>
                    <a:pt x="24" y="146"/>
                  </a:lnTo>
                  <a:lnTo>
                    <a:pt x="26" y="144"/>
                  </a:lnTo>
                  <a:lnTo>
                    <a:pt x="26" y="138"/>
                  </a:lnTo>
                  <a:lnTo>
                    <a:pt x="26" y="138"/>
                  </a:lnTo>
                  <a:lnTo>
                    <a:pt x="26" y="136"/>
                  </a:lnTo>
                  <a:lnTo>
                    <a:pt x="28" y="136"/>
                  </a:lnTo>
                  <a:lnTo>
                    <a:pt x="32" y="134"/>
                  </a:lnTo>
                  <a:lnTo>
                    <a:pt x="32" y="134"/>
                  </a:lnTo>
                  <a:lnTo>
                    <a:pt x="34" y="134"/>
                  </a:lnTo>
                  <a:lnTo>
                    <a:pt x="34" y="132"/>
                  </a:lnTo>
                  <a:lnTo>
                    <a:pt x="34" y="128"/>
                  </a:lnTo>
                  <a:lnTo>
                    <a:pt x="34" y="128"/>
                  </a:lnTo>
                  <a:lnTo>
                    <a:pt x="40" y="120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54" y="104"/>
                  </a:lnTo>
                  <a:lnTo>
                    <a:pt x="62" y="86"/>
                  </a:lnTo>
                  <a:lnTo>
                    <a:pt x="74" y="54"/>
                  </a:lnTo>
                  <a:lnTo>
                    <a:pt x="74" y="54"/>
                  </a:lnTo>
                  <a:lnTo>
                    <a:pt x="76" y="48"/>
                  </a:lnTo>
                  <a:lnTo>
                    <a:pt x="80" y="44"/>
                  </a:lnTo>
                  <a:lnTo>
                    <a:pt x="86" y="38"/>
                  </a:lnTo>
                  <a:lnTo>
                    <a:pt x="86" y="38"/>
                  </a:lnTo>
                  <a:lnTo>
                    <a:pt x="128" y="14"/>
                  </a:lnTo>
                  <a:lnTo>
                    <a:pt x="146" y="0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67" name="Freeform 40"/>
            <p:cNvSpPr>
              <a:spLocks/>
            </p:cNvSpPr>
            <p:nvPr/>
          </p:nvSpPr>
          <p:spPr bwMode="auto">
            <a:xfrm>
              <a:off x="6100283" y="2561545"/>
              <a:ext cx="110542" cy="16191"/>
            </a:xfrm>
            <a:custGeom>
              <a:avLst/>
              <a:gdLst>
                <a:gd name="T0" fmla="*/ 0 w 56"/>
                <a:gd name="T1" fmla="*/ 8 h 8"/>
                <a:gd name="T2" fmla="*/ 0 w 56"/>
                <a:gd name="T3" fmla="*/ 8 h 8"/>
                <a:gd name="T4" fmla="*/ 4 w 56"/>
                <a:gd name="T5" fmla="*/ 4 h 8"/>
                <a:gd name="T6" fmla="*/ 10 w 56"/>
                <a:gd name="T7" fmla="*/ 0 h 8"/>
                <a:gd name="T8" fmla="*/ 16 w 56"/>
                <a:gd name="T9" fmla="*/ 0 h 8"/>
                <a:gd name="T10" fmla="*/ 16 w 56"/>
                <a:gd name="T11" fmla="*/ 0 h 8"/>
                <a:gd name="T12" fmla="*/ 22 w 56"/>
                <a:gd name="T13" fmla="*/ 0 h 8"/>
                <a:gd name="T14" fmla="*/ 26 w 56"/>
                <a:gd name="T15" fmla="*/ 2 h 8"/>
                <a:gd name="T16" fmla="*/ 26 w 56"/>
                <a:gd name="T17" fmla="*/ 2 h 8"/>
                <a:gd name="T18" fmla="*/ 42 w 56"/>
                <a:gd name="T19" fmla="*/ 2 h 8"/>
                <a:gd name="T20" fmla="*/ 56 w 56"/>
                <a:gd name="T2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" h="8">
                  <a:moveTo>
                    <a:pt x="0" y="8"/>
                  </a:moveTo>
                  <a:lnTo>
                    <a:pt x="0" y="8"/>
                  </a:lnTo>
                  <a:lnTo>
                    <a:pt x="4" y="4"/>
                  </a:lnTo>
                  <a:lnTo>
                    <a:pt x="10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2" y="0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42" y="2"/>
                  </a:lnTo>
                  <a:lnTo>
                    <a:pt x="56" y="4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68" name="Freeform 41"/>
            <p:cNvSpPr>
              <a:spLocks/>
            </p:cNvSpPr>
            <p:nvPr/>
          </p:nvSpPr>
          <p:spPr bwMode="auto">
            <a:xfrm>
              <a:off x="6033168" y="2411783"/>
              <a:ext cx="31583" cy="117381"/>
            </a:xfrm>
            <a:custGeom>
              <a:avLst/>
              <a:gdLst>
                <a:gd name="T0" fmla="*/ 8 w 16"/>
                <a:gd name="T1" fmla="*/ 58 h 58"/>
                <a:gd name="T2" fmla="*/ 8 w 16"/>
                <a:gd name="T3" fmla="*/ 58 h 58"/>
                <a:gd name="T4" fmla="*/ 6 w 16"/>
                <a:gd name="T5" fmla="*/ 50 h 58"/>
                <a:gd name="T6" fmla="*/ 6 w 16"/>
                <a:gd name="T7" fmla="*/ 50 h 58"/>
                <a:gd name="T8" fmla="*/ 4 w 16"/>
                <a:gd name="T9" fmla="*/ 44 h 58"/>
                <a:gd name="T10" fmla="*/ 0 w 16"/>
                <a:gd name="T11" fmla="*/ 38 h 58"/>
                <a:gd name="T12" fmla="*/ 0 w 16"/>
                <a:gd name="T13" fmla="*/ 38 h 58"/>
                <a:gd name="T14" fmla="*/ 0 w 16"/>
                <a:gd name="T15" fmla="*/ 34 h 58"/>
                <a:gd name="T16" fmla="*/ 0 w 16"/>
                <a:gd name="T17" fmla="*/ 30 h 58"/>
                <a:gd name="T18" fmla="*/ 2 w 16"/>
                <a:gd name="T19" fmla="*/ 24 h 58"/>
                <a:gd name="T20" fmla="*/ 2 w 16"/>
                <a:gd name="T21" fmla="*/ 24 h 58"/>
                <a:gd name="T22" fmla="*/ 2 w 16"/>
                <a:gd name="T23" fmla="*/ 22 h 58"/>
                <a:gd name="T24" fmla="*/ 2 w 16"/>
                <a:gd name="T25" fmla="*/ 16 h 58"/>
                <a:gd name="T26" fmla="*/ 2 w 16"/>
                <a:gd name="T27" fmla="*/ 8 h 58"/>
                <a:gd name="T28" fmla="*/ 2 w 16"/>
                <a:gd name="T29" fmla="*/ 8 h 58"/>
                <a:gd name="T30" fmla="*/ 4 w 16"/>
                <a:gd name="T31" fmla="*/ 4 h 58"/>
                <a:gd name="T32" fmla="*/ 8 w 16"/>
                <a:gd name="T33" fmla="*/ 2 h 58"/>
                <a:gd name="T34" fmla="*/ 16 w 16"/>
                <a:gd name="T35" fmla="*/ 0 h 58"/>
                <a:gd name="T36" fmla="*/ 16 w 16"/>
                <a:gd name="T37" fmla="*/ 0 h 58"/>
                <a:gd name="T38" fmla="*/ 14 w 16"/>
                <a:gd name="T39" fmla="*/ 20 h 58"/>
                <a:gd name="T40" fmla="*/ 12 w 16"/>
                <a:gd name="T41" fmla="*/ 38 h 58"/>
                <a:gd name="T42" fmla="*/ 8 w 16"/>
                <a:gd name="T43" fmla="*/ 58 h 58"/>
                <a:gd name="T44" fmla="*/ 8 w 16"/>
                <a:gd name="T45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" h="58">
                  <a:moveTo>
                    <a:pt x="8" y="58"/>
                  </a:moveTo>
                  <a:lnTo>
                    <a:pt x="8" y="58"/>
                  </a:lnTo>
                  <a:lnTo>
                    <a:pt x="6" y="50"/>
                  </a:lnTo>
                  <a:lnTo>
                    <a:pt x="6" y="50"/>
                  </a:lnTo>
                  <a:lnTo>
                    <a:pt x="4" y="44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34"/>
                  </a:lnTo>
                  <a:lnTo>
                    <a:pt x="0" y="30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2"/>
                  </a:lnTo>
                  <a:lnTo>
                    <a:pt x="2" y="16"/>
                  </a:lnTo>
                  <a:lnTo>
                    <a:pt x="2" y="8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4" y="20"/>
                  </a:lnTo>
                  <a:lnTo>
                    <a:pt x="12" y="38"/>
                  </a:lnTo>
                  <a:lnTo>
                    <a:pt x="8" y="58"/>
                  </a:lnTo>
                  <a:lnTo>
                    <a:pt x="8" y="58"/>
                  </a:lnTo>
                  <a:close/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69" name="Freeform 42"/>
            <p:cNvSpPr>
              <a:spLocks/>
            </p:cNvSpPr>
            <p:nvPr/>
          </p:nvSpPr>
          <p:spPr bwMode="auto">
            <a:xfrm>
              <a:off x="8172949" y="3690836"/>
              <a:ext cx="303991" cy="445240"/>
            </a:xfrm>
            <a:custGeom>
              <a:avLst/>
              <a:gdLst>
                <a:gd name="T0" fmla="*/ 14 w 154"/>
                <a:gd name="T1" fmla="*/ 0 h 220"/>
                <a:gd name="T2" fmla="*/ 8 w 154"/>
                <a:gd name="T3" fmla="*/ 4 h 220"/>
                <a:gd name="T4" fmla="*/ 2 w 154"/>
                <a:gd name="T5" fmla="*/ 22 h 220"/>
                <a:gd name="T6" fmla="*/ 2 w 154"/>
                <a:gd name="T7" fmla="*/ 60 h 220"/>
                <a:gd name="T8" fmla="*/ 6 w 154"/>
                <a:gd name="T9" fmla="*/ 88 h 220"/>
                <a:gd name="T10" fmla="*/ 18 w 154"/>
                <a:gd name="T11" fmla="*/ 118 h 220"/>
                <a:gd name="T12" fmla="*/ 50 w 154"/>
                <a:gd name="T13" fmla="*/ 178 h 220"/>
                <a:gd name="T14" fmla="*/ 74 w 154"/>
                <a:gd name="T15" fmla="*/ 204 h 220"/>
                <a:gd name="T16" fmla="*/ 84 w 154"/>
                <a:gd name="T17" fmla="*/ 208 h 220"/>
                <a:gd name="T18" fmla="*/ 90 w 154"/>
                <a:gd name="T19" fmla="*/ 206 h 220"/>
                <a:gd name="T20" fmla="*/ 104 w 154"/>
                <a:gd name="T21" fmla="*/ 200 h 220"/>
                <a:gd name="T22" fmla="*/ 112 w 154"/>
                <a:gd name="T23" fmla="*/ 192 h 220"/>
                <a:gd name="T24" fmla="*/ 114 w 154"/>
                <a:gd name="T25" fmla="*/ 194 h 220"/>
                <a:gd name="T26" fmla="*/ 112 w 154"/>
                <a:gd name="T27" fmla="*/ 200 h 220"/>
                <a:gd name="T28" fmla="*/ 112 w 154"/>
                <a:gd name="T29" fmla="*/ 210 h 220"/>
                <a:gd name="T30" fmla="*/ 114 w 154"/>
                <a:gd name="T31" fmla="*/ 212 h 220"/>
                <a:gd name="T32" fmla="*/ 126 w 154"/>
                <a:gd name="T33" fmla="*/ 218 h 220"/>
                <a:gd name="T34" fmla="*/ 138 w 154"/>
                <a:gd name="T35" fmla="*/ 218 h 220"/>
                <a:gd name="T36" fmla="*/ 150 w 154"/>
                <a:gd name="T37" fmla="*/ 212 h 220"/>
                <a:gd name="T38" fmla="*/ 154 w 154"/>
                <a:gd name="T39" fmla="*/ 204 h 220"/>
                <a:gd name="T40" fmla="*/ 152 w 154"/>
                <a:gd name="T41" fmla="*/ 192 h 220"/>
                <a:gd name="T42" fmla="*/ 140 w 154"/>
                <a:gd name="T43" fmla="*/ 152 h 220"/>
                <a:gd name="T44" fmla="*/ 136 w 154"/>
                <a:gd name="T45" fmla="*/ 140 h 220"/>
                <a:gd name="T46" fmla="*/ 126 w 154"/>
                <a:gd name="T47" fmla="*/ 112 h 220"/>
                <a:gd name="T48" fmla="*/ 120 w 154"/>
                <a:gd name="T49" fmla="*/ 92 h 220"/>
                <a:gd name="T50" fmla="*/ 110 w 154"/>
                <a:gd name="T51" fmla="*/ 110 h 220"/>
                <a:gd name="T52" fmla="*/ 108 w 154"/>
                <a:gd name="T53" fmla="*/ 114 h 220"/>
                <a:gd name="T54" fmla="*/ 92 w 154"/>
                <a:gd name="T55" fmla="*/ 118 h 220"/>
                <a:gd name="T56" fmla="*/ 90 w 154"/>
                <a:gd name="T57" fmla="*/ 118 h 220"/>
                <a:gd name="T58" fmla="*/ 88 w 154"/>
                <a:gd name="T59" fmla="*/ 112 h 220"/>
                <a:gd name="T60" fmla="*/ 88 w 154"/>
                <a:gd name="T61" fmla="*/ 106 h 220"/>
                <a:gd name="T62" fmla="*/ 110 w 154"/>
                <a:gd name="T63" fmla="*/ 92 h 220"/>
                <a:gd name="T64" fmla="*/ 116 w 154"/>
                <a:gd name="T65" fmla="*/ 74 h 220"/>
                <a:gd name="T66" fmla="*/ 116 w 154"/>
                <a:gd name="T67" fmla="*/ 64 h 220"/>
                <a:gd name="T68" fmla="*/ 118 w 154"/>
                <a:gd name="T69" fmla="*/ 52 h 220"/>
                <a:gd name="T70" fmla="*/ 122 w 154"/>
                <a:gd name="T71" fmla="*/ 42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54" h="220">
                  <a:moveTo>
                    <a:pt x="14" y="0"/>
                  </a:moveTo>
                  <a:lnTo>
                    <a:pt x="14" y="0"/>
                  </a:lnTo>
                  <a:lnTo>
                    <a:pt x="10" y="2"/>
                  </a:lnTo>
                  <a:lnTo>
                    <a:pt x="8" y="4"/>
                  </a:lnTo>
                  <a:lnTo>
                    <a:pt x="4" y="12"/>
                  </a:lnTo>
                  <a:lnTo>
                    <a:pt x="2" y="22"/>
                  </a:lnTo>
                  <a:lnTo>
                    <a:pt x="0" y="38"/>
                  </a:lnTo>
                  <a:lnTo>
                    <a:pt x="2" y="60"/>
                  </a:lnTo>
                  <a:lnTo>
                    <a:pt x="6" y="88"/>
                  </a:lnTo>
                  <a:lnTo>
                    <a:pt x="6" y="88"/>
                  </a:lnTo>
                  <a:lnTo>
                    <a:pt x="10" y="100"/>
                  </a:lnTo>
                  <a:lnTo>
                    <a:pt x="18" y="118"/>
                  </a:lnTo>
                  <a:lnTo>
                    <a:pt x="38" y="158"/>
                  </a:lnTo>
                  <a:lnTo>
                    <a:pt x="50" y="178"/>
                  </a:lnTo>
                  <a:lnTo>
                    <a:pt x="62" y="194"/>
                  </a:lnTo>
                  <a:lnTo>
                    <a:pt x="74" y="204"/>
                  </a:lnTo>
                  <a:lnTo>
                    <a:pt x="78" y="208"/>
                  </a:lnTo>
                  <a:lnTo>
                    <a:pt x="84" y="208"/>
                  </a:lnTo>
                  <a:lnTo>
                    <a:pt x="84" y="208"/>
                  </a:lnTo>
                  <a:lnTo>
                    <a:pt x="90" y="206"/>
                  </a:lnTo>
                  <a:lnTo>
                    <a:pt x="96" y="204"/>
                  </a:lnTo>
                  <a:lnTo>
                    <a:pt x="104" y="200"/>
                  </a:lnTo>
                  <a:lnTo>
                    <a:pt x="108" y="194"/>
                  </a:lnTo>
                  <a:lnTo>
                    <a:pt x="112" y="192"/>
                  </a:lnTo>
                  <a:lnTo>
                    <a:pt x="112" y="192"/>
                  </a:lnTo>
                  <a:lnTo>
                    <a:pt x="114" y="194"/>
                  </a:lnTo>
                  <a:lnTo>
                    <a:pt x="114" y="196"/>
                  </a:lnTo>
                  <a:lnTo>
                    <a:pt x="112" y="200"/>
                  </a:lnTo>
                  <a:lnTo>
                    <a:pt x="112" y="208"/>
                  </a:lnTo>
                  <a:lnTo>
                    <a:pt x="112" y="210"/>
                  </a:lnTo>
                  <a:lnTo>
                    <a:pt x="114" y="212"/>
                  </a:lnTo>
                  <a:lnTo>
                    <a:pt x="114" y="212"/>
                  </a:lnTo>
                  <a:lnTo>
                    <a:pt x="120" y="216"/>
                  </a:lnTo>
                  <a:lnTo>
                    <a:pt x="126" y="218"/>
                  </a:lnTo>
                  <a:lnTo>
                    <a:pt x="132" y="220"/>
                  </a:lnTo>
                  <a:lnTo>
                    <a:pt x="138" y="218"/>
                  </a:lnTo>
                  <a:lnTo>
                    <a:pt x="138" y="218"/>
                  </a:lnTo>
                  <a:lnTo>
                    <a:pt x="150" y="212"/>
                  </a:lnTo>
                  <a:lnTo>
                    <a:pt x="154" y="204"/>
                  </a:lnTo>
                  <a:lnTo>
                    <a:pt x="154" y="204"/>
                  </a:lnTo>
                  <a:lnTo>
                    <a:pt x="154" y="200"/>
                  </a:lnTo>
                  <a:lnTo>
                    <a:pt x="152" y="192"/>
                  </a:lnTo>
                  <a:lnTo>
                    <a:pt x="148" y="172"/>
                  </a:lnTo>
                  <a:lnTo>
                    <a:pt x="140" y="152"/>
                  </a:lnTo>
                  <a:lnTo>
                    <a:pt x="136" y="140"/>
                  </a:lnTo>
                  <a:lnTo>
                    <a:pt x="136" y="140"/>
                  </a:lnTo>
                  <a:lnTo>
                    <a:pt x="130" y="128"/>
                  </a:lnTo>
                  <a:lnTo>
                    <a:pt x="126" y="112"/>
                  </a:lnTo>
                  <a:lnTo>
                    <a:pt x="120" y="92"/>
                  </a:lnTo>
                  <a:lnTo>
                    <a:pt x="120" y="92"/>
                  </a:lnTo>
                  <a:lnTo>
                    <a:pt x="114" y="102"/>
                  </a:lnTo>
                  <a:lnTo>
                    <a:pt x="110" y="110"/>
                  </a:lnTo>
                  <a:lnTo>
                    <a:pt x="108" y="114"/>
                  </a:lnTo>
                  <a:lnTo>
                    <a:pt x="108" y="114"/>
                  </a:lnTo>
                  <a:lnTo>
                    <a:pt x="98" y="116"/>
                  </a:lnTo>
                  <a:lnTo>
                    <a:pt x="92" y="118"/>
                  </a:lnTo>
                  <a:lnTo>
                    <a:pt x="90" y="118"/>
                  </a:lnTo>
                  <a:lnTo>
                    <a:pt x="90" y="118"/>
                  </a:lnTo>
                  <a:lnTo>
                    <a:pt x="88" y="116"/>
                  </a:lnTo>
                  <a:lnTo>
                    <a:pt x="88" y="112"/>
                  </a:lnTo>
                  <a:lnTo>
                    <a:pt x="88" y="106"/>
                  </a:lnTo>
                  <a:lnTo>
                    <a:pt x="88" y="106"/>
                  </a:lnTo>
                  <a:lnTo>
                    <a:pt x="110" y="92"/>
                  </a:lnTo>
                  <a:lnTo>
                    <a:pt x="110" y="92"/>
                  </a:lnTo>
                  <a:lnTo>
                    <a:pt x="112" y="82"/>
                  </a:lnTo>
                  <a:lnTo>
                    <a:pt x="116" y="74"/>
                  </a:lnTo>
                  <a:lnTo>
                    <a:pt x="116" y="64"/>
                  </a:lnTo>
                  <a:lnTo>
                    <a:pt x="116" y="64"/>
                  </a:lnTo>
                  <a:lnTo>
                    <a:pt x="116" y="58"/>
                  </a:lnTo>
                  <a:lnTo>
                    <a:pt x="118" y="52"/>
                  </a:lnTo>
                  <a:lnTo>
                    <a:pt x="120" y="48"/>
                  </a:lnTo>
                  <a:lnTo>
                    <a:pt x="122" y="42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70" name="Freeform 43"/>
            <p:cNvSpPr>
              <a:spLocks/>
            </p:cNvSpPr>
            <p:nvPr/>
          </p:nvSpPr>
          <p:spPr bwMode="auto">
            <a:xfrm>
              <a:off x="8319022" y="3383216"/>
              <a:ext cx="94750" cy="396668"/>
            </a:xfrm>
            <a:custGeom>
              <a:avLst/>
              <a:gdLst>
                <a:gd name="T0" fmla="*/ 0 w 48"/>
                <a:gd name="T1" fmla="*/ 0 h 196"/>
                <a:gd name="T2" fmla="*/ 0 w 48"/>
                <a:gd name="T3" fmla="*/ 0 h 196"/>
                <a:gd name="T4" fmla="*/ 2 w 48"/>
                <a:gd name="T5" fmla="*/ 2 h 196"/>
                <a:gd name="T6" fmla="*/ 6 w 48"/>
                <a:gd name="T7" fmla="*/ 4 h 196"/>
                <a:gd name="T8" fmla="*/ 8 w 48"/>
                <a:gd name="T9" fmla="*/ 8 h 196"/>
                <a:gd name="T10" fmla="*/ 10 w 48"/>
                <a:gd name="T11" fmla="*/ 10 h 196"/>
                <a:gd name="T12" fmla="*/ 10 w 48"/>
                <a:gd name="T13" fmla="*/ 10 h 196"/>
                <a:gd name="T14" fmla="*/ 10 w 48"/>
                <a:gd name="T15" fmla="*/ 16 h 196"/>
                <a:gd name="T16" fmla="*/ 10 w 48"/>
                <a:gd name="T17" fmla="*/ 16 h 196"/>
                <a:gd name="T18" fmla="*/ 12 w 48"/>
                <a:gd name="T19" fmla="*/ 24 h 196"/>
                <a:gd name="T20" fmla="*/ 16 w 48"/>
                <a:gd name="T21" fmla="*/ 32 h 196"/>
                <a:gd name="T22" fmla="*/ 16 w 48"/>
                <a:gd name="T23" fmla="*/ 32 h 196"/>
                <a:gd name="T24" fmla="*/ 20 w 48"/>
                <a:gd name="T25" fmla="*/ 42 h 196"/>
                <a:gd name="T26" fmla="*/ 20 w 48"/>
                <a:gd name="T27" fmla="*/ 46 h 196"/>
                <a:gd name="T28" fmla="*/ 18 w 48"/>
                <a:gd name="T29" fmla="*/ 50 h 196"/>
                <a:gd name="T30" fmla="*/ 18 w 48"/>
                <a:gd name="T31" fmla="*/ 50 h 196"/>
                <a:gd name="T32" fmla="*/ 14 w 48"/>
                <a:gd name="T33" fmla="*/ 56 h 196"/>
                <a:gd name="T34" fmla="*/ 10 w 48"/>
                <a:gd name="T35" fmla="*/ 62 h 196"/>
                <a:gd name="T36" fmla="*/ 10 w 48"/>
                <a:gd name="T37" fmla="*/ 62 h 196"/>
                <a:gd name="T38" fmla="*/ 8 w 48"/>
                <a:gd name="T39" fmla="*/ 68 h 196"/>
                <a:gd name="T40" fmla="*/ 8 w 48"/>
                <a:gd name="T41" fmla="*/ 72 h 196"/>
                <a:gd name="T42" fmla="*/ 6 w 48"/>
                <a:gd name="T43" fmla="*/ 74 h 196"/>
                <a:gd name="T44" fmla="*/ 6 w 48"/>
                <a:gd name="T45" fmla="*/ 74 h 196"/>
                <a:gd name="T46" fmla="*/ 4 w 48"/>
                <a:gd name="T47" fmla="*/ 78 h 196"/>
                <a:gd name="T48" fmla="*/ 4 w 48"/>
                <a:gd name="T49" fmla="*/ 78 h 196"/>
                <a:gd name="T50" fmla="*/ 2 w 48"/>
                <a:gd name="T51" fmla="*/ 80 h 196"/>
                <a:gd name="T52" fmla="*/ 2 w 48"/>
                <a:gd name="T53" fmla="*/ 82 h 196"/>
                <a:gd name="T54" fmla="*/ 6 w 48"/>
                <a:gd name="T55" fmla="*/ 88 h 196"/>
                <a:gd name="T56" fmla="*/ 6 w 48"/>
                <a:gd name="T57" fmla="*/ 88 h 196"/>
                <a:gd name="T58" fmla="*/ 14 w 48"/>
                <a:gd name="T59" fmla="*/ 102 h 196"/>
                <a:gd name="T60" fmla="*/ 14 w 48"/>
                <a:gd name="T61" fmla="*/ 102 h 196"/>
                <a:gd name="T62" fmla="*/ 24 w 48"/>
                <a:gd name="T63" fmla="*/ 116 h 196"/>
                <a:gd name="T64" fmla="*/ 30 w 48"/>
                <a:gd name="T65" fmla="*/ 130 h 196"/>
                <a:gd name="T66" fmla="*/ 30 w 48"/>
                <a:gd name="T67" fmla="*/ 130 h 196"/>
                <a:gd name="T68" fmla="*/ 32 w 48"/>
                <a:gd name="T69" fmla="*/ 138 h 196"/>
                <a:gd name="T70" fmla="*/ 34 w 48"/>
                <a:gd name="T71" fmla="*/ 146 h 196"/>
                <a:gd name="T72" fmla="*/ 32 w 48"/>
                <a:gd name="T73" fmla="*/ 154 h 196"/>
                <a:gd name="T74" fmla="*/ 30 w 48"/>
                <a:gd name="T75" fmla="*/ 162 h 196"/>
                <a:gd name="T76" fmla="*/ 30 w 48"/>
                <a:gd name="T77" fmla="*/ 162 h 196"/>
                <a:gd name="T78" fmla="*/ 28 w 48"/>
                <a:gd name="T79" fmla="*/ 168 h 196"/>
                <a:gd name="T80" fmla="*/ 28 w 48"/>
                <a:gd name="T81" fmla="*/ 172 h 196"/>
                <a:gd name="T82" fmla="*/ 28 w 48"/>
                <a:gd name="T83" fmla="*/ 172 h 196"/>
                <a:gd name="T84" fmla="*/ 28 w 48"/>
                <a:gd name="T85" fmla="*/ 176 h 196"/>
                <a:gd name="T86" fmla="*/ 30 w 48"/>
                <a:gd name="T87" fmla="*/ 180 h 196"/>
                <a:gd name="T88" fmla="*/ 38 w 48"/>
                <a:gd name="T89" fmla="*/ 184 h 196"/>
                <a:gd name="T90" fmla="*/ 46 w 48"/>
                <a:gd name="T91" fmla="*/ 188 h 196"/>
                <a:gd name="T92" fmla="*/ 48 w 48"/>
                <a:gd name="T93" fmla="*/ 192 h 196"/>
                <a:gd name="T94" fmla="*/ 48 w 48"/>
                <a:gd name="T95" fmla="*/ 1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8" h="196">
                  <a:moveTo>
                    <a:pt x="0" y="0"/>
                  </a:moveTo>
                  <a:lnTo>
                    <a:pt x="0" y="0"/>
                  </a:lnTo>
                  <a:lnTo>
                    <a:pt x="2" y="2"/>
                  </a:lnTo>
                  <a:lnTo>
                    <a:pt x="6" y="4"/>
                  </a:lnTo>
                  <a:lnTo>
                    <a:pt x="8" y="8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2" y="24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20" y="42"/>
                  </a:lnTo>
                  <a:lnTo>
                    <a:pt x="20" y="46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4" y="56"/>
                  </a:lnTo>
                  <a:lnTo>
                    <a:pt x="10" y="62"/>
                  </a:lnTo>
                  <a:lnTo>
                    <a:pt x="10" y="62"/>
                  </a:lnTo>
                  <a:lnTo>
                    <a:pt x="8" y="68"/>
                  </a:lnTo>
                  <a:lnTo>
                    <a:pt x="8" y="72"/>
                  </a:lnTo>
                  <a:lnTo>
                    <a:pt x="6" y="74"/>
                  </a:lnTo>
                  <a:lnTo>
                    <a:pt x="6" y="74"/>
                  </a:lnTo>
                  <a:lnTo>
                    <a:pt x="4" y="78"/>
                  </a:lnTo>
                  <a:lnTo>
                    <a:pt x="4" y="78"/>
                  </a:lnTo>
                  <a:lnTo>
                    <a:pt x="2" y="80"/>
                  </a:lnTo>
                  <a:lnTo>
                    <a:pt x="2" y="82"/>
                  </a:lnTo>
                  <a:lnTo>
                    <a:pt x="6" y="88"/>
                  </a:lnTo>
                  <a:lnTo>
                    <a:pt x="6" y="88"/>
                  </a:lnTo>
                  <a:lnTo>
                    <a:pt x="14" y="102"/>
                  </a:lnTo>
                  <a:lnTo>
                    <a:pt x="14" y="102"/>
                  </a:lnTo>
                  <a:lnTo>
                    <a:pt x="24" y="116"/>
                  </a:lnTo>
                  <a:lnTo>
                    <a:pt x="30" y="130"/>
                  </a:lnTo>
                  <a:lnTo>
                    <a:pt x="30" y="130"/>
                  </a:lnTo>
                  <a:lnTo>
                    <a:pt x="32" y="138"/>
                  </a:lnTo>
                  <a:lnTo>
                    <a:pt x="34" y="146"/>
                  </a:lnTo>
                  <a:lnTo>
                    <a:pt x="32" y="154"/>
                  </a:lnTo>
                  <a:lnTo>
                    <a:pt x="30" y="162"/>
                  </a:lnTo>
                  <a:lnTo>
                    <a:pt x="30" y="162"/>
                  </a:lnTo>
                  <a:lnTo>
                    <a:pt x="28" y="168"/>
                  </a:lnTo>
                  <a:lnTo>
                    <a:pt x="28" y="172"/>
                  </a:lnTo>
                  <a:lnTo>
                    <a:pt x="28" y="172"/>
                  </a:lnTo>
                  <a:lnTo>
                    <a:pt x="28" y="176"/>
                  </a:lnTo>
                  <a:lnTo>
                    <a:pt x="30" y="180"/>
                  </a:lnTo>
                  <a:lnTo>
                    <a:pt x="38" y="184"/>
                  </a:lnTo>
                  <a:lnTo>
                    <a:pt x="46" y="188"/>
                  </a:lnTo>
                  <a:lnTo>
                    <a:pt x="48" y="192"/>
                  </a:lnTo>
                  <a:lnTo>
                    <a:pt x="48" y="196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71" name="Freeform 44"/>
            <p:cNvSpPr>
              <a:spLocks/>
            </p:cNvSpPr>
            <p:nvPr/>
          </p:nvSpPr>
          <p:spPr bwMode="auto">
            <a:xfrm>
              <a:off x="8200584" y="3690836"/>
              <a:ext cx="209241" cy="210477"/>
            </a:xfrm>
            <a:custGeom>
              <a:avLst/>
              <a:gdLst>
                <a:gd name="T0" fmla="*/ 0 w 106"/>
                <a:gd name="T1" fmla="*/ 0 h 104"/>
                <a:gd name="T2" fmla="*/ 0 w 106"/>
                <a:gd name="T3" fmla="*/ 0 h 104"/>
                <a:gd name="T4" fmla="*/ 2 w 106"/>
                <a:gd name="T5" fmla="*/ 10 h 104"/>
                <a:gd name="T6" fmla="*/ 0 w 106"/>
                <a:gd name="T7" fmla="*/ 22 h 104"/>
                <a:gd name="T8" fmla="*/ 0 w 106"/>
                <a:gd name="T9" fmla="*/ 42 h 104"/>
                <a:gd name="T10" fmla="*/ 0 w 106"/>
                <a:gd name="T11" fmla="*/ 42 h 104"/>
                <a:gd name="T12" fmla="*/ 4 w 106"/>
                <a:gd name="T13" fmla="*/ 52 h 104"/>
                <a:gd name="T14" fmla="*/ 10 w 106"/>
                <a:gd name="T15" fmla="*/ 62 h 104"/>
                <a:gd name="T16" fmla="*/ 16 w 106"/>
                <a:gd name="T17" fmla="*/ 72 h 104"/>
                <a:gd name="T18" fmla="*/ 20 w 106"/>
                <a:gd name="T19" fmla="*/ 84 h 104"/>
                <a:gd name="T20" fmla="*/ 20 w 106"/>
                <a:gd name="T21" fmla="*/ 84 h 104"/>
                <a:gd name="T22" fmla="*/ 22 w 106"/>
                <a:gd name="T23" fmla="*/ 90 h 104"/>
                <a:gd name="T24" fmla="*/ 24 w 106"/>
                <a:gd name="T25" fmla="*/ 98 h 104"/>
                <a:gd name="T26" fmla="*/ 24 w 106"/>
                <a:gd name="T27" fmla="*/ 98 h 104"/>
                <a:gd name="T28" fmla="*/ 28 w 106"/>
                <a:gd name="T29" fmla="*/ 102 h 104"/>
                <a:gd name="T30" fmla="*/ 30 w 106"/>
                <a:gd name="T31" fmla="*/ 104 h 104"/>
                <a:gd name="T32" fmla="*/ 34 w 106"/>
                <a:gd name="T33" fmla="*/ 104 h 104"/>
                <a:gd name="T34" fmla="*/ 38 w 106"/>
                <a:gd name="T35" fmla="*/ 102 h 104"/>
                <a:gd name="T36" fmla="*/ 38 w 106"/>
                <a:gd name="T37" fmla="*/ 102 h 104"/>
                <a:gd name="T38" fmla="*/ 40 w 106"/>
                <a:gd name="T39" fmla="*/ 98 h 104"/>
                <a:gd name="T40" fmla="*/ 40 w 106"/>
                <a:gd name="T41" fmla="*/ 98 h 104"/>
                <a:gd name="T42" fmla="*/ 46 w 106"/>
                <a:gd name="T43" fmla="*/ 98 h 104"/>
                <a:gd name="T44" fmla="*/ 46 w 106"/>
                <a:gd name="T45" fmla="*/ 98 h 104"/>
                <a:gd name="T46" fmla="*/ 60 w 106"/>
                <a:gd name="T47" fmla="*/ 96 h 104"/>
                <a:gd name="T48" fmla="*/ 66 w 106"/>
                <a:gd name="T49" fmla="*/ 98 h 104"/>
                <a:gd name="T50" fmla="*/ 72 w 106"/>
                <a:gd name="T51" fmla="*/ 102 h 104"/>
                <a:gd name="T52" fmla="*/ 72 w 106"/>
                <a:gd name="T53" fmla="*/ 102 h 104"/>
                <a:gd name="T54" fmla="*/ 68 w 106"/>
                <a:gd name="T55" fmla="*/ 100 h 104"/>
                <a:gd name="T56" fmla="*/ 66 w 106"/>
                <a:gd name="T57" fmla="*/ 96 h 104"/>
                <a:gd name="T58" fmla="*/ 66 w 106"/>
                <a:gd name="T59" fmla="*/ 96 h 104"/>
                <a:gd name="T60" fmla="*/ 64 w 106"/>
                <a:gd name="T61" fmla="*/ 88 h 104"/>
                <a:gd name="T62" fmla="*/ 64 w 106"/>
                <a:gd name="T63" fmla="*/ 88 h 104"/>
                <a:gd name="T64" fmla="*/ 62 w 106"/>
                <a:gd name="T65" fmla="*/ 70 h 104"/>
                <a:gd name="T66" fmla="*/ 62 w 106"/>
                <a:gd name="T67" fmla="*/ 70 h 104"/>
                <a:gd name="T68" fmla="*/ 64 w 106"/>
                <a:gd name="T69" fmla="*/ 68 h 104"/>
                <a:gd name="T70" fmla="*/ 64 w 106"/>
                <a:gd name="T71" fmla="*/ 68 h 104"/>
                <a:gd name="T72" fmla="*/ 66 w 106"/>
                <a:gd name="T73" fmla="*/ 66 h 104"/>
                <a:gd name="T74" fmla="*/ 66 w 106"/>
                <a:gd name="T75" fmla="*/ 66 h 104"/>
                <a:gd name="T76" fmla="*/ 78 w 106"/>
                <a:gd name="T77" fmla="*/ 70 h 104"/>
                <a:gd name="T78" fmla="*/ 88 w 106"/>
                <a:gd name="T79" fmla="*/ 74 h 104"/>
                <a:gd name="T80" fmla="*/ 98 w 106"/>
                <a:gd name="T81" fmla="*/ 82 h 104"/>
                <a:gd name="T82" fmla="*/ 106 w 106"/>
                <a:gd name="T83" fmla="*/ 92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06" h="104">
                  <a:moveTo>
                    <a:pt x="0" y="0"/>
                  </a:moveTo>
                  <a:lnTo>
                    <a:pt x="0" y="0"/>
                  </a:lnTo>
                  <a:lnTo>
                    <a:pt x="2" y="10"/>
                  </a:lnTo>
                  <a:lnTo>
                    <a:pt x="0" y="2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4" y="52"/>
                  </a:lnTo>
                  <a:lnTo>
                    <a:pt x="10" y="62"/>
                  </a:lnTo>
                  <a:lnTo>
                    <a:pt x="16" y="72"/>
                  </a:lnTo>
                  <a:lnTo>
                    <a:pt x="20" y="84"/>
                  </a:lnTo>
                  <a:lnTo>
                    <a:pt x="20" y="84"/>
                  </a:lnTo>
                  <a:lnTo>
                    <a:pt x="22" y="90"/>
                  </a:lnTo>
                  <a:lnTo>
                    <a:pt x="24" y="98"/>
                  </a:lnTo>
                  <a:lnTo>
                    <a:pt x="24" y="98"/>
                  </a:lnTo>
                  <a:lnTo>
                    <a:pt x="28" y="102"/>
                  </a:lnTo>
                  <a:lnTo>
                    <a:pt x="30" y="104"/>
                  </a:lnTo>
                  <a:lnTo>
                    <a:pt x="34" y="104"/>
                  </a:lnTo>
                  <a:lnTo>
                    <a:pt x="38" y="102"/>
                  </a:lnTo>
                  <a:lnTo>
                    <a:pt x="38" y="102"/>
                  </a:lnTo>
                  <a:lnTo>
                    <a:pt x="40" y="98"/>
                  </a:lnTo>
                  <a:lnTo>
                    <a:pt x="40" y="98"/>
                  </a:lnTo>
                  <a:lnTo>
                    <a:pt x="46" y="98"/>
                  </a:lnTo>
                  <a:lnTo>
                    <a:pt x="46" y="98"/>
                  </a:lnTo>
                  <a:lnTo>
                    <a:pt x="60" y="96"/>
                  </a:lnTo>
                  <a:lnTo>
                    <a:pt x="66" y="98"/>
                  </a:lnTo>
                  <a:lnTo>
                    <a:pt x="72" y="102"/>
                  </a:lnTo>
                  <a:lnTo>
                    <a:pt x="72" y="102"/>
                  </a:lnTo>
                  <a:lnTo>
                    <a:pt x="68" y="100"/>
                  </a:lnTo>
                  <a:lnTo>
                    <a:pt x="66" y="96"/>
                  </a:lnTo>
                  <a:lnTo>
                    <a:pt x="66" y="96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2" y="70"/>
                  </a:lnTo>
                  <a:lnTo>
                    <a:pt x="62" y="70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78" y="70"/>
                  </a:lnTo>
                  <a:lnTo>
                    <a:pt x="88" y="74"/>
                  </a:lnTo>
                  <a:lnTo>
                    <a:pt x="98" y="82"/>
                  </a:lnTo>
                  <a:lnTo>
                    <a:pt x="106" y="92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72" name="Line 45"/>
            <p:cNvSpPr>
              <a:spLocks noChangeShapeType="1"/>
            </p:cNvSpPr>
            <p:nvPr/>
          </p:nvSpPr>
          <p:spPr bwMode="auto">
            <a:xfrm>
              <a:off x="8200584" y="3690836"/>
              <a:ext cx="90802" cy="194287"/>
            </a:xfrm>
            <a:prstGeom prst="line">
              <a:avLst/>
            </a:pr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73" name="Freeform 46"/>
            <p:cNvSpPr>
              <a:spLocks/>
            </p:cNvSpPr>
            <p:nvPr/>
          </p:nvSpPr>
          <p:spPr bwMode="auto">
            <a:xfrm>
              <a:off x="8208480" y="3690836"/>
              <a:ext cx="118438" cy="137620"/>
            </a:xfrm>
            <a:custGeom>
              <a:avLst/>
              <a:gdLst>
                <a:gd name="T0" fmla="*/ 0 w 60"/>
                <a:gd name="T1" fmla="*/ 0 h 68"/>
                <a:gd name="T2" fmla="*/ 0 w 60"/>
                <a:gd name="T3" fmla="*/ 0 h 68"/>
                <a:gd name="T4" fmla="*/ 22 w 60"/>
                <a:gd name="T5" fmla="*/ 10 h 68"/>
                <a:gd name="T6" fmla="*/ 22 w 60"/>
                <a:gd name="T7" fmla="*/ 10 h 68"/>
                <a:gd name="T8" fmla="*/ 26 w 60"/>
                <a:gd name="T9" fmla="*/ 12 h 68"/>
                <a:gd name="T10" fmla="*/ 28 w 60"/>
                <a:gd name="T11" fmla="*/ 14 h 68"/>
                <a:gd name="T12" fmla="*/ 30 w 60"/>
                <a:gd name="T13" fmla="*/ 18 h 68"/>
                <a:gd name="T14" fmla="*/ 34 w 60"/>
                <a:gd name="T15" fmla="*/ 20 h 68"/>
                <a:gd name="T16" fmla="*/ 34 w 60"/>
                <a:gd name="T17" fmla="*/ 20 h 68"/>
                <a:gd name="T18" fmla="*/ 40 w 60"/>
                <a:gd name="T19" fmla="*/ 22 h 68"/>
                <a:gd name="T20" fmla="*/ 44 w 60"/>
                <a:gd name="T21" fmla="*/ 24 h 68"/>
                <a:gd name="T22" fmla="*/ 44 w 60"/>
                <a:gd name="T23" fmla="*/ 24 h 68"/>
                <a:gd name="T24" fmla="*/ 50 w 60"/>
                <a:gd name="T25" fmla="*/ 24 h 68"/>
                <a:gd name="T26" fmla="*/ 52 w 60"/>
                <a:gd name="T27" fmla="*/ 28 h 68"/>
                <a:gd name="T28" fmla="*/ 52 w 60"/>
                <a:gd name="T29" fmla="*/ 28 h 68"/>
                <a:gd name="T30" fmla="*/ 54 w 60"/>
                <a:gd name="T31" fmla="*/ 46 h 68"/>
                <a:gd name="T32" fmla="*/ 56 w 60"/>
                <a:gd name="T33" fmla="*/ 60 h 68"/>
                <a:gd name="T34" fmla="*/ 60 w 60"/>
                <a:gd name="T35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0" h="68">
                  <a:moveTo>
                    <a:pt x="0" y="0"/>
                  </a:moveTo>
                  <a:lnTo>
                    <a:pt x="0" y="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6" y="12"/>
                  </a:lnTo>
                  <a:lnTo>
                    <a:pt x="28" y="14"/>
                  </a:lnTo>
                  <a:lnTo>
                    <a:pt x="30" y="18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40" y="22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50" y="24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4" y="46"/>
                  </a:lnTo>
                  <a:lnTo>
                    <a:pt x="56" y="60"/>
                  </a:lnTo>
                  <a:lnTo>
                    <a:pt x="60" y="68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74" name="Freeform 47"/>
            <p:cNvSpPr>
              <a:spLocks/>
            </p:cNvSpPr>
            <p:nvPr/>
          </p:nvSpPr>
          <p:spPr bwMode="auto">
            <a:xfrm>
              <a:off x="8295335" y="3439882"/>
              <a:ext cx="47375" cy="76905"/>
            </a:xfrm>
            <a:custGeom>
              <a:avLst/>
              <a:gdLst>
                <a:gd name="T0" fmla="*/ 24 w 24"/>
                <a:gd name="T1" fmla="*/ 0 h 38"/>
                <a:gd name="T2" fmla="*/ 24 w 24"/>
                <a:gd name="T3" fmla="*/ 0 h 38"/>
                <a:gd name="T4" fmla="*/ 20 w 24"/>
                <a:gd name="T5" fmla="*/ 6 h 38"/>
                <a:gd name="T6" fmla="*/ 20 w 24"/>
                <a:gd name="T7" fmla="*/ 6 h 38"/>
                <a:gd name="T8" fmla="*/ 20 w 24"/>
                <a:gd name="T9" fmla="*/ 10 h 38"/>
                <a:gd name="T10" fmla="*/ 18 w 24"/>
                <a:gd name="T11" fmla="*/ 14 h 38"/>
                <a:gd name="T12" fmla="*/ 18 w 24"/>
                <a:gd name="T13" fmla="*/ 14 h 38"/>
                <a:gd name="T14" fmla="*/ 18 w 24"/>
                <a:gd name="T15" fmla="*/ 16 h 38"/>
                <a:gd name="T16" fmla="*/ 18 w 24"/>
                <a:gd name="T17" fmla="*/ 20 h 38"/>
                <a:gd name="T18" fmla="*/ 18 w 24"/>
                <a:gd name="T19" fmla="*/ 20 h 38"/>
                <a:gd name="T20" fmla="*/ 14 w 24"/>
                <a:gd name="T21" fmla="*/ 28 h 38"/>
                <a:gd name="T22" fmla="*/ 14 w 24"/>
                <a:gd name="T23" fmla="*/ 28 h 38"/>
                <a:gd name="T24" fmla="*/ 10 w 24"/>
                <a:gd name="T25" fmla="*/ 32 h 38"/>
                <a:gd name="T26" fmla="*/ 6 w 24"/>
                <a:gd name="T27" fmla="*/ 34 h 38"/>
                <a:gd name="T28" fmla="*/ 0 w 24"/>
                <a:gd name="T29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" h="38">
                  <a:moveTo>
                    <a:pt x="24" y="0"/>
                  </a:moveTo>
                  <a:lnTo>
                    <a:pt x="24" y="0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0" y="10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6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4" y="28"/>
                  </a:lnTo>
                  <a:lnTo>
                    <a:pt x="14" y="28"/>
                  </a:lnTo>
                  <a:lnTo>
                    <a:pt x="10" y="32"/>
                  </a:lnTo>
                  <a:lnTo>
                    <a:pt x="6" y="34"/>
                  </a:lnTo>
                  <a:lnTo>
                    <a:pt x="0" y="38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75" name="Freeform 48"/>
            <p:cNvSpPr>
              <a:spLocks/>
            </p:cNvSpPr>
            <p:nvPr/>
          </p:nvSpPr>
          <p:spPr bwMode="auto">
            <a:xfrm>
              <a:off x="8196636" y="3545121"/>
              <a:ext cx="98698" cy="117381"/>
            </a:xfrm>
            <a:custGeom>
              <a:avLst/>
              <a:gdLst>
                <a:gd name="T0" fmla="*/ 0 w 50"/>
                <a:gd name="T1" fmla="*/ 58 h 58"/>
                <a:gd name="T2" fmla="*/ 0 w 50"/>
                <a:gd name="T3" fmla="*/ 58 h 58"/>
                <a:gd name="T4" fmla="*/ 12 w 50"/>
                <a:gd name="T5" fmla="*/ 46 h 58"/>
                <a:gd name="T6" fmla="*/ 26 w 50"/>
                <a:gd name="T7" fmla="*/ 38 h 58"/>
                <a:gd name="T8" fmla="*/ 32 w 50"/>
                <a:gd name="T9" fmla="*/ 36 h 58"/>
                <a:gd name="T10" fmla="*/ 38 w 50"/>
                <a:gd name="T11" fmla="*/ 36 h 58"/>
                <a:gd name="T12" fmla="*/ 38 w 50"/>
                <a:gd name="T13" fmla="*/ 36 h 58"/>
                <a:gd name="T14" fmla="*/ 44 w 50"/>
                <a:gd name="T15" fmla="*/ 34 h 58"/>
                <a:gd name="T16" fmla="*/ 48 w 50"/>
                <a:gd name="T17" fmla="*/ 30 h 58"/>
                <a:gd name="T18" fmla="*/ 50 w 50"/>
                <a:gd name="T19" fmla="*/ 24 h 58"/>
                <a:gd name="T20" fmla="*/ 48 w 50"/>
                <a:gd name="T21" fmla="*/ 22 h 58"/>
                <a:gd name="T22" fmla="*/ 48 w 50"/>
                <a:gd name="T23" fmla="*/ 22 h 58"/>
                <a:gd name="T24" fmla="*/ 46 w 50"/>
                <a:gd name="T25" fmla="*/ 18 h 58"/>
                <a:gd name="T26" fmla="*/ 44 w 50"/>
                <a:gd name="T27" fmla="*/ 16 h 58"/>
                <a:gd name="T28" fmla="*/ 40 w 50"/>
                <a:gd name="T29" fmla="*/ 14 h 58"/>
                <a:gd name="T30" fmla="*/ 40 w 50"/>
                <a:gd name="T31" fmla="*/ 14 h 58"/>
                <a:gd name="T32" fmla="*/ 36 w 50"/>
                <a:gd name="T33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0" h="58">
                  <a:moveTo>
                    <a:pt x="0" y="58"/>
                  </a:moveTo>
                  <a:lnTo>
                    <a:pt x="0" y="58"/>
                  </a:lnTo>
                  <a:lnTo>
                    <a:pt x="12" y="46"/>
                  </a:lnTo>
                  <a:lnTo>
                    <a:pt x="26" y="38"/>
                  </a:lnTo>
                  <a:lnTo>
                    <a:pt x="32" y="36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44" y="34"/>
                  </a:lnTo>
                  <a:lnTo>
                    <a:pt x="48" y="30"/>
                  </a:lnTo>
                  <a:lnTo>
                    <a:pt x="50" y="24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46" y="18"/>
                  </a:lnTo>
                  <a:lnTo>
                    <a:pt x="44" y="16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36" y="0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76" name="Freeform 49"/>
            <p:cNvSpPr>
              <a:spLocks/>
            </p:cNvSpPr>
            <p:nvPr/>
          </p:nvSpPr>
          <p:spPr bwMode="auto">
            <a:xfrm>
              <a:off x="8196636" y="3630121"/>
              <a:ext cx="177657" cy="149763"/>
            </a:xfrm>
            <a:custGeom>
              <a:avLst/>
              <a:gdLst>
                <a:gd name="T0" fmla="*/ 62 w 90"/>
                <a:gd name="T1" fmla="*/ 74 h 74"/>
                <a:gd name="T2" fmla="*/ 70 w 90"/>
                <a:gd name="T3" fmla="*/ 66 h 74"/>
                <a:gd name="T4" fmla="*/ 70 w 90"/>
                <a:gd name="T5" fmla="*/ 66 h 74"/>
                <a:gd name="T6" fmla="*/ 70 w 90"/>
                <a:gd name="T7" fmla="*/ 64 h 74"/>
                <a:gd name="T8" fmla="*/ 72 w 90"/>
                <a:gd name="T9" fmla="*/ 62 h 74"/>
                <a:gd name="T10" fmla="*/ 72 w 90"/>
                <a:gd name="T11" fmla="*/ 60 h 74"/>
                <a:gd name="T12" fmla="*/ 72 w 90"/>
                <a:gd name="T13" fmla="*/ 60 h 74"/>
                <a:gd name="T14" fmla="*/ 74 w 90"/>
                <a:gd name="T15" fmla="*/ 56 h 74"/>
                <a:gd name="T16" fmla="*/ 76 w 90"/>
                <a:gd name="T17" fmla="*/ 54 h 74"/>
                <a:gd name="T18" fmla="*/ 78 w 90"/>
                <a:gd name="T19" fmla="*/ 52 h 74"/>
                <a:gd name="T20" fmla="*/ 80 w 90"/>
                <a:gd name="T21" fmla="*/ 50 h 74"/>
                <a:gd name="T22" fmla="*/ 80 w 90"/>
                <a:gd name="T23" fmla="*/ 50 h 74"/>
                <a:gd name="T24" fmla="*/ 80 w 90"/>
                <a:gd name="T25" fmla="*/ 48 h 74"/>
                <a:gd name="T26" fmla="*/ 78 w 90"/>
                <a:gd name="T27" fmla="*/ 44 h 74"/>
                <a:gd name="T28" fmla="*/ 72 w 90"/>
                <a:gd name="T29" fmla="*/ 36 h 74"/>
                <a:gd name="T30" fmla="*/ 72 w 90"/>
                <a:gd name="T31" fmla="*/ 36 h 74"/>
                <a:gd name="T32" fmla="*/ 68 w 90"/>
                <a:gd name="T33" fmla="*/ 32 h 74"/>
                <a:gd name="T34" fmla="*/ 64 w 90"/>
                <a:gd name="T35" fmla="*/ 30 h 74"/>
                <a:gd name="T36" fmla="*/ 64 w 90"/>
                <a:gd name="T37" fmla="*/ 30 h 74"/>
                <a:gd name="T38" fmla="*/ 60 w 90"/>
                <a:gd name="T39" fmla="*/ 26 h 74"/>
                <a:gd name="T40" fmla="*/ 60 w 90"/>
                <a:gd name="T41" fmla="*/ 24 h 74"/>
                <a:gd name="T42" fmla="*/ 60 w 90"/>
                <a:gd name="T43" fmla="*/ 24 h 74"/>
                <a:gd name="T44" fmla="*/ 60 w 90"/>
                <a:gd name="T45" fmla="*/ 24 h 74"/>
                <a:gd name="T46" fmla="*/ 60 w 90"/>
                <a:gd name="T47" fmla="*/ 24 h 74"/>
                <a:gd name="T48" fmla="*/ 54 w 90"/>
                <a:gd name="T49" fmla="*/ 22 h 74"/>
                <a:gd name="T50" fmla="*/ 48 w 90"/>
                <a:gd name="T51" fmla="*/ 20 h 74"/>
                <a:gd name="T52" fmla="*/ 48 w 90"/>
                <a:gd name="T53" fmla="*/ 20 h 74"/>
                <a:gd name="T54" fmla="*/ 44 w 90"/>
                <a:gd name="T55" fmla="*/ 18 h 74"/>
                <a:gd name="T56" fmla="*/ 38 w 90"/>
                <a:gd name="T57" fmla="*/ 14 h 74"/>
                <a:gd name="T58" fmla="*/ 38 w 90"/>
                <a:gd name="T59" fmla="*/ 14 h 74"/>
                <a:gd name="T60" fmla="*/ 34 w 90"/>
                <a:gd name="T61" fmla="*/ 12 h 74"/>
                <a:gd name="T62" fmla="*/ 32 w 90"/>
                <a:gd name="T63" fmla="*/ 14 h 74"/>
                <a:gd name="T64" fmla="*/ 32 w 90"/>
                <a:gd name="T65" fmla="*/ 16 h 74"/>
                <a:gd name="T66" fmla="*/ 32 w 90"/>
                <a:gd name="T67" fmla="*/ 16 h 74"/>
                <a:gd name="T68" fmla="*/ 28 w 90"/>
                <a:gd name="T69" fmla="*/ 18 h 74"/>
                <a:gd name="T70" fmla="*/ 24 w 90"/>
                <a:gd name="T71" fmla="*/ 22 h 74"/>
                <a:gd name="T72" fmla="*/ 18 w 90"/>
                <a:gd name="T73" fmla="*/ 26 h 74"/>
                <a:gd name="T74" fmla="*/ 0 w 90"/>
                <a:gd name="T75" fmla="*/ 30 h 74"/>
                <a:gd name="T76" fmla="*/ 0 w 90"/>
                <a:gd name="T77" fmla="*/ 30 h 74"/>
                <a:gd name="T78" fmla="*/ 0 w 90"/>
                <a:gd name="T79" fmla="*/ 28 h 74"/>
                <a:gd name="T80" fmla="*/ 4 w 90"/>
                <a:gd name="T81" fmla="*/ 24 h 74"/>
                <a:gd name="T82" fmla="*/ 10 w 90"/>
                <a:gd name="T83" fmla="*/ 16 h 74"/>
                <a:gd name="T84" fmla="*/ 22 w 90"/>
                <a:gd name="T85" fmla="*/ 8 h 74"/>
                <a:gd name="T86" fmla="*/ 22 w 90"/>
                <a:gd name="T87" fmla="*/ 8 h 74"/>
                <a:gd name="T88" fmla="*/ 26 w 90"/>
                <a:gd name="T89" fmla="*/ 4 h 74"/>
                <a:gd name="T90" fmla="*/ 34 w 90"/>
                <a:gd name="T91" fmla="*/ 2 h 74"/>
                <a:gd name="T92" fmla="*/ 56 w 90"/>
                <a:gd name="T93" fmla="*/ 0 h 74"/>
                <a:gd name="T94" fmla="*/ 90 w 90"/>
                <a:gd name="T95" fmla="*/ 2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0" h="74">
                  <a:moveTo>
                    <a:pt x="62" y="74"/>
                  </a:moveTo>
                  <a:lnTo>
                    <a:pt x="70" y="66"/>
                  </a:lnTo>
                  <a:lnTo>
                    <a:pt x="70" y="66"/>
                  </a:lnTo>
                  <a:lnTo>
                    <a:pt x="70" y="64"/>
                  </a:lnTo>
                  <a:lnTo>
                    <a:pt x="72" y="62"/>
                  </a:lnTo>
                  <a:lnTo>
                    <a:pt x="72" y="60"/>
                  </a:lnTo>
                  <a:lnTo>
                    <a:pt x="72" y="60"/>
                  </a:lnTo>
                  <a:lnTo>
                    <a:pt x="74" y="56"/>
                  </a:lnTo>
                  <a:lnTo>
                    <a:pt x="76" y="54"/>
                  </a:lnTo>
                  <a:lnTo>
                    <a:pt x="78" y="52"/>
                  </a:lnTo>
                  <a:lnTo>
                    <a:pt x="80" y="50"/>
                  </a:lnTo>
                  <a:lnTo>
                    <a:pt x="80" y="50"/>
                  </a:lnTo>
                  <a:lnTo>
                    <a:pt x="80" y="48"/>
                  </a:lnTo>
                  <a:lnTo>
                    <a:pt x="78" y="44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68" y="32"/>
                  </a:lnTo>
                  <a:lnTo>
                    <a:pt x="64" y="30"/>
                  </a:lnTo>
                  <a:lnTo>
                    <a:pt x="64" y="30"/>
                  </a:lnTo>
                  <a:lnTo>
                    <a:pt x="60" y="26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54" y="22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4" y="18"/>
                  </a:lnTo>
                  <a:lnTo>
                    <a:pt x="38" y="14"/>
                  </a:lnTo>
                  <a:lnTo>
                    <a:pt x="38" y="14"/>
                  </a:lnTo>
                  <a:lnTo>
                    <a:pt x="34" y="12"/>
                  </a:lnTo>
                  <a:lnTo>
                    <a:pt x="32" y="14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28" y="18"/>
                  </a:lnTo>
                  <a:lnTo>
                    <a:pt x="24" y="22"/>
                  </a:lnTo>
                  <a:lnTo>
                    <a:pt x="18" y="26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28"/>
                  </a:lnTo>
                  <a:lnTo>
                    <a:pt x="4" y="24"/>
                  </a:lnTo>
                  <a:lnTo>
                    <a:pt x="10" y="16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6" y="4"/>
                  </a:lnTo>
                  <a:lnTo>
                    <a:pt x="34" y="2"/>
                  </a:lnTo>
                  <a:lnTo>
                    <a:pt x="56" y="0"/>
                  </a:lnTo>
                  <a:lnTo>
                    <a:pt x="90" y="2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77" name="Freeform 50"/>
            <p:cNvSpPr>
              <a:spLocks/>
            </p:cNvSpPr>
            <p:nvPr/>
          </p:nvSpPr>
          <p:spPr bwMode="auto">
            <a:xfrm>
              <a:off x="8409825" y="3804170"/>
              <a:ext cx="1358090" cy="449288"/>
            </a:xfrm>
            <a:custGeom>
              <a:avLst/>
              <a:gdLst>
                <a:gd name="T0" fmla="*/ 688 w 688"/>
                <a:gd name="T1" fmla="*/ 0 h 222"/>
                <a:gd name="T2" fmla="*/ 674 w 688"/>
                <a:gd name="T3" fmla="*/ 12 h 222"/>
                <a:gd name="T4" fmla="*/ 632 w 688"/>
                <a:gd name="T5" fmla="*/ 34 h 222"/>
                <a:gd name="T6" fmla="*/ 616 w 688"/>
                <a:gd name="T7" fmla="*/ 38 h 222"/>
                <a:gd name="T8" fmla="*/ 590 w 688"/>
                <a:gd name="T9" fmla="*/ 56 h 222"/>
                <a:gd name="T10" fmla="*/ 508 w 688"/>
                <a:gd name="T11" fmla="*/ 128 h 222"/>
                <a:gd name="T12" fmla="*/ 486 w 688"/>
                <a:gd name="T13" fmla="*/ 146 h 222"/>
                <a:gd name="T14" fmla="*/ 466 w 688"/>
                <a:gd name="T15" fmla="*/ 154 h 222"/>
                <a:gd name="T16" fmla="*/ 450 w 688"/>
                <a:gd name="T17" fmla="*/ 166 h 222"/>
                <a:gd name="T18" fmla="*/ 440 w 688"/>
                <a:gd name="T19" fmla="*/ 176 h 222"/>
                <a:gd name="T20" fmla="*/ 430 w 688"/>
                <a:gd name="T21" fmla="*/ 184 h 222"/>
                <a:gd name="T22" fmla="*/ 420 w 688"/>
                <a:gd name="T23" fmla="*/ 186 h 222"/>
                <a:gd name="T24" fmla="*/ 410 w 688"/>
                <a:gd name="T25" fmla="*/ 190 h 222"/>
                <a:gd name="T26" fmla="*/ 408 w 688"/>
                <a:gd name="T27" fmla="*/ 196 h 222"/>
                <a:gd name="T28" fmla="*/ 408 w 688"/>
                <a:gd name="T29" fmla="*/ 206 h 222"/>
                <a:gd name="T30" fmla="*/ 402 w 688"/>
                <a:gd name="T31" fmla="*/ 212 h 222"/>
                <a:gd name="T32" fmla="*/ 390 w 688"/>
                <a:gd name="T33" fmla="*/ 220 h 222"/>
                <a:gd name="T34" fmla="*/ 376 w 688"/>
                <a:gd name="T35" fmla="*/ 220 h 222"/>
                <a:gd name="T36" fmla="*/ 364 w 688"/>
                <a:gd name="T37" fmla="*/ 210 h 222"/>
                <a:gd name="T38" fmla="*/ 354 w 688"/>
                <a:gd name="T39" fmla="*/ 192 h 222"/>
                <a:gd name="T40" fmla="*/ 350 w 688"/>
                <a:gd name="T41" fmla="*/ 198 h 222"/>
                <a:gd name="T42" fmla="*/ 338 w 688"/>
                <a:gd name="T43" fmla="*/ 202 h 222"/>
                <a:gd name="T44" fmla="*/ 324 w 688"/>
                <a:gd name="T45" fmla="*/ 194 h 222"/>
                <a:gd name="T46" fmla="*/ 302 w 688"/>
                <a:gd name="T47" fmla="*/ 172 h 222"/>
                <a:gd name="T48" fmla="*/ 276 w 688"/>
                <a:gd name="T49" fmla="*/ 138 h 222"/>
                <a:gd name="T50" fmla="*/ 266 w 688"/>
                <a:gd name="T51" fmla="*/ 122 h 222"/>
                <a:gd name="T52" fmla="*/ 230 w 688"/>
                <a:gd name="T53" fmla="*/ 90 h 222"/>
                <a:gd name="T54" fmla="*/ 188 w 688"/>
                <a:gd name="T55" fmla="*/ 66 h 222"/>
                <a:gd name="T56" fmla="*/ 144 w 688"/>
                <a:gd name="T57" fmla="*/ 52 h 222"/>
                <a:gd name="T58" fmla="*/ 100 w 688"/>
                <a:gd name="T59" fmla="*/ 42 h 222"/>
                <a:gd name="T60" fmla="*/ 30 w 688"/>
                <a:gd name="T61" fmla="*/ 34 h 222"/>
                <a:gd name="T62" fmla="*/ 0 w 688"/>
                <a:gd name="T63" fmla="*/ 34 h 222"/>
                <a:gd name="T64" fmla="*/ 44 w 688"/>
                <a:gd name="T65" fmla="*/ 72 h 222"/>
                <a:gd name="T66" fmla="*/ 80 w 688"/>
                <a:gd name="T67" fmla="*/ 98 h 222"/>
                <a:gd name="T68" fmla="*/ 112 w 688"/>
                <a:gd name="T69" fmla="*/ 114 h 222"/>
                <a:gd name="T70" fmla="*/ 128 w 688"/>
                <a:gd name="T71" fmla="*/ 116 h 222"/>
                <a:gd name="T72" fmla="*/ 200 w 688"/>
                <a:gd name="T73" fmla="*/ 122 h 222"/>
                <a:gd name="T74" fmla="*/ 246 w 688"/>
                <a:gd name="T75" fmla="*/ 126 h 222"/>
                <a:gd name="T76" fmla="*/ 268 w 688"/>
                <a:gd name="T77" fmla="*/ 134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88" h="222">
                  <a:moveTo>
                    <a:pt x="688" y="0"/>
                  </a:moveTo>
                  <a:lnTo>
                    <a:pt x="688" y="0"/>
                  </a:lnTo>
                  <a:lnTo>
                    <a:pt x="682" y="6"/>
                  </a:lnTo>
                  <a:lnTo>
                    <a:pt x="674" y="12"/>
                  </a:lnTo>
                  <a:lnTo>
                    <a:pt x="654" y="24"/>
                  </a:lnTo>
                  <a:lnTo>
                    <a:pt x="632" y="34"/>
                  </a:lnTo>
                  <a:lnTo>
                    <a:pt x="616" y="38"/>
                  </a:lnTo>
                  <a:lnTo>
                    <a:pt x="616" y="38"/>
                  </a:lnTo>
                  <a:lnTo>
                    <a:pt x="606" y="42"/>
                  </a:lnTo>
                  <a:lnTo>
                    <a:pt x="590" y="56"/>
                  </a:lnTo>
                  <a:lnTo>
                    <a:pt x="548" y="92"/>
                  </a:lnTo>
                  <a:lnTo>
                    <a:pt x="508" y="128"/>
                  </a:lnTo>
                  <a:lnTo>
                    <a:pt x="492" y="140"/>
                  </a:lnTo>
                  <a:lnTo>
                    <a:pt x="486" y="146"/>
                  </a:lnTo>
                  <a:lnTo>
                    <a:pt x="486" y="146"/>
                  </a:lnTo>
                  <a:lnTo>
                    <a:pt x="466" y="154"/>
                  </a:lnTo>
                  <a:lnTo>
                    <a:pt x="456" y="160"/>
                  </a:lnTo>
                  <a:lnTo>
                    <a:pt x="450" y="166"/>
                  </a:lnTo>
                  <a:lnTo>
                    <a:pt x="450" y="166"/>
                  </a:lnTo>
                  <a:lnTo>
                    <a:pt x="440" y="176"/>
                  </a:lnTo>
                  <a:lnTo>
                    <a:pt x="434" y="182"/>
                  </a:lnTo>
                  <a:lnTo>
                    <a:pt x="430" y="184"/>
                  </a:lnTo>
                  <a:lnTo>
                    <a:pt x="430" y="184"/>
                  </a:lnTo>
                  <a:lnTo>
                    <a:pt x="420" y="186"/>
                  </a:lnTo>
                  <a:lnTo>
                    <a:pt x="410" y="190"/>
                  </a:lnTo>
                  <a:lnTo>
                    <a:pt x="410" y="190"/>
                  </a:lnTo>
                  <a:lnTo>
                    <a:pt x="408" y="192"/>
                  </a:lnTo>
                  <a:lnTo>
                    <a:pt x="408" y="196"/>
                  </a:lnTo>
                  <a:lnTo>
                    <a:pt x="408" y="206"/>
                  </a:lnTo>
                  <a:lnTo>
                    <a:pt x="408" y="206"/>
                  </a:lnTo>
                  <a:lnTo>
                    <a:pt x="406" y="210"/>
                  </a:lnTo>
                  <a:lnTo>
                    <a:pt x="402" y="212"/>
                  </a:lnTo>
                  <a:lnTo>
                    <a:pt x="390" y="220"/>
                  </a:lnTo>
                  <a:lnTo>
                    <a:pt x="390" y="220"/>
                  </a:lnTo>
                  <a:lnTo>
                    <a:pt x="382" y="222"/>
                  </a:lnTo>
                  <a:lnTo>
                    <a:pt x="376" y="220"/>
                  </a:lnTo>
                  <a:lnTo>
                    <a:pt x="370" y="216"/>
                  </a:lnTo>
                  <a:lnTo>
                    <a:pt x="364" y="210"/>
                  </a:lnTo>
                  <a:lnTo>
                    <a:pt x="358" y="198"/>
                  </a:lnTo>
                  <a:lnTo>
                    <a:pt x="354" y="192"/>
                  </a:lnTo>
                  <a:lnTo>
                    <a:pt x="354" y="192"/>
                  </a:lnTo>
                  <a:lnTo>
                    <a:pt x="350" y="198"/>
                  </a:lnTo>
                  <a:lnTo>
                    <a:pt x="344" y="202"/>
                  </a:lnTo>
                  <a:lnTo>
                    <a:pt x="338" y="202"/>
                  </a:lnTo>
                  <a:lnTo>
                    <a:pt x="330" y="198"/>
                  </a:lnTo>
                  <a:lnTo>
                    <a:pt x="324" y="194"/>
                  </a:lnTo>
                  <a:lnTo>
                    <a:pt x="316" y="188"/>
                  </a:lnTo>
                  <a:lnTo>
                    <a:pt x="302" y="172"/>
                  </a:lnTo>
                  <a:lnTo>
                    <a:pt x="288" y="154"/>
                  </a:lnTo>
                  <a:lnTo>
                    <a:pt x="276" y="138"/>
                  </a:lnTo>
                  <a:lnTo>
                    <a:pt x="266" y="122"/>
                  </a:lnTo>
                  <a:lnTo>
                    <a:pt x="266" y="122"/>
                  </a:lnTo>
                  <a:lnTo>
                    <a:pt x="248" y="104"/>
                  </a:lnTo>
                  <a:lnTo>
                    <a:pt x="230" y="90"/>
                  </a:lnTo>
                  <a:lnTo>
                    <a:pt x="210" y="78"/>
                  </a:lnTo>
                  <a:lnTo>
                    <a:pt x="188" y="66"/>
                  </a:lnTo>
                  <a:lnTo>
                    <a:pt x="166" y="58"/>
                  </a:lnTo>
                  <a:lnTo>
                    <a:pt x="144" y="52"/>
                  </a:lnTo>
                  <a:lnTo>
                    <a:pt x="122" y="46"/>
                  </a:lnTo>
                  <a:lnTo>
                    <a:pt x="100" y="42"/>
                  </a:lnTo>
                  <a:lnTo>
                    <a:pt x="62" y="36"/>
                  </a:lnTo>
                  <a:lnTo>
                    <a:pt x="30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14" y="46"/>
                  </a:lnTo>
                  <a:lnTo>
                    <a:pt x="44" y="72"/>
                  </a:lnTo>
                  <a:lnTo>
                    <a:pt x="62" y="86"/>
                  </a:lnTo>
                  <a:lnTo>
                    <a:pt x="80" y="98"/>
                  </a:lnTo>
                  <a:lnTo>
                    <a:pt x="98" y="108"/>
                  </a:lnTo>
                  <a:lnTo>
                    <a:pt x="112" y="114"/>
                  </a:lnTo>
                  <a:lnTo>
                    <a:pt x="112" y="114"/>
                  </a:lnTo>
                  <a:lnTo>
                    <a:pt x="128" y="116"/>
                  </a:lnTo>
                  <a:lnTo>
                    <a:pt x="150" y="118"/>
                  </a:lnTo>
                  <a:lnTo>
                    <a:pt x="200" y="122"/>
                  </a:lnTo>
                  <a:lnTo>
                    <a:pt x="224" y="124"/>
                  </a:lnTo>
                  <a:lnTo>
                    <a:pt x="246" y="126"/>
                  </a:lnTo>
                  <a:lnTo>
                    <a:pt x="262" y="130"/>
                  </a:lnTo>
                  <a:lnTo>
                    <a:pt x="268" y="134"/>
                  </a:lnTo>
                  <a:lnTo>
                    <a:pt x="274" y="136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78" name="Freeform 51"/>
            <p:cNvSpPr>
              <a:spLocks/>
            </p:cNvSpPr>
            <p:nvPr/>
          </p:nvSpPr>
          <p:spPr bwMode="auto">
            <a:xfrm>
              <a:off x="9056172" y="2788213"/>
              <a:ext cx="3135774" cy="1465244"/>
            </a:xfrm>
            <a:custGeom>
              <a:avLst/>
              <a:gdLst>
                <a:gd name="T0" fmla="*/ 0 w 1530"/>
                <a:gd name="T1" fmla="*/ 724 h 724"/>
                <a:gd name="T2" fmla="*/ 0 w 1530"/>
                <a:gd name="T3" fmla="*/ 724 h 724"/>
                <a:gd name="T4" fmla="*/ 10 w 1530"/>
                <a:gd name="T5" fmla="*/ 724 h 724"/>
                <a:gd name="T6" fmla="*/ 20 w 1530"/>
                <a:gd name="T7" fmla="*/ 722 h 724"/>
                <a:gd name="T8" fmla="*/ 30 w 1530"/>
                <a:gd name="T9" fmla="*/ 720 h 724"/>
                <a:gd name="T10" fmla="*/ 30 w 1530"/>
                <a:gd name="T11" fmla="*/ 720 h 724"/>
                <a:gd name="T12" fmla="*/ 36 w 1530"/>
                <a:gd name="T13" fmla="*/ 714 h 724"/>
                <a:gd name="T14" fmla="*/ 40 w 1530"/>
                <a:gd name="T15" fmla="*/ 708 h 724"/>
                <a:gd name="T16" fmla="*/ 44 w 1530"/>
                <a:gd name="T17" fmla="*/ 704 h 724"/>
                <a:gd name="T18" fmla="*/ 48 w 1530"/>
                <a:gd name="T19" fmla="*/ 702 h 724"/>
                <a:gd name="T20" fmla="*/ 48 w 1530"/>
                <a:gd name="T21" fmla="*/ 702 h 724"/>
                <a:gd name="T22" fmla="*/ 50 w 1530"/>
                <a:gd name="T23" fmla="*/ 702 h 724"/>
                <a:gd name="T24" fmla="*/ 50 w 1530"/>
                <a:gd name="T25" fmla="*/ 702 h 724"/>
                <a:gd name="T26" fmla="*/ 56 w 1530"/>
                <a:gd name="T27" fmla="*/ 700 h 724"/>
                <a:gd name="T28" fmla="*/ 56 w 1530"/>
                <a:gd name="T29" fmla="*/ 700 h 724"/>
                <a:gd name="T30" fmla="*/ 86 w 1530"/>
                <a:gd name="T31" fmla="*/ 680 h 724"/>
                <a:gd name="T32" fmla="*/ 114 w 1530"/>
                <a:gd name="T33" fmla="*/ 660 h 724"/>
                <a:gd name="T34" fmla="*/ 146 w 1530"/>
                <a:gd name="T35" fmla="*/ 634 h 724"/>
                <a:gd name="T36" fmla="*/ 178 w 1530"/>
                <a:gd name="T37" fmla="*/ 604 h 724"/>
                <a:gd name="T38" fmla="*/ 194 w 1530"/>
                <a:gd name="T39" fmla="*/ 586 h 724"/>
                <a:gd name="T40" fmla="*/ 210 w 1530"/>
                <a:gd name="T41" fmla="*/ 568 h 724"/>
                <a:gd name="T42" fmla="*/ 222 w 1530"/>
                <a:gd name="T43" fmla="*/ 550 h 724"/>
                <a:gd name="T44" fmla="*/ 234 w 1530"/>
                <a:gd name="T45" fmla="*/ 530 h 724"/>
                <a:gd name="T46" fmla="*/ 242 w 1530"/>
                <a:gd name="T47" fmla="*/ 510 h 724"/>
                <a:gd name="T48" fmla="*/ 250 w 1530"/>
                <a:gd name="T49" fmla="*/ 490 h 724"/>
                <a:gd name="T50" fmla="*/ 250 w 1530"/>
                <a:gd name="T51" fmla="*/ 490 h 724"/>
                <a:gd name="T52" fmla="*/ 246 w 1530"/>
                <a:gd name="T53" fmla="*/ 472 h 724"/>
                <a:gd name="T54" fmla="*/ 246 w 1530"/>
                <a:gd name="T55" fmla="*/ 458 h 724"/>
                <a:gd name="T56" fmla="*/ 246 w 1530"/>
                <a:gd name="T57" fmla="*/ 452 h 724"/>
                <a:gd name="T58" fmla="*/ 248 w 1530"/>
                <a:gd name="T59" fmla="*/ 448 h 724"/>
                <a:gd name="T60" fmla="*/ 248 w 1530"/>
                <a:gd name="T61" fmla="*/ 448 h 724"/>
                <a:gd name="T62" fmla="*/ 268 w 1530"/>
                <a:gd name="T63" fmla="*/ 420 h 724"/>
                <a:gd name="T64" fmla="*/ 282 w 1530"/>
                <a:gd name="T65" fmla="*/ 404 h 724"/>
                <a:gd name="T66" fmla="*/ 290 w 1530"/>
                <a:gd name="T67" fmla="*/ 398 h 724"/>
                <a:gd name="T68" fmla="*/ 296 w 1530"/>
                <a:gd name="T69" fmla="*/ 394 h 724"/>
                <a:gd name="T70" fmla="*/ 296 w 1530"/>
                <a:gd name="T71" fmla="*/ 394 h 724"/>
                <a:gd name="T72" fmla="*/ 306 w 1530"/>
                <a:gd name="T73" fmla="*/ 394 h 724"/>
                <a:gd name="T74" fmla="*/ 314 w 1530"/>
                <a:gd name="T75" fmla="*/ 394 h 724"/>
                <a:gd name="T76" fmla="*/ 324 w 1530"/>
                <a:gd name="T77" fmla="*/ 394 h 724"/>
                <a:gd name="T78" fmla="*/ 334 w 1530"/>
                <a:gd name="T79" fmla="*/ 394 h 724"/>
                <a:gd name="T80" fmla="*/ 334 w 1530"/>
                <a:gd name="T81" fmla="*/ 394 h 724"/>
                <a:gd name="T82" fmla="*/ 346 w 1530"/>
                <a:gd name="T83" fmla="*/ 388 h 724"/>
                <a:gd name="T84" fmla="*/ 372 w 1530"/>
                <a:gd name="T85" fmla="*/ 374 h 724"/>
                <a:gd name="T86" fmla="*/ 450 w 1530"/>
                <a:gd name="T87" fmla="*/ 326 h 724"/>
                <a:gd name="T88" fmla="*/ 548 w 1530"/>
                <a:gd name="T89" fmla="*/ 266 h 724"/>
                <a:gd name="T90" fmla="*/ 598 w 1530"/>
                <a:gd name="T91" fmla="*/ 238 h 724"/>
                <a:gd name="T92" fmla="*/ 644 w 1530"/>
                <a:gd name="T93" fmla="*/ 210 h 724"/>
                <a:gd name="T94" fmla="*/ 644 w 1530"/>
                <a:gd name="T95" fmla="*/ 210 h 724"/>
                <a:gd name="T96" fmla="*/ 670 w 1530"/>
                <a:gd name="T97" fmla="*/ 198 h 724"/>
                <a:gd name="T98" fmla="*/ 704 w 1530"/>
                <a:gd name="T99" fmla="*/ 184 h 724"/>
                <a:gd name="T100" fmla="*/ 786 w 1530"/>
                <a:gd name="T101" fmla="*/ 152 h 724"/>
                <a:gd name="T102" fmla="*/ 890 w 1530"/>
                <a:gd name="T103" fmla="*/ 118 h 724"/>
                <a:gd name="T104" fmla="*/ 948 w 1530"/>
                <a:gd name="T105" fmla="*/ 100 h 724"/>
                <a:gd name="T106" fmla="*/ 1008 w 1530"/>
                <a:gd name="T107" fmla="*/ 84 h 724"/>
                <a:gd name="T108" fmla="*/ 1072 w 1530"/>
                <a:gd name="T109" fmla="*/ 68 h 724"/>
                <a:gd name="T110" fmla="*/ 1136 w 1530"/>
                <a:gd name="T111" fmla="*/ 52 h 724"/>
                <a:gd name="T112" fmla="*/ 1202 w 1530"/>
                <a:gd name="T113" fmla="*/ 38 h 724"/>
                <a:gd name="T114" fmla="*/ 1268 w 1530"/>
                <a:gd name="T115" fmla="*/ 26 h 724"/>
                <a:gd name="T116" fmla="*/ 1336 w 1530"/>
                <a:gd name="T117" fmla="*/ 16 h 724"/>
                <a:gd name="T118" fmla="*/ 1402 w 1530"/>
                <a:gd name="T119" fmla="*/ 8 h 724"/>
                <a:gd name="T120" fmla="*/ 1466 w 1530"/>
                <a:gd name="T121" fmla="*/ 2 h 724"/>
                <a:gd name="T122" fmla="*/ 1530 w 1530"/>
                <a:gd name="T123" fmla="*/ 0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30" h="724">
                  <a:moveTo>
                    <a:pt x="0" y="724"/>
                  </a:moveTo>
                  <a:lnTo>
                    <a:pt x="0" y="724"/>
                  </a:lnTo>
                  <a:lnTo>
                    <a:pt x="10" y="724"/>
                  </a:lnTo>
                  <a:lnTo>
                    <a:pt x="20" y="722"/>
                  </a:lnTo>
                  <a:lnTo>
                    <a:pt x="30" y="720"/>
                  </a:lnTo>
                  <a:lnTo>
                    <a:pt x="30" y="720"/>
                  </a:lnTo>
                  <a:lnTo>
                    <a:pt x="36" y="714"/>
                  </a:lnTo>
                  <a:lnTo>
                    <a:pt x="40" y="708"/>
                  </a:lnTo>
                  <a:lnTo>
                    <a:pt x="44" y="704"/>
                  </a:lnTo>
                  <a:lnTo>
                    <a:pt x="48" y="702"/>
                  </a:lnTo>
                  <a:lnTo>
                    <a:pt x="48" y="702"/>
                  </a:lnTo>
                  <a:lnTo>
                    <a:pt x="50" y="702"/>
                  </a:lnTo>
                  <a:lnTo>
                    <a:pt x="50" y="702"/>
                  </a:lnTo>
                  <a:lnTo>
                    <a:pt x="56" y="700"/>
                  </a:lnTo>
                  <a:lnTo>
                    <a:pt x="56" y="700"/>
                  </a:lnTo>
                  <a:lnTo>
                    <a:pt x="86" y="680"/>
                  </a:lnTo>
                  <a:lnTo>
                    <a:pt x="114" y="660"/>
                  </a:lnTo>
                  <a:lnTo>
                    <a:pt x="146" y="634"/>
                  </a:lnTo>
                  <a:lnTo>
                    <a:pt x="178" y="604"/>
                  </a:lnTo>
                  <a:lnTo>
                    <a:pt x="194" y="586"/>
                  </a:lnTo>
                  <a:lnTo>
                    <a:pt x="210" y="568"/>
                  </a:lnTo>
                  <a:lnTo>
                    <a:pt x="222" y="550"/>
                  </a:lnTo>
                  <a:lnTo>
                    <a:pt x="234" y="530"/>
                  </a:lnTo>
                  <a:lnTo>
                    <a:pt x="242" y="510"/>
                  </a:lnTo>
                  <a:lnTo>
                    <a:pt x="250" y="490"/>
                  </a:lnTo>
                  <a:lnTo>
                    <a:pt x="250" y="490"/>
                  </a:lnTo>
                  <a:lnTo>
                    <a:pt x="246" y="472"/>
                  </a:lnTo>
                  <a:lnTo>
                    <a:pt x="246" y="458"/>
                  </a:lnTo>
                  <a:lnTo>
                    <a:pt x="246" y="452"/>
                  </a:lnTo>
                  <a:lnTo>
                    <a:pt x="248" y="448"/>
                  </a:lnTo>
                  <a:lnTo>
                    <a:pt x="248" y="448"/>
                  </a:lnTo>
                  <a:lnTo>
                    <a:pt x="268" y="420"/>
                  </a:lnTo>
                  <a:lnTo>
                    <a:pt x="282" y="404"/>
                  </a:lnTo>
                  <a:lnTo>
                    <a:pt x="290" y="398"/>
                  </a:lnTo>
                  <a:lnTo>
                    <a:pt x="296" y="394"/>
                  </a:lnTo>
                  <a:lnTo>
                    <a:pt x="296" y="394"/>
                  </a:lnTo>
                  <a:lnTo>
                    <a:pt x="306" y="394"/>
                  </a:lnTo>
                  <a:lnTo>
                    <a:pt x="314" y="394"/>
                  </a:lnTo>
                  <a:lnTo>
                    <a:pt x="324" y="394"/>
                  </a:lnTo>
                  <a:lnTo>
                    <a:pt x="334" y="394"/>
                  </a:lnTo>
                  <a:lnTo>
                    <a:pt x="334" y="394"/>
                  </a:lnTo>
                  <a:lnTo>
                    <a:pt x="346" y="388"/>
                  </a:lnTo>
                  <a:lnTo>
                    <a:pt x="372" y="374"/>
                  </a:lnTo>
                  <a:lnTo>
                    <a:pt x="450" y="326"/>
                  </a:lnTo>
                  <a:lnTo>
                    <a:pt x="548" y="266"/>
                  </a:lnTo>
                  <a:lnTo>
                    <a:pt x="598" y="238"/>
                  </a:lnTo>
                  <a:lnTo>
                    <a:pt x="644" y="210"/>
                  </a:lnTo>
                  <a:lnTo>
                    <a:pt x="644" y="210"/>
                  </a:lnTo>
                  <a:lnTo>
                    <a:pt x="670" y="198"/>
                  </a:lnTo>
                  <a:lnTo>
                    <a:pt x="704" y="184"/>
                  </a:lnTo>
                  <a:lnTo>
                    <a:pt x="786" y="152"/>
                  </a:lnTo>
                  <a:lnTo>
                    <a:pt x="890" y="118"/>
                  </a:lnTo>
                  <a:lnTo>
                    <a:pt x="948" y="100"/>
                  </a:lnTo>
                  <a:lnTo>
                    <a:pt x="1008" y="84"/>
                  </a:lnTo>
                  <a:lnTo>
                    <a:pt x="1072" y="68"/>
                  </a:lnTo>
                  <a:lnTo>
                    <a:pt x="1136" y="52"/>
                  </a:lnTo>
                  <a:lnTo>
                    <a:pt x="1202" y="38"/>
                  </a:lnTo>
                  <a:lnTo>
                    <a:pt x="1268" y="26"/>
                  </a:lnTo>
                  <a:lnTo>
                    <a:pt x="1336" y="16"/>
                  </a:lnTo>
                  <a:lnTo>
                    <a:pt x="1402" y="8"/>
                  </a:lnTo>
                  <a:lnTo>
                    <a:pt x="1466" y="2"/>
                  </a:lnTo>
                  <a:lnTo>
                    <a:pt x="1530" y="0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79" name="Freeform 52"/>
            <p:cNvSpPr>
              <a:spLocks/>
            </p:cNvSpPr>
            <p:nvPr/>
          </p:nvSpPr>
          <p:spPr bwMode="auto">
            <a:xfrm>
              <a:off x="8425616" y="3881075"/>
              <a:ext cx="398741" cy="85000"/>
            </a:xfrm>
            <a:custGeom>
              <a:avLst/>
              <a:gdLst>
                <a:gd name="T0" fmla="*/ 0 w 202"/>
                <a:gd name="T1" fmla="*/ 0 h 42"/>
                <a:gd name="T2" fmla="*/ 0 w 202"/>
                <a:gd name="T3" fmla="*/ 0 h 42"/>
                <a:gd name="T4" fmla="*/ 28 w 202"/>
                <a:gd name="T5" fmla="*/ 0 h 42"/>
                <a:gd name="T6" fmla="*/ 50 w 202"/>
                <a:gd name="T7" fmla="*/ 4 h 42"/>
                <a:gd name="T8" fmla="*/ 70 w 202"/>
                <a:gd name="T9" fmla="*/ 8 h 42"/>
                <a:gd name="T10" fmla="*/ 70 w 202"/>
                <a:gd name="T11" fmla="*/ 8 h 42"/>
                <a:gd name="T12" fmla="*/ 110 w 202"/>
                <a:gd name="T13" fmla="*/ 26 h 42"/>
                <a:gd name="T14" fmla="*/ 132 w 202"/>
                <a:gd name="T15" fmla="*/ 34 h 42"/>
                <a:gd name="T16" fmla="*/ 150 w 202"/>
                <a:gd name="T17" fmla="*/ 40 h 42"/>
                <a:gd name="T18" fmla="*/ 150 w 202"/>
                <a:gd name="T19" fmla="*/ 40 h 42"/>
                <a:gd name="T20" fmla="*/ 166 w 202"/>
                <a:gd name="T21" fmla="*/ 42 h 42"/>
                <a:gd name="T22" fmla="*/ 184 w 202"/>
                <a:gd name="T23" fmla="*/ 42 h 42"/>
                <a:gd name="T24" fmla="*/ 202 w 202"/>
                <a:gd name="T2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2" h="42">
                  <a:moveTo>
                    <a:pt x="0" y="0"/>
                  </a:moveTo>
                  <a:lnTo>
                    <a:pt x="0" y="0"/>
                  </a:lnTo>
                  <a:lnTo>
                    <a:pt x="28" y="0"/>
                  </a:lnTo>
                  <a:lnTo>
                    <a:pt x="50" y="4"/>
                  </a:lnTo>
                  <a:lnTo>
                    <a:pt x="70" y="8"/>
                  </a:lnTo>
                  <a:lnTo>
                    <a:pt x="70" y="8"/>
                  </a:lnTo>
                  <a:lnTo>
                    <a:pt x="110" y="26"/>
                  </a:lnTo>
                  <a:lnTo>
                    <a:pt x="132" y="34"/>
                  </a:lnTo>
                  <a:lnTo>
                    <a:pt x="150" y="40"/>
                  </a:lnTo>
                  <a:lnTo>
                    <a:pt x="150" y="40"/>
                  </a:lnTo>
                  <a:lnTo>
                    <a:pt x="166" y="42"/>
                  </a:lnTo>
                  <a:lnTo>
                    <a:pt x="184" y="42"/>
                  </a:lnTo>
                  <a:lnTo>
                    <a:pt x="202" y="42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80" name="Freeform 53"/>
            <p:cNvSpPr>
              <a:spLocks/>
            </p:cNvSpPr>
            <p:nvPr/>
          </p:nvSpPr>
          <p:spPr bwMode="auto">
            <a:xfrm>
              <a:off x="8334814" y="3674645"/>
              <a:ext cx="51323" cy="28333"/>
            </a:xfrm>
            <a:custGeom>
              <a:avLst/>
              <a:gdLst>
                <a:gd name="T0" fmla="*/ 26 w 26"/>
                <a:gd name="T1" fmla="*/ 0 h 14"/>
                <a:gd name="T2" fmla="*/ 26 w 26"/>
                <a:gd name="T3" fmla="*/ 0 h 14"/>
                <a:gd name="T4" fmla="*/ 24 w 26"/>
                <a:gd name="T5" fmla="*/ 2 h 14"/>
                <a:gd name="T6" fmla="*/ 18 w 26"/>
                <a:gd name="T7" fmla="*/ 8 h 14"/>
                <a:gd name="T8" fmla="*/ 10 w 26"/>
                <a:gd name="T9" fmla="*/ 12 h 14"/>
                <a:gd name="T10" fmla="*/ 6 w 26"/>
                <a:gd name="T11" fmla="*/ 14 h 14"/>
                <a:gd name="T12" fmla="*/ 0 w 26"/>
                <a:gd name="T13" fmla="*/ 1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4">
                  <a:moveTo>
                    <a:pt x="26" y="0"/>
                  </a:moveTo>
                  <a:lnTo>
                    <a:pt x="26" y="0"/>
                  </a:lnTo>
                  <a:lnTo>
                    <a:pt x="24" y="2"/>
                  </a:lnTo>
                  <a:lnTo>
                    <a:pt x="18" y="8"/>
                  </a:lnTo>
                  <a:lnTo>
                    <a:pt x="10" y="12"/>
                  </a:lnTo>
                  <a:lnTo>
                    <a:pt x="6" y="14"/>
                  </a:lnTo>
                  <a:lnTo>
                    <a:pt x="0" y="12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82" name="Freeform 55"/>
            <p:cNvSpPr>
              <a:spLocks/>
            </p:cNvSpPr>
            <p:nvPr/>
          </p:nvSpPr>
          <p:spPr bwMode="auto">
            <a:xfrm>
              <a:off x="9629736" y="3561312"/>
              <a:ext cx="201345" cy="76905"/>
            </a:xfrm>
            <a:custGeom>
              <a:avLst/>
              <a:gdLst>
                <a:gd name="T0" fmla="*/ 102 w 102"/>
                <a:gd name="T1" fmla="*/ 12 h 38"/>
                <a:gd name="T2" fmla="*/ 102 w 102"/>
                <a:gd name="T3" fmla="*/ 12 h 38"/>
                <a:gd name="T4" fmla="*/ 94 w 102"/>
                <a:gd name="T5" fmla="*/ 22 h 38"/>
                <a:gd name="T6" fmla="*/ 86 w 102"/>
                <a:gd name="T7" fmla="*/ 28 h 38"/>
                <a:gd name="T8" fmla="*/ 80 w 102"/>
                <a:gd name="T9" fmla="*/ 32 h 38"/>
                <a:gd name="T10" fmla="*/ 80 w 102"/>
                <a:gd name="T11" fmla="*/ 32 h 38"/>
                <a:gd name="T12" fmla="*/ 56 w 102"/>
                <a:gd name="T13" fmla="*/ 36 h 38"/>
                <a:gd name="T14" fmla="*/ 56 w 102"/>
                <a:gd name="T15" fmla="*/ 36 h 38"/>
                <a:gd name="T16" fmla="*/ 32 w 102"/>
                <a:gd name="T17" fmla="*/ 38 h 38"/>
                <a:gd name="T18" fmla="*/ 18 w 102"/>
                <a:gd name="T19" fmla="*/ 36 h 38"/>
                <a:gd name="T20" fmla="*/ 8 w 102"/>
                <a:gd name="T21" fmla="*/ 34 h 38"/>
                <a:gd name="T22" fmla="*/ 8 w 102"/>
                <a:gd name="T23" fmla="*/ 34 h 38"/>
                <a:gd name="T24" fmla="*/ 6 w 102"/>
                <a:gd name="T25" fmla="*/ 32 h 38"/>
                <a:gd name="T26" fmla="*/ 6 w 102"/>
                <a:gd name="T27" fmla="*/ 28 h 38"/>
                <a:gd name="T28" fmla="*/ 8 w 102"/>
                <a:gd name="T29" fmla="*/ 22 h 38"/>
                <a:gd name="T30" fmla="*/ 10 w 102"/>
                <a:gd name="T31" fmla="*/ 16 h 38"/>
                <a:gd name="T32" fmla="*/ 10 w 102"/>
                <a:gd name="T33" fmla="*/ 14 h 38"/>
                <a:gd name="T34" fmla="*/ 8 w 102"/>
                <a:gd name="T35" fmla="*/ 14 h 38"/>
                <a:gd name="T36" fmla="*/ 8 w 102"/>
                <a:gd name="T37" fmla="*/ 14 h 38"/>
                <a:gd name="T38" fmla="*/ 4 w 102"/>
                <a:gd name="T39" fmla="*/ 10 h 38"/>
                <a:gd name="T40" fmla="*/ 2 w 102"/>
                <a:gd name="T41" fmla="*/ 6 h 38"/>
                <a:gd name="T42" fmla="*/ 0 w 102"/>
                <a:gd name="T43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2" h="38">
                  <a:moveTo>
                    <a:pt x="102" y="12"/>
                  </a:moveTo>
                  <a:lnTo>
                    <a:pt x="102" y="12"/>
                  </a:lnTo>
                  <a:lnTo>
                    <a:pt x="94" y="22"/>
                  </a:lnTo>
                  <a:lnTo>
                    <a:pt x="86" y="28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32" y="38"/>
                  </a:lnTo>
                  <a:lnTo>
                    <a:pt x="18" y="36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6" y="32"/>
                  </a:lnTo>
                  <a:lnTo>
                    <a:pt x="6" y="28"/>
                  </a:lnTo>
                  <a:lnTo>
                    <a:pt x="8" y="22"/>
                  </a:lnTo>
                  <a:lnTo>
                    <a:pt x="10" y="16"/>
                  </a:lnTo>
                  <a:lnTo>
                    <a:pt x="10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4" y="10"/>
                  </a:lnTo>
                  <a:lnTo>
                    <a:pt x="2" y="6"/>
                  </a:lnTo>
                  <a:lnTo>
                    <a:pt x="0" y="0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83" name="Freeform 56"/>
            <p:cNvSpPr>
              <a:spLocks/>
            </p:cNvSpPr>
            <p:nvPr/>
          </p:nvSpPr>
          <p:spPr bwMode="auto">
            <a:xfrm>
              <a:off x="9712643" y="3172738"/>
              <a:ext cx="722472" cy="497859"/>
            </a:xfrm>
            <a:custGeom>
              <a:avLst/>
              <a:gdLst>
                <a:gd name="T0" fmla="*/ 0 w 366"/>
                <a:gd name="T1" fmla="*/ 246 h 246"/>
                <a:gd name="T2" fmla="*/ 0 w 366"/>
                <a:gd name="T3" fmla="*/ 246 h 246"/>
                <a:gd name="T4" fmla="*/ 8 w 366"/>
                <a:gd name="T5" fmla="*/ 240 h 246"/>
                <a:gd name="T6" fmla="*/ 14 w 366"/>
                <a:gd name="T7" fmla="*/ 236 h 246"/>
                <a:gd name="T8" fmla="*/ 20 w 366"/>
                <a:gd name="T9" fmla="*/ 234 h 246"/>
                <a:gd name="T10" fmla="*/ 20 w 366"/>
                <a:gd name="T11" fmla="*/ 234 h 246"/>
                <a:gd name="T12" fmla="*/ 48 w 366"/>
                <a:gd name="T13" fmla="*/ 238 h 246"/>
                <a:gd name="T14" fmla="*/ 62 w 366"/>
                <a:gd name="T15" fmla="*/ 240 h 246"/>
                <a:gd name="T16" fmla="*/ 68 w 366"/>
                <a:gd name="T17" fmla="*/ 240 h 246"/>
                <a:gd name="T18" fmla="*/ 72 w 366"/>
                <a:gd name="T19" fmla="*/ 238 h 246"/>
                <a:gd name="T20" fmla="*/ 72 w 366"/>
                <a:gd name="T21" fmla="*/ 238 h 246"/>
                <a:gd name="T22" fmla="*/ 72 w 366"/>
                <a:gd name="T23" fmla="*/ 236 h 246"/>
                <a:gd name="T24" fmla="*/ 72 w 366"/>
                <a:gd name="T25" fmla="*/ 232 h 246"/>
                <a:gd name="T26" fmla="*/ 70 w 366"/>
                <a:gd name="T27" fmla="*/ 220 h 246"/>
                <a:gd name="T28" fmla="*/ 66 w 366"/>
                <a:gd name="T29" fmla="*/ 204 h 246"/>
                <a:gd name="T30" fmla="*/ 66 w 366"/>
                <a:gd name="T31" fmla="*/ 204 h 246"/>
                <a:gd name="T32" fmla="*/ 154 w 366"/>
                <a:gd name="T33" fmla="*/ 148 h 246"/>
                <a:gd name="T34" fmla="*/ 154 w 366"/>
                <a:gd name="T35" fmla="*/ 148 h 246"/>
                <a:gd name="T36" fmla="*/ 168 w 366"/>
                <a:gd name="T37" fmla="*/ 138 h 246"/>
                <a:gd name="T38" fmla="*/ 192 w 366"/>
                <a:gd name="T39" fmla="*/ 126 h 246"/>
                <a:gd name="T40" fmla="*/ 252 w 366"/>
                <a:gd name="T41" fmla="*/ 100 h 246"/>
                <a:gd name="T42" fmla="*/ 330 w 366"/>
                <a:gd name="T43" fmla="*/ 68 h 246"/>
                <a:gd name="T44" fmla="*/ 330 w 366"/>
                <a:gd name="T45" fmla="*/ 68 h 246"/>
                <a:gd name="T46" fmla="*/ 344 w 366"/>
                <a:gd name="T47" fmla="*/ 66 h 246"/>
                <a:gd name="T48" fmla="*/ 354 w 366"/>
                <a:gd name="T49" fmla="*/ 62 h 246"/>
                <a:gd name="T50" fmla="*/ 362 w 366"/>
                <a:gd name="T51" fmla="*/ 56 h 246"/>
                <a:gd name="T52" fmla="*/ 362 w 366"/>
                <a:gd name="T53" fmla="*/ 56 h 246"/>
                <a:gd name="T54" fmla="*/ 366 w 366"/>
                <a:gd name="T55" fmla="*/ 48 h 246"/>
                <a:gd name="T56" fmla="*/ 366 w 366"/>
                <a:gd name="T57" fmla="*/ 34 h 246"/>
                <a:gd name="T58" fmla="*/ 364 w 366"/>
                <a:gd name="T59" fmla="*/ 24 h 246"/>
                <a:gd name="T60" fmla="*/ 362 w 366"/>
                <a:gd name="T61" fmla="*/ 18 h 246"/>
                <a:gd name="T62" fmla="*/ 360 w 366"/>
                <a:gd name="T63" fmla="*/ 16 h 246"/>
                <a:gd name="T64" fmla="*/ 360 w 366"/>
                <a:gd name="T65" fmla="*/ 16 h 246"/>
                <a:gd name="T66" fmla="*/ 350 w 366"/>
                <a:gd name="T67" fmla="*/ 12 h 246"/>
                <a:gd name="T68" fmla="*/ 336 w 366"/>
                <a:gd name="T69" fmla="*/ 6 h 246"/>
                <a:gd name="T70" fmla="*/ 316 w 366"/>
                <a:gd name="T71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66" h="246">
                  <a:moveTo>
                    <a:pt x="0" y="246"/>
                  </a:moveTo>
                  <a:lnTo>
                    <a:pt x="0" y="246"/>
                  </a:lnTo>
                  <a:lnTo>
                    <a:pt x="8" y="240"/>
                  </a:lnTo>
                  <a:lnTo>
                    <a:pt x="14" y="236"/>
                  </a:lnTo>
                  <a:lnTo>
                    <a:pt x="20" y="234"/>
                  </a:lnTo>
                  <a:lnTo>
                    <a:pt x="20" y="234"/>
                  </a:lnTo>
                  <a:lnTo>
                    <a:pt x="48" y="238"/>
                  </a:lnTo>
                  <a:lnTo>
                    <a:pt x="62" y="240"/>
                  </a:lnTo>
                  <a:lnTo>
                    <a:pt x="68" y="240"/>
                  </a:lnTo>
                  <a:lnTo>
                    <a:pt x="72" y="238"/>
                  </a:lnTo>
                  <a:lnTo>
                    <a:pt x="72" y="238"/>
                  </a:lnTo>
                  <a:lnTo>
                    <a:pt x="72" y="236"/>
                  </a:lnTo>
                  <a:lnTo>
                    <a:pt x="72" y="232"/>
                  </a:lnTo>
                  <a:lnTo>
                    <a:pt x="70" y="220"/>
                  </a:lnTo>
                  <a:lnTo>
                    <a:pt x="66" y="204"/>
                  </a:lnTo>
                  <a:lnTo>
                    <a:pt x="66" y="204"/>
                  </a:lnTo>
                  <a:lnTo>
                    <a:pt x="154" y="148"/>
                  </a:lnTo>
                  <a:lnTo>
                    <a:pt x="154" y="148"/>
                  </a:lnTo>
                  <a:lnTo>
                    <a:pt x="168" y="138"/>
                  </a:lnTo>
                  <a:lnTo>
                    <a:pt x="192" y="126"/>
                  </a:lnTo>
                  <a:lnTo>
                    <a:pt x="252" y="100"/>
                  </a:lnTo>
                  <a:lnTo>
                    <a:pt x="330" y="68"/>
                  </a:lnTo>
                  <a:lnTo>
                    <a:pt x="330" y="68"/>
                  </a:lnTo>
                  <a:lnTo>
                    <a:pt x="344" y="66"/>
                  </a:lnTo>
                  <a:lnTo>
                    <a:pt x="354" y="62"/>
                  </a:lnTo>
                  <a:lnTo>
                    <a:pt x="362" y="56"/>
                  </a:lnTo>
                  <a:lnTo>
                    <a:pt x="362" y="56"/>
                  </a:lnTo>
                  <a:lnTo>
                    <a:pt x="366" y="48"/>
                  </a:lnTo>
                  <a:lnTo>
                    <a:pt x="366" y="34"/>
                  </a:lnTo>
                  <a:lnTo>
                    <a:pt x="364" y="24"/>
                  </a:lnTo>
                  <a:lnTo>
                    <a:pt x="362" y="18"/>
                  </a:lnTo>
                  <a:lnTo>
                    <a:pt x="360" y="16"/>
                  </a:lnTo>
                  <a:lnTo>
                    <a:pt x="360" y="16"/>
                  </a:lnTo>
                  <a:lnTo>
                    <a:pt x="350" y="12"/>
                  </a:lnTo>
                  <a:lnTo>
                    <a:pt x="336" y="6"/>
                  </a:lnTo>
                  <a:lnTo>
                    <a:pt x="316" y="0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84" name="Freeform 57"/>
            <p:cNvSpPr>
              <a:spLocks/>
            </p:cNvSpPr>
            <p:nvPr/>
          </p:nvSpPr>
          <p:spPr bwMode="auto">
            <a:xfrm>
              <a:off x="9761835" y="3306310"/>
              <a:ext cx="787770" cy="566669"/>
            </a:xfrm>
            <a:custGeom>
              <a:avLst/>
              <a:gdLst>
                <a:gd name="T0" fmla="*/ 0 w 364"/>
                <a:gd name="T1" fmla="*/ 252 h 280"/>
                <a:gd name="T2" fmla="*/ 0 w 364"/>
                <a:gd name="T3" fmla="*/ 252 h 280"/>
                <a:gd name="T4" fmla="*/ 8 w 364"/>
                <a:gd name="T5" fmla="*/ 218 h 280"/>
                <a:gd name="T6" fmla="*/ 12 w 364"/>
                <a:gd name="T7" fmla="*/ 192 h 280"/>
                <a:gd name="T8" fmla="*/ 12 w 364"/>
                <a:gd name="T9" fmla="*/ 180 h 280"/>
                <a:gd name="T10" fmla="*/ 12 w 364"/>
                <a:gd name="T11" fmla="*/ 172 h 280"/>
                <a:gd name="T12" fmla="*/ 12 w 364"/>
                <a:gd name="T13" fmla="*/ 172 h 280"/>
                <a:gd name="T14" fmla="*/ 44 w 364"/>
                <a:gd name="T15" fmla="*/ 180 h 280"/>
                <a:gd name="T16" fmla="*/ 74 w 364"/>
                <a:gd name="T17" fmla="*/ 190 h 280"/>
                <a:gd name="T18" fmla="*/ 104 w 364"/>
                <a:gd name="T19" fmla="*/ 200 h 280"/>
                <a:gd name="T20" fmla="*/ 104 w 364"/>
                <a:gd name="T21" fmla="*/ 200 h 280"/>
                <a:gd name="T22" fmla="*/ 194 w 364"/>
                <a:gd name="T23" fmla="*/ 244 h 280"/>
                <a:gd name="T24" fmla="*/ 244 w 364"/>
                <a:gd name="T25" fmla="*/ 266 h 280"/>
                <a:gd name="T26" fmla="*/ 262 w 364"/>
                <a:gd name="T27" fmla="*/ 274 h 280"/>
                <a:gd name="T28" fmla="*/ 276 w 364"/>
                <a:gd name="T29" fmla="*/ 278 h 280"/>
                <a:gd name="T30" fmla="*/ 276 w 364"/>
                <a:gd name="T31" fmla="*/ 278 h 280"/>
                <a:gd name="T32" fmla="*/ 300 w 364"/>
                <a:gd name="T33" fmla="*/ 280 h 280"/>
                <a:gd name="T34" fmla="*/ 328 w 364"/>
                <a:gd name="T35" fmla="*/ 280 h 280"/>
                <a:gd name="T36" fmla="*/ 364 w 364"/>
                <a:gd name="T37" fmla="*/ 280 h 280"/>
                <a:gd name="T38" fmla="*/ 364 w 364"/>
                <a:gd name="T39" fmla="*/ 280 h 280"/>
                <a:gd name="T40" fmla="*/ 358 w 364"/>
                <a:gd name="T41" fmla="*/ 272 h 280"/>
                <a:gd name="T42" fmla="*/ 342 w 364"/>
                <a:gd name="T43" fmla="*/ 250 h 280"/>
                <a:gd name="T44" fmla="*/ 332 w 364"/>
                <a:gd name="T45" fmla="*/ 234 h 280"/>
                <a:gd name="T46" fmla="*/ 322 w 364"/>
                <a:gd name="T47" fmla="*/ 216 h 280"/>
                <a:gd name="T48" fmla="*/ 312 w 364"/>
                <a:gd name="T49" fmla="*/ 194 h 280"/>
                <a:gd name="T50" fmla="*/ 304 w 364"/>
                <a:gd name="T51" fmla="*/ 168 h 280"/>
                <a:gd name="T52" fmla="*/ 304 w 364"/>
                <a:gd name="T53" fmla="*/ 168 h 280"/>
                <a:gd name="T54" fmla="*/ 288 w 364"/>
                <a:gd name="T55" fmla="*/ 112 h 280"/>
                <a:gd name="T56" fmla="*/ 276 w 364"/>
                <a:gd name="T57" fmla="*/ 58 h 280"/>
                <a:gd name="T58" fmla="*/ 264 w 364"/>
                <a:gd name="T59" fmla="*/ 0 h 280"/>
                <a:gd name="connsiteX0" fmla="*/ 328 w 10328"/>
                <a:gd name="connsiteY0" fmla="*/ 9000 h 10000"/>
                <a:gd name="connsiteX1" fmla="*/ 0 w 10328"/>
                <a:gd name="connsiteY1" fmla="*/ 8798 h 10000"/>
                <a:gd name="connsiteX2" fmla="*/ 548 w 10328"/>
                <a:gd name="connsiteY2" fmla="*/ 7786 h 10000"/>
                <a:gd name="connsiteX3" fmla="*/ 658 w 10328"/>
                <a:gd name="connsiteY3" fmla="*/ 6857 h 10000"/>
                <a:gd name="connsiteX4" fmla="*/ 658 w 10328"/>
                <a:gd name="connsiteY4" fmla="*/ 6429 h 10000"/>
                <a:gd name="connsiteX5" fmla="*/ 658 w 10328"/>
                <a:gd name="connsiteY5" fmla="*/ 6143 h 10000"/>
                <a:gd name="connsiteX6" fmla="*/ 658 w 10328"/>
                <a:gd name="connsiteY6" fmla="*/ 6143 h 10000"/>
                <a:gd name="connsiteX7" fmla="*/ 1537 w 10328"/>
                <a:gd name="connsiteY7" fmla="*/ 6429 h 10000"/>
                <a:gd name="connsiteX8" fmla="*/ 2361 w 10328"/>
                <a:gd name="connsiteY8" fmla="*/ 6786 h 10000"/>
                <a:gd name="connsiteX9" fmla="*/ 3185 w 10328"/>
                <a:gd name="connsiteY9" fmla="*/ 7143 h 10000"/>
                <a:gd name="connsiteX10" fmla="*/ 3185 w 10328"/>
                <a:gd name="connsiteY10" fmla="*/ 7143 h 10000"/>
                <a:gd name="connsiteX11" fmla="*/ 5658 w 10328"/>
                <a:gd name="connsiteY11" fmla="*/ 8714 h 10000"/>
                <a:gd name="connsiteX12" fmla="*/ 7031 w 10328"/>
                <a:gd name="connsiteY12" fmla="*/ 9500 h 10000"/>
                <a:gd name="connsiteX13" fmla="*/ 7526 w 10328"/>
                <a:gd name="connsiteY13" fmla="*/ 9786 h 10000"/>
                <a:gd name="connsiteX14" fmla="*/ 7910 w 10328"/>
                <a:gd name="connsiteY14" fmla="*/ 9929 h 10000"/>
                <a:gd name="connsiteX15" fmla="*/ 7910 w 10328"/>
                <a:gd name="connsiteY15" fmla="*/ 9929 h 10000"/>
                <a:gd name="connsiteX16" fmla="*/ 8570 w 10328"/>
                <a:gd name="connsiteY16" fmla="*/ 10000 h 10000"/>
                <a:gd name="connsiteX17" fmla="*/ 9339 w 10328"/>
                <a:gd name="connsiteY17" fmla="*/ 10000 h 10000"/>
                <a:gd name="connsiteX18" fmla="*/ 10328 w 10328"/>
                <a:gd name="connsiteY18" fmla="*/ 10000 h 10000"/>
                <a:gd name="connsiteX19" fmla="*/ 10328 w 10328"/>
                <a:gd name="connsiteY19" fmla="*/ 10000 h 10000"/>
                <a:gd name="connsiteX20" fmla="*/ 10163 w 10328"/>
                <a:gd name="connsiteY20" fmla="*/ 9714 h 10000"/>
                <a:gd name="connsiteX21" fmla="*/ 9724 w 10328"/>
                <a:gd name="connsiteY21" fmla="*/ 8929 h 10000"/>
                <a:gd name="connsiteX22" fmla="*/ 9449 w 10328"/>
                <a:gd name="connsiteY22" fmla="*/ 8357 h 10000"/>
                <a:gd name="connsiteX23" fmla="*/ 9174 w 10328"/>
                <a:gd name="connsiteY23" fmla="*/ 7714 h 10000"/>
                <a:gd name="connsiteX24" fmla="*/ 8899 w 10328"/>
                <a:gd name="connsiteY24" fmla="*/ 6929 h 10000"/>
                <a:gd name="connsiteX25" fmla="*/ 8680 w 10328"/>
                <a:gd name="connsiteY25" fmla="*/ 6000 h 10000"/>
                <a:gd name="connsiteX26" fmla="*/ 8680 w 10328"/>
                <a:gd name="connsiteY26" fmla="*/ 6000 h 10000"/>
                <a:gd name="connsiteX27" fmla="*/ 8240 w 10328"/>
                <a:gd name="connsiteY27" fmla="*/ 4000 h 10000"/>
                <a:gd name="connsiteX28" fmla="*/ 7910 w 10328"/>
                <a:gd name="connsiteY28" fmla="*/ 2071 h 10000"/>
                <a:gd name="connsiteX29" fmla="*/ 7581 w 10328"/>
                <a:gd name="connsiteY29" fmla="*/ 0 h 10000"/>
                <a:gd name="connsiteX0" fmla="*/ 429 w 10429"/>
                <a:gd name="connsiteY0" fmla="*/ 9000 h 10000"/>
                <a:gd name="connsiteX1" fmla="*/ 0 w 10429"/>
                <a:gd name="connsiteY1" fmla="*/ 8932 h 10000"/>
                <a:gd name="connsiteX2" fmla="*/ 649 w 10429"/>
                <a:gd name="connsiteY2" fmla="*/ 7786 h 10000"/>
                <a:gd name="connsiteX3" fmla="*/ 759 w 10429"/>
                <a:gd name="connsiteY3" fmla="*/ 6857 h 10000"/>
                <a:gd name="connsiteX4" fmla="*/ 759 w 10429"/>
                <a:gd name="connsiteY4" fmla="*/ 6429 h 10000"/>
                <a:gd name="connsiteX5" fmla="*/ 759 w 10429"/>
                <a:gd name="connsiteY5" fmla="*/ 6143 h 10000"/>
                <a:gd name="connsiteX6" fmla="*/ 759 w 10429"/>
                <a:gd name="connsiteY6" fmla="*/ 6143 h 10000"/>
                <a:gd name="connsiteX7" fmla="*/ 1638 w 10429"/>
                <a:gd name="connsiteY7" fmla="*/ 6429 h 10000"/>
                <a:gd name="connsiteX8" fmla="*/ 2462 w 10429"/>
                <a:gd name="connsiteY8" fmla="*/ 6786 h 10000"/>
                <a:gd name="connsiteX9" fmla="*/ 3286 w 10429"/>
                <a:gd name="connsiteY9" fmla="*/ 7143 h 10000"/>
                <a:gd name="connsiteX10" fmla="*/ 3286 w 10429"/>
                <a:gd name="connsiteY10" fmla="*/ 7143 h 10000"/>
                <a:gd name="connsiteX11" fmla="*/ 5759 w 10429"/>
                <a:gd name="connsiteY11" fmla="*/ 8714 h 10000"/>
                <a:gd name="connsiteX12" fmla="*/ 7132 w 10429"/>
                <a:gd name="connsiteY12" fmla="*/ 9500 h 10000"/>
                <a:gd name="connsiteX13" fmla="*/ 7627 w 10429"/>
                <a:gd name="connsiteY13" fmla="*/ 9786 h 10000"/>
                <a:gd name="connsiteX14" fmla="*/ 8011 w 10429"/>
                <a:gd name="connsiteY14" fmla="*/ 9929 h 10000"/>
                <a:gd name="connsiteX15" fmla="*/ 8011 w 10429"/>
                <a:gd name="connsiteY15" fmla="*/ 9929 h 10000"/>
                <a:gd name="connsiteX16" fmla="*/ 8671 w 10429"/>
                <a:gd name="connsiteY16" fmla="*/ 10000 h 10000"/>
                <a:gd name="connsiteX17" fmla="*/ 9440 w 10429"/>
                <a:gd name="connsiteY17" fmla="*/ 10000 h 10000"/>
                <a:gd name="connsiteX18" fmla="*/ 10429 w 10429"/>
                <a:gd name="connsiteY18" fmla="*/ 10000 h 10000"/>
                <a:gd name="connsiteX19" fmla="*/ 10429 w 10429"/>
                <a:gd name="connsiteY19" fmla="*/ 10000 h 10000"/>
                <a:gd name="connsiteX20" fmla="*/ 10264 w 10429"/>
                <a:gd name="connsiteY20" fmla="*/ 9714 h 10000"/>
                <a:gd name="connsiteX21" fmla="*/ 9825 w 10429"/>
                <a:gd name="connsiteY21" fmla="*/ 8929 h 10000"/>
                <a:gd name="connsiteX22" fmla="*/ 9550 w 10429"/>
                <a:gd name="connsiteY22" fmla="*/ 8357 h 10000"/>
                <a:gd name="connsiteX23" fmla="*/ 9275 w 10429"/>
                <a:gd name="connsiteY23" fmla="*/ 7714 h 10000"/>
                <a:gd name="connsiteX24" fmla="*/ 9000 w 10429"/>
                <a:gd name="connsiteY24" fmla="*/ 6929 h 10000"/>
                <a:gd name="connsiteX25" fmla="*/ 8781 w 10429"/>
                <a:gd name="connsiteY25" fmla="*/ 6000 h 10000"/>
                <a:gd name="connsiteX26" fmla="*/ 8781 w 10429"/>
                <a:gd name="connsiteY26" fmla="*/ 6000 h 10000"/>
                <a:gd name="connsiteX27" fmla="*/ 8341 w 10429"/>
                <a:gd name="connsiteY27" fmla="*/ 4000 h 10000"/>
                <a:gd name="connsiteX28" fmla="*/ 8011 w 10429"/>
                <a:gd name="connsiteY28" fmla="*/ 2071 h 10000"/>
                <a:gd name="connsiteX29" fmla="*/ 7682 w 10429"/>
                <a:gd name="connsiteY29" fmla="*/ 0 h 10000"/>
                <a:gd name="connsiteX0" fmla="*/ 0 w 10429"/>
                <a:gd name="connsiteY0" fmla="*/ 8932 h 10000"/>
                <a:gd name="connsiteX1" fmla="*/ 649 w 10429"/>
                <a:gd name="connsiteY1" fmla="*/ 7786 h 10000"/>
                <a:gd name="connsiteX2" fmla="*/ 759 w 10429"/>
                <a:gd name="connsiteY2" fmla="*/ 6857 h 10000"/>
                <a:gd name="connsiteX3" fmla="*/ 759 w 10429"/>
                <a:gd name="connsiteY3" fmla="*/ 6429 h 10000"/>
                <a:gd name="connsiteX4" fmla="*/ 759 w 10429"/>
                <a:gd name="connsiteY4" fmla="*/ 6143 h 10000"/>
                <a:gd name="connsiteX5" fmla="*/ 759 w 10429"/>
                <a:gd name="connsiteY5" fmla="*/ 6143 h 10000"/>
                <a:gd name="connsiteX6" fmla="*/ 1638 w 10429"/>
                <a:gd name="connsiteY6" fmla="*/ 6429 h 10000"/>
                <a:gd name="connsiteX7" fmla="*/ 2462 w 10429"/>
                <a:gd name="connsiteY7" fmla="*/ 6786 h 10000"/>
                <a:gd name="connsiteX8" fmla="*/ 3286 w 10429"/>
                <a:gd name="connsiteY8" fmla="*/ 7143 h 10000"/>
                <a:gd name="connsiteX9" fmla="*/ 3286 w 10429"/>
                <a:gd name="connsiteY9" fmla="*/ 7143 h 10000"/>
                <a:gd name="connsiteX10" fmla="*/ 5759 w 10429"/>
                <a:gd name="connsiteY10" fmla="*/ 8714 h 10000"/>
                <a:gd name="connsiteX11" fmla="*/ 7132 w 10429"/>
                <a:gd name="connsiteY11" fmla="*/ 9500 h 10000"/>
                <a:gd name="connsiteX12" fmla="*/ 7627 w 10429"/>
                <a:gd name="connsiteY12" fmla="*/ 9786 h 10000"/>
                <a:gd name="connsiteX13" fmla="*/ 8011 w 10429"/>
                <a:gd name="connsiteY13" fmla="*/ 9929 h 10000"/>
                <a:gd name="connsiteX14" fmla="*/ 8011 w 10429"/>
                <a:gd name="connsiteY14" fmla="*/ 9929 h 10000"/>
                <a:gd name="connsiteX15" fmla="*/ 8671 w 10429"/>
                <a:gd name="connsiteY15" fmla="*/ 10000 h 10000"/>
                <a:gd name="connsiteX16" fmla="*/ 9440 w 10429"/>
                <a:gd name="connsiteY16" fmla="*/ 10000 h 10000"/>
                <a:gd name="connsiteX17" fmla="*/ 10429 w 10429"/>
                <a:gd name="connsiteY17" fmla="*/ 10000 h 10000"/>
                <a:gd name="connsiteX18" fmla="*/ 10429 w 10429"/>
                <a:gd name="connsiteY18" fmla="*/ 10000 h 10000"/>
                <a:gd name="connsiteX19" fmla="*/ 10264 w 10429"/>
                <a:gd name="connsiteY19" fmla="*/ 9714 h 10000"/>
                <a:gd name="connsiteX20" fmla="*/ 9825 w 10429"/>
                <a:gd name="connsiteY20" fmla="*/ 8929 h 10000"/>
                <a:gd name="connsiteX21" fmla="*/ 9550 w 10429"/>
                <a:gd name="connsiteY21" fmla="*/ 8357 h 10000"/>
                <a:gd name="connsiteX22" fmla="*/ 9275 w 10429"/>
                <a:gd name="connsiteY22" fmla="*/ 7714 h 10000"/>
                <a:gd name="connsiteX23" fmla="*/ 9000 w 10429"/>
                <a:gd name="connsiteY23" fmla="*/ 6929 h 10000"/>
                <a:gd name="connsiteX24" fmla="*/ 8781 w 10429"/>
                <a:gd name="connsiteY24" fmla="*/ 6000 h 10000"/>
                <a:gd name="connsiteX25" fmla="*/ 8781 w 10429"/>
                <a:gd name="connsiteY25" fmla="*/ 6000 h 10000"/>
                <a:gd name="connsiteX26" fmla="*/ 8341 w 10429"/>
                <a:gd name="connsiteY26" fmla="*/ 4000 h 10000"/>
                <a:gd name="connsiteX27" fmla="*/ 8011 w 10429"/>
                <a:gd name="connsiteY27" fmla="*/ 2071 h 10000"/>
                <a:gd name="connsiteX28" fmla="*/ 7682 w 10429"/>
                <a:gd name="connsiteY28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0429" h="10000">
                  <a:moveTo>
                    <a:pt x="0" y="8932"/>
                  </a:moveTo>
                  <a:lnTo>
                    <a:pt x="649" y="7786"/>
                  </a:lnTo>
                  <a:cubicBezTo>
                    <a:pt x="686" y="7476"/>
                    <a:pt x="722" y="7167"/>
                    <a:pt x="759" y="6857"/>
                  </a:cubicBezTo>
                  <a:lnTo>
                    <a:pt x="759" y="6429"/>
                  </a:lnTo>
                  <a:lnTo>
                    <a:pt x="759" y="6143"/>
                  </a:lnTo>
                  <a:lnTo>
                    <a:pt x="759" y="6143"/>
                  </a:lnTo>
                  <a:lnTo>
                    <a:pt x="1638" y="6429"/>
                  </a:lnTo>
                  <a:lnTo>
                    <a:pt x="2462" y="6786"/>
                  </a:lnTo>
                  <a:lnTo>
                    <a:pt x="3286" y="7143"/>
                  </a:lnTo>
                  <a:lnTo>
                    <a:pt x="3286" y="7143"/>
                  </a:lnTo>
                  <a:lnTo>
                    <a:pt x="5759" y="8714"/>
                  </a:lnTo>
                  <a:lnTo>
                    <a:pt x="7132" y="9500"/>
                  </a:lnTo>
                  <a:lnTo>
                    <a:pt x="7627" y="9786"/>
                  </a:lnTo>
                  <a:lnTo>
                    <a:pt x="8011" y="9929"/>
                  </a:lnTo>
                  <a:lnTo>
                    <a:pt x="8011" y="9929"/>
                  </a:lnTo>
                  <a:lnTo>
                    <a:pt x="8671" y="10000"/>
                  </a:lnTo>
                  <a:lnTo>
                    <a:pt x="9440" y="10000"/>
                  </a:lnTo>
                  <a:lnTo>
                    <a:pt x="10429" y="10000"/>
                  </a:lnTo>
                  <a:lnTo>
                    <a:pt x="10429" y="10000"/>
                  </a:lnTo>
                  <a:lnTo>
                    <a:pt x="10264" y="9714"/>
                  </a:lnTo>
                  <a:lnTo>
                    <a:pt x="9825" y="8929"/>
                  </a:lnTo>
                  <a:lnTo>
                    <a:pt x="9550" y="8357"/>
                  </a:lnTo>
                  <a:cubicBezTo>
                    <a:pt x="9458" y="8143"/>
                    <a:pt x="9367" y="7928"/>
                    <a:pt x="9275" y="7714"/>
                  </a:cubicBezTo>
                  <a:lnTo>
                    <a:pt x="9000" y="6929"/>
                  </a:lnTo>
                  <a:lnTo>
                    <a:pt x="8781" y="6000"/>
                  </a:lnTo>
                  <a:lnTo>
                    <a:pt x="8781" y="6000"/>
                  </a:lnTo>
                  <a:lnTo>
                    <a:pt x="8341" y="4000"/>
                  </a:lnTo>
                  <a:lnTo>
                    <a:pt x="8011" y="2071"/>
                  </a:lnTo>
                  <a:cubicBezTo>
                    <a:pt x="7901" y="1381"/>
                    <a:pt x="7792" y="690"/>
                    <a:pt x="7682" y="0"/>
                  </a:cubicBez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grpSp>
          <p:nvGrpSpPr>
            <p:cNvPr id="423" name="Group 422"/>
            <p:cNvGrpSpPr/>
            <p:nvPr/>
          </p:nvGrpSpPr>
          <p:grpSpPr>
            <a:xfrm>
              <a:off x="9500175" y="2432021"/>
              <a:ext cx="2691771" cy="1303339"/>
              <a:chOff x="9629736" y="2432021"/>
              <a:chExt cx="2562210" cy="1303339"/>
            </a:xfrm>
          </p:grpSpPr>
          <p:sp>
            <p:nvSpPr>
              <p:cNvPr id="381" name="Freeform 54"/>
              <p:cNvSpPr>
                <a:spLocks/>
              </p:cNvSpPr>
              <p:nvPr/>
            </p:nvSpPr>
            <p:spPr bwMode="auto">
              <a:xfrm>
                <a:off x="9629736" y="2432021"/>
                <a:ext cx="2562210" cy="1303339"/>
              </a:xfrm>
              <a:custGeom>
                <a:avLst/>
                <a:gdLst>
                  <a:gd name="T0" fmla="*/ 194 w 1298"/>
                  <a:gd name="T1" fmla="*/ 302 h 644"/>
                  <a:gd name="T2" fmla="*/ 168 w 1298"/>
                  <a:gd name="T3" fmla="*/ 354 h 644"/>
                  <a:gd name="T4" fmla="*/ 138 w 1298"/>
                  <a:gd name="T5" fmla="*/ 404 h 644"/>
                  <a:gd name="T6" fmla="*/ 98 w 1298"/>
                  <a:gd name="T7" fmla="*/ 456 h 644"/>
                  <a:gd name="T8" fmla="*/ 88 w 1298"/>
                  <a:gd name="T9" fmla="*/ 468 h 644"/>
                  <a:gd name="T10" fmla="*/ 74 w 1298"/>
                  <a:gd name="T11" fmla="*/ 492 h 644"/>
                  <a:gd name="T12" fmla="*/ 66 w 1298"/>
                  <a:gd name="T13" fmla="*/ 500 h 644"/>
                  <a:gd name="T14" fmla="*/ 52 w 1298"/>
                  <a:gd name="T15" fmla="*/ 510 h 644"/>
                  <a:gd name="T16" fmla="*/ 34 w 1298"/>
                  <a:gd name="T17" fmla="*/ 532 h 644"/>
                  <a:gd name="T18" fmla="*/ 22 w 1298"/>
                  <a:gd name="T19" fmla="*/ 552 h 644"/>
                  <a:gd name="T20" fmla="*/ 14 w 1298"/>
                  <a:gd name="T21" fmla="*/ 558 h 644"/>
                  <a:gd name="T22" fmla="*/ 0 w 1298"/>
                  <a:gd name="T23" fmla="*/ 556 h 644"/>
                  <a:gd name="T24" fmla="*/ 4 w 1298"/>
                  <a:gd name="T25" fmla="*/ 562 h 644"/>
                  <a:gd name="T26" fmla="*/ 10 w 1298"/>
                  <a:gd name="T27" fmla="*/ 574 h 644"/>
                  <a:gd name="T28" fmla="*/ 18 w 1298"/>
                  <a:gd name="T29" fmla="*/ 584 h 644"/>
                  <a:gd name="T30" fmla="*/ 16 w 1298"/>
                  <a:gd name="T31" fmla="*/ 590 h 644"/>
                  <a:gd name="T32" fmla="*/ 8 w 1298"/>
                  <a:gd name="T33" fmla="*/ 606 h 644"/>
                  <a:gd name="T34" fmla="*/ 8 w 1298"/>
                  <a:gd name="T35" fmla="*/ 616 h 644"/>
                  <a:gd name="T36" fmla="*/ 12 w 1298"/>
                  <a:gd name="T37" fmla="*/ 618 h 644"/>
                  <a:gd name="T38" fmla="*/ 34 w 1298"/>
                  <a:gd name="T39" fmla="*/ 614 h 644"/>
                  <a:gd name="T40" fmla="*/ 46 w 1298"/>
                  <a:gd name="T41" fmla="*/ 612 h 644"/>
                  <a:gd name="T42" fmla="*/ 46 w 1298"/>
                  <a:gd name="T43" fmla="*/ 614 h 644"/>
                  <a:gd name="T44" fmla="*/ 46 w 1298"/>
                  <a:gd name="T45" fmla="*/ 618 h 644"/>
                  <a:gd name="T46" fmla="*/ 44 w 1298"/>
                  <a:gd name="T47" fmla="*/ 626 h 644"/>
                  <a:gd name="T48" fmla="*/ 44 w 1298"/>
                  <a:gd name="T49" fmla="*/ 632 h 644"/>
                  <a:gd name="T50" fmla="*/ 50 w 1298"/>
                  <a:gd name="T51" fmla="*/ 640 h 644"/>
                  <a:gd name="T52" fmla="*/ 54 w 1298"/>
                  <a:gd name="T53" fmla="*/ 644 h 644"/>
                  <a:gd name="T54" fmla="*/ 60 w 1298"/>
                  <a:gd name="T55" fmla="*/ 638 h 644"/>
                  <a:gd name="T56" fmla="*/ 60 w 1298"/>
                  <a:gd name="T57" fmla="*/ 626 h 644"/>
                  <a:gd name="T58" fmla="*/ 62 w 1298"/>
                  <a:gd name="T59" fmla="*/ 608 h 644"/>
                  <a:gd name="T60" fmla="*/ 64 w 1298"/>
                  <a:gd name="T61" fmla="*/ 606 h 644"/>
                  <a:gd name="T62" fmla="*/ 74 w 1298"/>
                  <a:gd name="T63" fmla="*/ 604 h 644"/>
                  <a:gd name="T64" fmla="*/ 86 w 1298"/>
                  <a:gd name="T65" fmla="*/ 608 h 644"/>
                  <a:gd name="T66" fmla="*/ 118 w 1298"/>
                  <a:gd name="T67" fmla="*/ 606 h 644"/>
                  <a:gd name="T68" fmla="*/ 182 w 1298"/>
                  <a:gd name="T69" fmla="*/ 596 h 644"/>
                  <a:gd name="T70" fmla="*/ 256 w 1298"/>
                  <a:gd name="T71" fmla="*/ 574 h 644"/>
                  <a:gd name="T72" fmla="*/ 290 w 1298"/>
                  <a:gd name="T73" fmla="*/ 558 h 644"/>
                  <a:gd name="T74" fmla="*/ 318 w 1298"/>
                  <a:gd name="T75" fmla="*/ 540 h 644"/>
                  <a:gd name="T76" fmla="*/ 328 w 1298"/>
                  <a:gd name="T77" fmla="*/ 528 h 644"/>
                  <a:gd name="T78" fmla="*/ 354 w 1298"/>
                  <a:gd name="T79" fmla="*/ 480 h 644"/>
                  <a:gd name="T80" fmla="*/ 366 w 1298"/>
                  <a:gd name="T81" fmla="*/ 448 h 644"/>
                  <a:gd name="T82" fmla="*/ 366 w 1298"/>
                  <a:gd name="T83" fmla="*/ 436 h 644"/>
                  <a:gd name="T84" fmla="*/ 368 w 1298"/>
                  <a:gd name="T85" fmla="*/ 422 h 644"/>
                  <a:gd name="T86" fmla="*/ 368 w 1298"/>
                  <a:gd name="T87" fmla="*/ 410 h 644"/>
                  <a:gd name="T88" fmla="*/ 366 w 1298"/>
                  <a:gd name="T89" fmla="*/ 406 h 644"/>
                  <a:gd name="T90" fmla="*/ 360 w 1298"/>
                  <a:gd name="T91" fmla="*/ 406 h 644"/>
                  <a:gd name="T92" fmla="*/ 356 w 1298"/>
                  <a:gd name="T93" fmla="*/ 402 h 644"/>
                  <a:gd name="T94" fmla="*/ 350 w 1298"/>
                  <a:gd name="T95" fmla="*/ 390 h 644"/>
                  <a:gd name="T96" fmla="*/ 350 w 1298"/>
                  <a:gd name="T97" fmla="*/ 378 h 644"/>
                  <a:gd name="T98" fmla="*/ 386 w 1298"/>
                  <a:gd name="T99" fmla="*/ 328 h 644"/>
                  <a:gd name="T100" fmla="*/ 456 w 1298"/>
                  <a:gd name="T101" fmla="*/ 276 h 644"/>
                  <a:gd name="T102" fmla="*/ 640 w 1298"/>
                  <a:gd name="T103" fmla="*/ 152 h 644"/>
                  <a:gd name="T104" fmla="*/ 752 w 1298"/>
                  <a:gd name="T105" fmla="*/ 84 h 644"/>
                  <a:gd name="T106" fmla="*/ 790 w 1298"/>
                  <a:gd name="T107" fmla="*/ 64 h 644"/>
                  <a:gd name="T108" fmla="*/ 810 w 1298"/>
                  <a:gd name="T109" fmla="*/ 58 h 644"/>
                  <a:gd name="T110" fmla="*/ 902 w 1298"/>
                  <a:gd name="T111" fmla="*/ 40 h 644"/>
                  <a:gd name="T112" fmla="*/ 1074 w 1298"/>
                  <a:gd name="T113" fmla="*/ 20 h 644"/>
                  <a:gd name="T114" fmla="*/ 1298 w 1298"/>
                  <a:gd name="T115" fmla="*/ 0 h 6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298" h="644">
                    <a:moveTo>
                      <a:pt x="194" y="302"/>
                    </a:moveTo>
                    <a:lnTo>
                      <a:pt x="194" y="302"/>
                    </a:lnTo>
                    <a:lnTo>
                      <a:pt x="186" y="316"/>
                    </a:lnTo>
                    <a:lnTo>
                      <a:pt x="168" y="354"/>
                    </a:lnTo>
                    <a:lnTo>
                      <a:pt x="154" y="378"/>
                    </a:lnTo>
                    <a:lnTo>
                      <a:pt x="138" y="404"/>
                    </a:lnTo>
                    <a:lnTo>
                      <a:pt x="120" y="430"/>
                    </a:lnTo>
                    <a:lnTo>
                      <a:pt x="98" y="456"/>
                    </a:lnTo>
                    <a:lnTo>
                      <a:pt x="98" y="456"/>
                    </a:lnTo>
                    <a:lnTo>
                      <a:pt x="88" y="468"/>
                    </a:lnTo>
                    <a:lnTo>
                      <a:pt x="82" y="480"/>
                    </a:lnTo>
                    <a:lnTo>
                      <a:pt x="74" y="492"/>
                    </a:lnTo>
                    <a:lnTo>
                      <a:pt x="70" y="496"/>
                    </a:lnTo>
                    <a:lnTo>
                      <a:pt x="66" y="500"/>
                    </a:lnTo>
                    <a:lnTo>
                      <a:pt x="66" y="500"/>
                    </a:lnTo>
                    <a:lnTo>
                      <a:pt x="52" y="510"/>
                    </a:lnTo>
                    <a:lnTo>
                      <a:pt x="42" y="520"/>
                    </a:lnTo>
                    <a:lnTo>
                      <a:pt x="34" y="532"/>
                    </a:lnTo>
                    <a:lnTo>
                      <a:pt x="28" y="542"/>
                    </a:lnTo>
                    <a:lnTo>
                      <a:pt x="22" y="552"/>
                    </a:lnTo>
                    <a:lnTo>
                      <a:pt x="16" y="558"/>
                    </a:lnTo>
                    <a:lnTo>
                      <a:pt x="14" y="558"/>
                    </a:lnTo>
                    <a:lnTo>
                      <a:pt x="10" y="558"/>
                    </a:lnTo>
                    <a:lnTo>
                      <a:pt x="0" y="556"/>
                    </a:lnTo>
                    <a:lnTo>
                      <a:pt x="0" y="556"/>
                    </a:lnTo>
                    <a:lnTo>
                      <a:pt x="4" y="562"/>
                    </a:lnTo>
                    <a:lnTo>
                      <a:pt x="4" y="562"/>
                    </a:lnTo>
                    <a:lnTo>
                      <a:pt x="10" y="574"/>
                    </a:lnTo>
                    <a:lnTo>
                      <a:pt x="18" y="584"/>
                    </a:lnTo>
                    <a:lnTo>
                      <a:pt x="18" y="584"/>
                    </a:lnTo>
                    <a:lnTo>
                      <a:pt x="18" y="586"/>
                    </a:lnTo>
                    <a:lnTo>
                      <a:pt x="16" y="590"/>
                    </a:lnTo>
                    <a:lnTo>
                      <a:pt x="10" y="600"/>
                    </a:lnTo>
                    <a:lnTo>
                      <a:pt x="8" y="606"/>
                    </a:lnTo>
                    <a:lnTo>
                      <a:pt x="8" y="612"/>
                    </a:lnTo>
                    <a:lnTo>
                      <a:pt x="8" y="616"/>
                    </a:lnTo>
                    <a:lnTo>
                      <a:pt x="12" y="618"/>
                    </a:lnTo>
                    <a:lnTo>
                      <a:pt x="12" y="618"/>
                    </a:lnTo>
                    <a:lnTo>
                      <a:pt x="24" y="616"/>
                    </a:lnTo>
                    <a:lnTo>
                      <a:pt x="34" y="614"/>
                    </a:lnTo>
                    <a:lnTo>
                      <a:pt x="42" y="612"/>
                    </a:lnTo>
                    <a:lnTo>
                      <a:pt x="46" y="612"/>
                    </a:lnTo>
                    <a:lnTo>
                      <a:pt x="46" y="614"/>
                    </a:lnTo>
                    <a:lnTo>
                      <a:pt x="46" y="614"/>
                    </a:lnTo>
                    <a:lnTo>
                      <a:pt x="48" y="616"/>
                    </a:lnTo>
                    <a:lnTo>
                      <a:pt x="46" y="618"/>
                    </a:lnTo>
                    <a:lnTo>
                      <a:pt x="44" y="620"/>
                    </a:lnTo>
                    <a:lnTo>
                      <a:pt x="44" y="626"/>
                    </a:lnTo>
                    <a:lnTo>
                      <a:pt x="44" y="626"/>
                    </a:lnTo>
                    <a:lnTo>
                      <a:pt x="44" y="632"/>
                    </a:lnTo>
                    <a:lnTo>
                      <a:pt x="48" y="638"/>
                    </a:lnTo>
                    <a:lnTo>
                      <a:pt x="50" y="640"/>
                    </a:lnTo>
                    <a:lnTo>
                      <a:pt x="54" y="644"/>
                    </a:lnTo>
                    <a:lnTo>
                      <a:pt x="54" y="644"/>
                    </a:lnTo>
                    <a:lnTo>
                      <a:pt x="58" y="642"/>
                    </a:lnTo>
                    <a:lnTo>
                      <a:pt x="60" y="638"/>
                    </a:lnTo>
                    <a:lnTo>
                      <a:pt x="60" y="626"/>
                    </a:lnTo>
                    <a:lnTo>
                      <a:pt x="60" y="626"/>
                    </a:lnTo>
                    <a:lnTo>
                      <a:pt x="60" y="612"/>
                    </a:lnTo>
                    <a:lnTo>
                      <a:pt x="62" y="608"/>
                    </a:lnTo>
                    <a:lnTo>
                      <a:pt x="64" y="606"/>
                    </a:lnTo>
                    <a:lnTo>
                      <a:pt x="64" y="606"/>
                    </a:lnTo>
                    <a:lnTo>
                      <a:pt x="70" y="604"/>
                    </a:lnTo>
                    <a:lnTo>
                      <a:pt x="74" y="604"/>
                    </a:lnTo>
                    <a:lnTo>
                      <a:pt x="86" y="608"/>
                    </a:lnTo>
                    <a:lnTo>
                      <a:pt x="86" y="608"/>
                    </a:lnTo>
                    <a:lnTo>
                      <a:pt x="98" y="608"/>
                    </a:lnTo>
                    <a:lnTo>
                      <a:pt x="118" y="606"/>
                    </a:lnTo>
                    <a:lnTo>
                      <a:pt x="148" y="602"/>
                    </a:lnTo>
                    <a:lnTo>
                      <a:pt x="182" y="596"/>
                    </a:lnTo>
                    <a:lnTo>
                      <a:pt x="218" y="586"/>
                    </a:lnTo>
                    <a:lnTo>
                      <a:pt x="256" y="574"/>
                    </a:lnTo>
                    <a:lnTo>
                      <a:pt x="274" y="566"/>
                    </a:lnTo>
                    <a:lnTo>
                      <a:pt x="290" y="558"/>
                    </a:lnTo>
                    <a:lnTo>
                      <a:pt x="306" y="550"/>
                    </a:lnTo>
                    <a:lnTo>
                      <a:pt x="318" y="540"/>
                    </a:lnTo>
                    <a:lnTo>
                      <a:pt x="318" y="540"/>
                    </a:lnTo>
                    <a:lnTo>
                      <a:pt x="328" y="528"/>
                    </a:lnTo>
                    <a:lnTo>
                      <a:pt x="346" y="498"/>
                    </a:lnTo>
                    <a:lnTo>
                      <a:pt x="354" y="480"/>
                    </a:lnTo>
                    <a:lnTo>
                      <a:pt x="362" y="464"/>
                    </a:lnTo>
                    <a:lnTo>
                      <a:pt x="366" y="448"/>
                    </a:lnTo>
                    <a:lnTo>
                      <a:pt x="366" y="442"/>
                    </a:lnTo>
                    <a:lnTo>
                      <a:pt x="366" y="436"/>
                    </a:lnTo>
                    <a:lnTo>
                      <a:pt x="366" y="436"/>
                    </a:lnTo>
                    <a:lnTo>
                      <a:pt x="368" y="422"/>
                    </a:lnTo>
                    <a:lnTo>
                      <a:pt x="368" y="412"/>
                    </a:lnTo>
                    <a:lnTo>
                      <a:pt x="368" y="410"/>
                    </a:lnTo>
                    <a:lnTo>
                      <a:pt x="366" y="406"/>
                    </a:lnTo>
                    <a:lnTo>
                      <a:pt x="366" y="406"/>
                    </a:lnTo>
                    <a:lnTo>
                      <a:pt x="362" y="406"/>
                    </a:lnTo>
                    <a:lnTo>
                      <a:pt x="360" y="406"/>
                    </a:lnTo>
                    <a:lnTo>
                      <a:pt x="356" y="402"/>
                    </a:lnTo>
                    <a:lnTo>
                      <a:pt x="356" y="402"/>
                    </a:lnTo>
                    <a:lnTo>
                      <a:pt x="352" y="396"/>
                    </a:lnTo>
                    <a:lnTo>
                      <a:pt x="350" y="390"/>
                    </a:lnTo>
                    <a:lnTo>
                      <a:pt x="348" y="384"/>
                    </a:lnTo>
                    <a:lnTo>
                      <a:pt x="350" y="378"/>
                    </a:lnTo>
                    <a:lnTo>
                      <a:pt x="350" y="378"/>
                    </a:lnTo>
                    <a:lnTo>
                      <a:pt x="386" y="328"/>
                    </a:lnTo>
                    <a:lnTo>
                      <a:pt x="386" y="328"/>
                    </a:lnTo>
                    <a:lnTo>
                      <a:pt x="456" y="276"/>
                    </a:lnTo>
                    <a:lnTo>
                      <a:pt x="576" y="196"/>
                    </a:lnTo>
                    <a:lnTo>
                      <a:pt x="640" y="152"/>
                    </a:lnTo>
                    <a:lnTo>
                      <a:pt x="700" y="114"/>
                    </a:lnTo>
                    <a:lnTo>
                      <a:pt x="752" y="84"/>
                    </a:lnTo>
                    <a:lnTo>
                      <a:pt x="774" y="72"/>
                    </a:lnTo>
                    <a:lnTo>
                      <a:pt x="790" y="64"/>
                    </a:lnTo>
                    <a:lnTo>
                      <a:pt x="790" y="64"/>
                    </a:lnTo>
                    <a:lnTo>
                      <a:pt x="810" y="58"/>
                    </a:lnTo>
                    <a:lnTo>
                      <a:pt x="834" y="52"/>
                    </a:lnTo>
                    <a:lnTo>
                      <a:pt x="902" y="40"/>
                    </a:lnTo>
                    <a:lnTo>
                      <a:pt x="986" y="30"/>
                    </a:lnTo>
                    <a:lnTo>
                      <a:pt x="1074" y="20"/>
                    </a:lnTo>
                    <a:lnTo>
                      <a:pt x="1230" y="6"/>
                    </a:lnTo>
                    <a:lnTo>
                      <a:pt x="1298" y="0"/>
                    </a:lnTo>
                  </a:path>
                </a:pathLst>
              </a:custGeom>
              <a:noFill/>
              <a:ln w="12700">
                <a:solidFill>
                  <a:srgbClr val="001F50">
                    <a:alpha val="56000"/>
                  </a:srgbClr>
                </a:solidFill>
                <a:prstDash val="sysDot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defTabSz="932597">
                  <a:defRPr/>
                </a:pPr>
                <a:endParaRPr lang="en-US" sz="1836">
                  <a:solidFill>
                    <a:srgbClr val="505050"/>
                  </a:solidFill>
                  <a:latin typeface="Segoe UI"/>
                </a:endParaRPr>
              </a:p>
            </p:txBody>
          </p:sp>
          <p:sp>
            <p:nvSpPr>
              <p:cNvPr id="385" name="Freeform 58"/>
              <p:cNvSpPr>
                <a:spLocks/>
              </p:cNvSpPr>
              <p:nvPr/>
            </p:nvSpPr>
            <p:spPr bwMode="auto">
              <a:xfrm>
                <a:off x="9637632" y="3047262"/>
                <a:ext cx="686941" cy="538336"/>
              </a:xfrm>
              <a:custGeom>
                <a:avLst/>
                <a:gdLst>
                  <a:gd name="T0" fmla="*/ 190 w 348"/>
                  <a:gd name="T1" fmla="*/ 0 h 266"/>
                  <a:gd name="T2" fmla="*/ 196 w 348"/>
                  <a:gd name="T3" fmla="*/ 74 h 266"/>
                  <a:gd name="T4" fmla="*/ 200 w 348"/>
                  <a:gd name="T5" fmla="*/ 82 h 266"/>
                  <a:gd name="T6" fmla="*/ 216 w 348"/>
                  <a:gd name="T7" fmla="*/ 100 h 266"/>
                  <a:gd name="T8" fmla="*/ 226 w 348"/>
                  <a:gd name="T9" fmla="*/ 104 h 266"/>
                  <a:gd name="T10" fmla="*/ 238 w 348"/>
                  <a:gd name="T11" fmla="*/ 102 h 266"/>
                  <a:gd name="T12" fmla="*/ 264 w 348"/>
                  <a:gd name="T13" fmla="*/ 92 h 266"/>
                  <a:gd name="T14" fmla="*/ 278 w 348"/>
                  <a:gd name="T15" fmla="*/ 82 h 266"/>
                  <a:gd name="T16" fmla="*/ 304 w 348"/>
                  <a:gd name="T17" fmla="*/ 68 h 266"/>
                  <a:gd name="T18" fmla="*/ 328 w 348"/>
                  <a:gd name="T19" fmla="*/ 60 h 266"/>
                  <a:gd name="T20" fmla="*/ 344 w 348"/>
                  <a:gd name="T21" fmla="*/ 56 h 266"/>
                  <a:gd name="T22" fmla="*/ 348 w 348"/>
                  <a:gd name="T23" fmla="*/ 58 h 266"/>
                  <a:gd name="T24" fmla="*/ 346 w 348"/>
                  <a:gd name="T25" fmla="*/ 62 h 266"/>
                  <a:gd name="T26" fmla="*/ 330 w 348"/>
                  <a:gd name="T27" fmla="*/ 78 h 266"/>
                  <a:gd name="T28" fmla="*/ 322 w 348"/>
                  <a:gd name="T29" fmla="*/ 88 h 266"/>
                  <a:gd name="T30" fmla="*/ 294 w 348"/>
                  <a:gd name="T31" fmla="*/ 120 h 266"/>
                  <a:gd name="T32" fmla="*/ 268 w 348"/>
                  <a:gd name="T33" fmla="*/ 144 h 266"/>
                  <a:gd name="T34" fmla="*/ 264 w 348"/>
                  <a:gd name="T35" fmla="*/ 148 h 266"/>
                  <a:gd name="T36" fmla="*/ 226 w 348"/>
                  <a:gd name="T37" fmla="*/ 176 h 266"/>
                  <a:gd name="T38" fmla="*/ 198 w 348"/>
                  <a:gd name="T39" fmla="*/ 194 h 266"/>
                  <a:gd name="T40" fmla="*/ 176 w 348"/>
                  <a:gd name="T41" fmla="*/ 200 h 266"/>
                  <a:gd name="T42" fmla="*/ 130 w 348"/>
                  <a:gd name="T43" fmla="*/ 196 h 266"/>
                  <a:gd name="T44" fmla="*/ 110 w 348"/>
                  <a:gd name="T45" fmla="*/ 198 h 266"/>
                  <a:gd name="T46" fmla="*/ 110 w 348"/>
                  <a:gd name="T47" fmla="*/ 202 h 266"/>
                  <a:gd name="T48" fmla="*/ 116 w 348"/>
                  <a:gd name="T49" fmla="*/ 204 h 266"/>
                  <a:gd name="T50" fmla="*/ 122 w 348"/>
                  <a:gd name="T51" fmla="*/ 224 h 266"/>
                  <a:gd name="T52" fmla="*/ 120 w 348"/>
                  <a:gd name="T53" fmla="*/ 240 h 266"/>
                  <a:gd name="T54" fmla="*/ 112 w 348"/>
                  <a:gd name="T55" fmla="*/ 264 h 266"/>
                  <a:gd name="T56" fmla="*/ 86 w 348"/>
                  <a:gd name="T57" fmla="*/ 266 h 266"/>
                  <a:gd name="T58" fmla="*/ 58 w 348"/>
                  <a:gd name="T59" fmla="*/ 264 h 266"/>
                  <a:gd name="T60" fmla="*/ 56 w 348"/>
                  <a:gd name="T61" fmla="*/ 262 h 266"/>
                  <a:gd name="T62" fmla="*/ 46 w 348"/>
                  <a:gd name="T63" fmla="*/ 258 h 266"/>
                  <a:gd name="T64" fmla="*/ 0 w 348"/>
                  <a:gd name="T65" fmla="*/ 258 h 2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48" h="266">
                    <a:moveTo>
                      <a:pt x="190" y="0"/>
                    </a:moveTo>
                    <a:lnTo>
                      <a:pt x="190" y="0"/>
                    </a:lnTo>
                    <a:lnTo>
                      <a:pt x="194" y="34"/>
                    </a:lnTo>
                    <a:lnTo>
                      <a:pt x="196" y="74"/>
                    </a:lnTo>
                    <a:lnTo>
                      <a:pt x="196" y="74"/>
                    </a:lnTo>
                    <a:lnTo>
                      <a:pt x="200" y="82"/>
                    </a:lnTo>
                    <a:lnTo>
                      <a:pt x="206" y="92"/>
                    </a:lnTo>
                    <a:lnTo>
                      <a:pt x="216" y="100"/>
                    </a:lnTo>
                    <a:lnTo>
                      <a:pt x="222" y="104"/>
                    </a:lnTo>
                    <a:lnTo>
                      <a:pt x="226" y="104"/>
                    </a:lnTo>
                    <a:lnTo>
                      <a:pt x="226" y="104"/>
                    </a:lnTo>
                    <a:lnTo>
                      <a:pt x="238" y="102"/>
                    </a:lnTo>
                    <a:lnTo>
                      <a:pt x="250" y="98"/>
                    </a:lnTo>
                    <a:lnTo>
                      <a:pt x="264" y="92"/>
                    </a:lnTo>
                    <a:lnTo>
                      <a:pt x="278" y="82"/>
                    </a:lnTo>
                    <a:lnTo>
                      <a:pt x="278" y="82"/>
                    </a:lnTo>
                    <a:lnTo>
                      <a:pt x="290" y="74"/>
                    </a:lnTo>
                    <a:lnTo>
                      <a:pt x="304" y="68"/>
                    </a:lnTo>
                    <a:lnTo>
                      <a:pt x="318" y="62"/>
                    </a:lnTo>
                    <a:lnTo>
                      <a:pt x="328" y="60"/>
                    </a:lnTo>
                    <a:lnTo>
                      <a:pt x="328" y="60"/>
                    </a:lnTo>
                    <a:lnTo>
                      <a:pt x="344" y="56"/>
                    </a:lnTo>
                    <a:lnTo>
                      <a:pt x="348" y="56"/>
                    </a:lnTo>
                    <a:lnTo>
                      <a:pt x="348" y="58"/>
                    </a:lnTo>
                    <a:lnTo>
                      <a:pt x="348" y="58"/>
                    </a:lnTo>
                    <a:lnTo>
                      <a:pt x="346" y="62"/>
                    </a:lnTo>
                    <a:lnTo>
                      <a:pt x="338" y="70"/>
                    </a:lnTo>
                    <a:lnTo>
                      <a:pt x="330" y="78"/>
                    </a:lnTo>
                    <a:lnTo>
                      <a:pt x="322" y="88"/>
                    </a:lnTo>
                    <a:lnTo>
                      <a:pt x="322" y="88"/>
                    </a:lnTo>
                    <a:lnTo>
                      <a:pt x="312" y="102"/>
                    </a:lnTo>
                    <a:lnTo>
                      <a:pt x="294" y="120"/>
                    </a:lnTo>
                    <a:lnTo>
                      <a:pt x="276" y="138"/>
                    </a:lnTo>
                    <a:lnTo>
                      <a:pt x="268" y="144"/>
                    </a:lnTo>
                    <a:lnTo>
                      <a:pt x="264" y="148"/>
                    </a:lnTo>
                    <a:lnTo>
                      <a:pt x="264" y="148"/>
                    </a:lnTo>
                    <a:lnTo>
                      <a:pt x="250" y="156"/>
                    </a:lnTo>
                    <a:lnTo>
                      <a:pt x="226" y="176"/>
                    </a:lnTo>
                    <a:lnTo>
                      <a:pt x="212" y="184"/>
                    </a:lnTo>
                    <a:lnTo>
                      <a:pt x="198" y="194"/>
                    </a:lnTo>
                    <a:lnTo>
                      <a:pt x="186" y="198"/>
                    </a:lnTo>
                    <a:lnTo>
                      <a:pt x="176" y="200"/>
                    </a:lnTo>
                    <a:lnTo>
                      <a:pt x="176" y="200"/>
                    </a:lnTo>
                    <a:lnTo>
                      <a:pt x="130" y="196"/>
                    </a:lnTo>
                    <a:lnTo>
                      <a:pt x="112" y="196"/>
                    </a:lnTo>
                    <a:lnTo>
                      <a:pt x="110" y="198"/>
                    </a:lnTo>
                    <a:lnTo>
                      <a:pt x="110" y="202"/>
                    </a:lnTo>
                    <a:lnTo>
                      <a:pt x="110" y="202"/>
                    </a:lnTo>
                    <a:lnTo>
                      <a:pt x="112" y="202"/>
                    </a:lnTo>
                    <a:lnTo>
                      <a:pt x="116" y="204"/>
                    </a:lnTo>
                    <a:lnTo>
                      <a:pt x="120" y="210"/>
                    </a:lnTo>
                    <a:lnTo>
                      <a:pt x="122" y="224"/>
                    </a:lnTo>
                    <a:lnTo>
                      <a:pt x="122" y="224"/>
                    </a:lnTo>
                    <a:lnTo>
                      <a:pt x="120" y="240"/>
                    </a:lnTo>
                    <a:lnTo>
                      <a:pt x="118" y="252"/>
                    </a:lnTo>
                    <a:lnTo>
                      <a:pt x="112" y="264"/>
                    </a:lnTo>
                    <a:lnTo>
                      <a:pt x="112" y="264"/>
                    </a:lnTo>
                    <a:lnTo>
                      <a:pt x="86" y="266"/>
                    </a:lnTo>
                    <a:lnTo>
                      <a:pt x="66" y="264"/>
                    </a:lnTo>
                    <a:lnTo>
                      <a:pt x="58" y="264"/>
                    </a:lnTo>
                    <a:lnTo>
                      <a:pt x="56" y="262"/>
                    </a:lnTo>
                    <a:lnTo>
                      <a:pt x="56" y="262"/>
                    </a:lnTo>
                    <a:lnTo>
                      <a:pt x="52" y="260"/>
                    </a:lnTo>
                    <a:lnTo>
                      <a:pt x="46" y="258"/>
                    </a:lnTo>
                    <a:lnTo>
                      <a:pt x="26" y="258"/>
                    </a:lnTo>
                    <a:lnTo>
                      <a:pt x="0" y="258"/>
                    </a:lnTo>
                  </a:path>
                </a:pathLst>
              </a:custGeom>
              <a:noFill/>
              <a:ln w="12700">
                <a:solidFill>
                  <a:srgbClr val="001F50">
                    <a:alpha val="56000"/>
                  </a:srgbClr>
                </a:solidFill>
                <a:prstDash val="sysDot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defTabSz="932597">
                  <a:defRPr/>
                </a:pPr>
                <a:endParaRPr lang="en-US" sz="1836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  <p:sp>
          <p:nvSpPr>
            <p:cNvPr id="387" name="Freeform 60"/>
            <p:cNvSpPr>
              <a:spLocks/>
            </p:cNvSpPr>
            <p:nvPr/>
          </p:nvSpPr>
          <p:spPr bwMode="auto">
            <a:xfrm>
              <a:off x="9155984" y="3532978"/>
              <a:ext cx="3035962" cy="2027866"/>
            </a:xfrm>
            <a:custGeom>
              <a:avLst/>
              <a:gdLst>
                <a:gd name="T0" fmla="*/ 28 w 1538"/>
                <a:gd name="T1" fmla="*/ 374 h 1002"/>
                <a:gd name="T2" fmla="*/ 44 w 1538"/>
                <a:gd name="T3" fmla="*/ 388 h 1002"/>
                <a:gd name="T4" fmla="*/ 60 w 1538"/>
                <a:gd name="T5" fmla="*/ 426 h 1002"/>
                <a:gd name="T6" fmla="*/ 54 w 1538"/>
                <a:gd name="T7" fmla="*/ 472 h 1002"/>
                <a:gd name="T8" fmla="*/ 40 w 1538"/>
                <a:gd name="T9" fmla="*/ 466 h 1002"/>
                <a:gd name="T10" fmla="*/ 30 w 1538"/>
                <a:gd name="T11" fmla="*/ 478 h 1002"/>
                <a:gd name="T12" fmla="*/ 34 w 1538"/>
                <a:gd name="T13" fmla="*/ 534 h 1002"/>
                <a:gd name="T14" fmla="*/ 64 w 1538"/>
                <a:gd name="T15" fmla="*/ 700 h 1002"/>
                <a:gd name="T16" fmla="*/ 92 w 1538"/>
                <a:gd name="T17" fmla="*/ 784 h 1002"/>
                <a:gd name="T18" fmla="*/ 126 w 1538"/>
                <a:gd name="T19" fmla="*/ 846 h 1002"/>
                <a:gd name="T20" fmla="*/ 192 w 1538"/>
                <a:gd name="T21" fmla="*/ 928 h 1002"/>
                <a:gd name="T22" fmla="*/ 208 w 1538"/>
                <a:gd name="T23" fmla="*/ 946 h 1002"/>
                <a:gd name="T24" fmla="*/ 240 w 1538"/>
                <a:gd name="T25" fmla="*/ 960 h 1002"/>
                <a:gd name="T26" fmla="*/ 272 w 1538"/>
                <a:gd name="T27" fmla="*/ 954 h 1002"/>
                <a:gd name="T28" fmla="*/ 310 w 1538"/>
                <a:gd name="T29" fmla="*/ 934 h 1002"/>
                <a:gd name="T30" fmla="*/ 404 w 1538"/>
                <a:gd name="T31" fmla="*/ 898 h 1002"/>
                <a:gd name="T32" fmla="*/ 436 w 1538"/>
                <a:gd name="T33" fmla="*/ 894 h 1002"/>
                <a:gd name="T34" fmla="*/ 534 w 1538"/>
                <a:gd name="T35" fmla="*/ 908 h 1002"/>
                <a:gd name="T36" fmla="*/ 604 w 1538"/>
                <a:gd name="T37" fmla="*/ 926 h 1002"/>
                <a:gd name="T38" fmla="*/ 664 w 1538"/>
                <a:gd name="T39" fmla="*/ 950 h 1002"/>
                <a:gd name="T40" fmla="*/ 710 w 1538"/>
                <a:gd name="T41" fmla="*/ 994 h 1002"/>
                <a:gd name="T42" fmla="*/ 724 w 1538"/>
                <a:gd name="T43" fmla="*/ 1000 h 1002"/>
                <a:gd name="T44" fmla="*/ 744 w 1538"/>
                <a:gd name="T45" fmla="*/ 972 h 1002"/>
                <a:gd name="T46" fmla="*/ 764 w 1538"/>
                <a:gd name="T47" fmla="*/ 960 h 1002"/>
                <a:gd name="T48" fmla="*/ 772 w 1538"/>
                <a:gd name="T49" fmla="*/ 966 h 1002"/>
                <a:gd name="T50" fmla="*/ 776 w 1538"/>
                <a:gd name="T51" fmla="*/ 970 h 1002"/>
                <a:gd name="T52" fmla="*/ 806 w 1538"/>
                <a:gd name="T53" fmla="*/ 940 h 1002"/>
                <a:gd name="T54" fmla="*/ 818 w 1538"/>
                <a:gd name="T55" fmla="*/ 932 h 1002"/>
                <a:gd name="T56" fmla="*/ 854 w 1538"/>
                <a:gd name="T57" fmla="*/ 926 h 1002"/>
                <a:gd name="T58" fmla="*/ 900 w 1538"/>
                <a:gd name="T59" fmla="*/ 864 h 1002"/>
                <a:gd name="T60" fmla="*/ 938 w 1538"/>
                <a:gd name="T61" fmla="*/ 792 h 1002"/>
                <a:gd name="T62" fmla="*/ 968 w 1538"/>
                <a:gd name="T63" fmla="*/ 696 h 1002"/>
                <a:gd name="T64" fmla="*/ 978 w 1538"/>
                <a:gd name="T65" fmla="*/ 578 h 1002"/>
                <a:gd name="T66" fmla="*/ 968 w 1538"/>
                <a:gd name="T67" fmla="*/ 492 h 1002"/>
                <a:gd name="T68" fmla="*/ 932 w 1538"/>
                <a:gd name="T69" fmla="*/ 380 h 1002"/>
                <a:gd name="T70" fmla="*/ 882 w 1538"/>
                <a:gd name="T71" fmla="*/ 296 h 1002"/>
                <a:gd name="T72" fmla="*/ 832 w 1538"/>
                <a:gd name="T73" fmla="*/ 238 h 1002"/>
                <a:gd name="T74" fmla="*/ 776 w 1538"/>
                <a:gd name="T75" fmla="*/ 194 h 1002"/>
                <a:gd name="T76" fmla="*/ 764 w 1538"/>
                <a:gd name="T77" fmla="*/ 200 h 1002"/>
                <a:gd name="T78" fmla="*/ 740 w 1538"/>
                <a:gd name="T79" fmla="*/ 200 h 1002"/>
                <a:gd name="T80" fmla="*/ 716 w 1538"/>
                <a:gd name="T81" fmla="*/ 180 h 1002"/>
                <a:gd name="T82" fmla="*/ 710 w 1538"/>
                <a:gd name="T83" fmla="*/ 160 h 1002"/>
                <a:gd name="T84" fmla="*/ 744 w 1538"/>
                <a:gd name="T85" fmla="*/ 128 h 1002"/>
                <a:gd name="T86" fmla="*/ 762 w 1538"/>
                <a:gd name="T87" fmla="*/ 120 h 1002"/>
                <a:gd name="T88" fmla="*/ 886 w 1538"/>
                <a:gd name="T89" fmla="*/ 114 h 1002"/>
                <a:gd name="T90" fmla="*/ 1026 w 1538"/>
                <a:gd name="T91" fmla="*/ 58 h 1002"/>
                <a:gd name="T92" fmla="*/ 1160 w 1538"/>
                <a:gd name="T93" fmla="*/ 6 h 1002"/>
                <a:gd name="T94" fmla="*/ 1412 w 1538"/>
                <a:gd name="T95" fmla="*/ 0 h 1002"/>
                <a:gd name="T96" fmla="*/ 1530 w 1538"/>
                <a:gd name="T97" fmla="*/ 8 h 10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38" h="1002">
                  <a:moveTo>
                    <a:pt x="0" y="358"/>
                  </a:moveTo>
                  <a:lnTo>
                    <a:pt x="0" y="358"/>
                  </a:lnTo>
                  <a:lnTo>
                    <a:pt x="28" y="374"/>
                  </a:lnTo>
                  <a:lnTo>
                    <a:pt x="28" y="374"/>
                  </a:lnTo>
                  <a:lnTo>
                    <a:pt x="38" y="380"/>
                  </a:lnTo>
                  <a:lnTo>
                    <a:pt x="44" y="388"/>
                  </a:lnTo>
                  <a:lnTo>
                    <a:pt x="52" y="398"/>
                  </a:lnTo>
                  <a:lnTo>
                    <a:pt x="56" y="410"/>
                  </a:lnTo>
                  <a:lnTo>
                    <a:pt x="60" y="426"/>
                  </a:lnTo>
                  <a:lnTo>
                    <a:pt x="58" y="446"/>
                  </a:lnTo>
                  <a:lnTo>
                    <a:pt x="54" y="472"/>
                  </a:lnTo>
                  <a:lnTo>
                    <a:pt x="54" y="472"/>
                  </a:lnTo>
                  <a:lnTo>
                    <a:pt x="50" y="470"/>
                  </a:lnTo>
                  <a:lnTo>
                    <a:pt x="44" y="468"/>
                  </a:lnTo>
                  <a:lnTo>
                    <a:pt x="40" y="466"/>
                  </a:lnTo>
                  <a:lnTo>
                    <a:pt x="36" y="468"/>
                  </a:lnTo>
                  <a:lnTo>
                    <a:pt x="32" y="472"/>
                  </a:lnTo>
                  <a:lnTo>
                    <a:pt x="30" y="478"/>
                  </a:lnTo>
                  <a:lnTo>
                    <a:pt x="30" y="478"/>
                  </a:lnTo>
                  <a:lnTo>
                    <a:pt x="30" y="498"/>
                  </a:lnTo>
                  <a:lnTo>
                    <a:pt x="34" y="534"/>
                  </a:lnTo>
                  <a:lnTo>
                    <a:pt x="40" y="584"/>
                  </a:lnTo>
                  <a:lnTo>
                    <a:pt x="50" y="640"/>
                  </a:lnTo>
                  <a:lnTo>
                    <a:pt x="64" y="700"/>
                  </a:lnTo>
                  <a:lnTo>
                    <a:pt x="72" y="730"/>
                  </a:lnTo>
                  <a:lnTo>
                    <a:pt x="82" y="758"/>
                  </a:lnTo>
                  <a:lnTo>
                    <a:pt x="92" y="784"/>
                  </a:lnTo>
                  <a:lnTo>
                    <a:pt x="102" y="808"/>
                  </a:lnTo>
                  <a:lnTo>
                    <a:pt x="114" y="828"/>
                  </a:lnTo>
                  <a:lnTo>
                    <a:pt x="126" y="846"/>
                  </a:lnTo>
                  <a:lnTo>
                    <a:pt x="126" y="846"/>
                  </a:lnTo>
                  <a:lnTo>
                    <a:pt x="164" y="892"/>
                  </a:lnTo>
                  <a:lnTo>
                    <a:pt x="192" y="928"/>
                  </a:lnTo>
                  <a:lnTo>
                    <a:pt x="192" y="928"/>
                  </a:lnTo>
                  <a:lnTo>
                    <a:pt x="198" y="938"/>
                  </a:lnTo>
                  <a:lnTo>
                    <a:pt x="208" y="946"/>
                  </a:lnTo>
                  <a:lnTo>
                    <a:pt x="218" y="952"/>
                  </a:lnTo>
                  <a:lnTo>
                    <a:pt x="230" y="958"/>
                  </a:lnTo>
                  <a:lnTo>
                    <a:pt x="240" y="960"/>
                  </a:lnTo>
                  <a:lnTo>
                    <a:pt x="252" y="962"/>
                  </a:lnTo>
                  <a:lnTo>
                    <a:pt x="264" y="960"/>
                  </a:lnTo>
                  <a:lnTo>
                    <a:pt x="272" y="954"/>
                  </a:lnTo>
                  <a:lnTo>
                    <a:pt x="272" y="954"/>
                  </a:lnTo>
                  <a:lnTo>
                    <a:pt x="290" y="944"/>
                  </a:lnTo>
                  <a:lnTo>
                    <a:pt x="310" y="934"/>
                  </a:lnTo>
                  <a:lnTo>
                    <a:pt x="334" y="922"/>
                  </a:lnTo>
                  <a:lnTo>
                    <a:pt x="358" y="914"/>
                  </a:lnTo>
                  <a:lnTo>
                    <a:pt x="404" y="898"/>
                  </a:lnTo>
                  <a:lnTo>
                    <a:pt x="422" y="894"/>
                  </a:lnTo>
                  <a:lnTo>
                    <a:pt x="436" y="894"/>
                  </a:lnTo>
                  <a:lnTo>
                    <a:pt x="436" y="894"/>
                  </a:lnTo>
                  <a:lnTo>
                    <a:pt x="456" y="894"/>
                  </a:lnTo>
                  <a:lnTo>
                    <a:pt x="480" y="898"/>
                  </a:lnTo>
                  <a:lnTo>
                    <a:pt x="534" y="908"/>
                  </a:lnTo>
                  <a:lnTo>
                    <a:pt x="580" y="918"/>
                  </a:lnTo>
                  <a:lnTo>
                    <a:pt x="604" y="926"/>
                  </a:lnTo>
                  <a:lnTo>
                    <a:pt x="604" y="926"/>
                  </a:lnTo>
                  <a:lnTo>
                    <a:pt x="634" y="938"/>
                  </a:lnTo>
                  <a:lnTo>
                    <a:pt x="664" y="950"/>
                  </a:lnTo>
                  <a:lnTo>
                    <a:pt x="664" y="950"/>
                  </a:lnTo>
                  <a:lnTo>
                    <a:pt x="676" y="960"/>
                  </a:lnTo>
                  <a:lnTo>
                    <a:pt x="694" y="978"/>
                  </a:lnTo>
                  <a:lnTo>
                    <a:pt x="710" y="994"/>
                  </a:lnTo>
                  <a:lnTo>
                    <a:pt x="720" y="1002"/>
                  </a:lnTo>
                  <a:lnTo>
                    <a:pt x="720" y="1002"/>
                  </a:lnTo>
                  <a:lnTo>
                    <a:pt x="724" y="1000"/>
                  </a:lnTo>
                  <a:lnTo>
                    <a:pt x="728" y="996"/>
                  </a:lnTo>
                  <a:lnTo>
                    <a:pt x="738" y="980"/>
                  </a:lnTo>
                  <a:lnTo>
                    <a:pt x="744" y="972"/>
                  </a:lnTo>
                  <a:lnTo>
                    <a:pt x="752" y="964"/>
                  </a:lnTo>
                  <a:lnTo>
                    <a:pt x="758" y="960"/>
                  </a:lnTo>
                  <a:lnTo>
                    <a:pt x="764" y="960"/>
                  </a:lnTo>
                  <a:lnTo>
                    <a:pt x="764" y="960"/>
                  </a:lnTo>
                  <a:lnTo>
                    <a:pt x="768" y="962"/>
                  </a:lnTo>
                  <a:lnTo>
                    <a:pt x="772" y="966"/>
                  </a:lnTo>
                  <a:lnTo>
                    <a:pt x="774" y="968"/>
                  </a:lnTo>
                  <a:lnTo>
                    <a:pt x="776" y="970"/>
                  </a:lnTo>
                  <a:lnTo>
                    <a:pt x="776" y="970"/>
                  </a:lnTo>
                  <a:lnTo>
                    <a:pt x="782" y="966"/>
                  </a:lnTo>
                  <a:lnTo>
                    <a:pt x="788" y="960"/>
                  </a:lnTo>
                  <a:lnTo>
                    <a:pt x="806" y="940"/>
                  </a:lnTo>
                  <a:lnTo>
                    <a:pt x="806" y="940"/>
                  </a:lnTo>
                  <a:lnTo>
                    <a:pt x="812" y="936"/>
                  </a:lnTo>
                  <a:lnTo>
                    <a:pt x="818" y="932"/>
                  </a:lnTo>
                  <a:lnTo>
                    <a:pt x="834" y="928"/>
                  </a:lnTo>
                  <a:lnTo>
                    <a:pt x="854" y="926"/>
                  </a:lnTo>
                  <a:lnTo>
                    <a:pt x="854" y="926"/>
                  </a:lnTo>
                  <a:lnTo>
                    <a:pt x="860" y="918"/>
                  </a:lnTo>
                  <a:lnTo>
                    <a:pt x="878" y="898"/>
                  </a:lnTo>
                  <a:lnTo>
                    <a:pt x="900" y="864"/>
                  </a:lnTo>
                  <a:lnTo>
                    <a:pt x="912" y="844"/>
                  </a:lnTo>
                  <a:lnTo>
                    <a:pt x="926" y="820"/>
                  </a:lnTo>
                  <a:lnTo>
                    <a:pt x="938" y="792"/>
                  </a:lnTo>
                  <a:lnTo>
                    <a:pt x="948" y="764"/>
                  </a:lnTo>
                  <a:lnTo>
                    <a:pt x="960" y="732"/>
                  </a:lnTo>
                  <a:lnTo>
                    <a:pt x="968" y="696"/>
                  </a:lnTo>
                  <a:lnTo>
                    <a:pt x="974" y="660"/>
                  </a:lnTo>
                  <a:lnTo>
                    <a:pt x="978" y="620"/>
                  </a:lnTo>
                  <a:lnTo>
                    <a:pt x="978" y="578"/>
                  </a:lnTo>
                  <a:lnTo>
                    <a:pt x="974" y="534"/>
                  </a:lnTo>
                  <a:lnTo>
                    <a:pt x="974" y="534"/>
                  </a:lnTo>
                  <a:lnTo>
                    <a:pt x="968" y="492"/>
                  </a:lnTo>
                  <a:lnTo>
                    <a:pt x="958" y="452"/>
                  </a:lnTo>
                  <a:lnTo>
                    <a:pt x="946" y="414"/>
                  </a:lnTo>
                  <a:lnTo>
                    <a:pt x="932" y="380"/>
                  </a:lnTo>
                  <a:lnTo>
                    <a:pt x="916" y="350"/>
                  </a:lnTo>
                  <a:lnTo>
                    <a:pt x="900" y="322"/>
                  </a:lnTo>
                  <a:lnTo>
                    <a:pt x="882" y="296"/>
                  </a:lnTo>
                  <a:lnTo>
                    <a:pt x="864" y="274"/>
                  </a:lnTo>
                  <a:lnTo>
                    <a:pt x="848" y="256"/>
                  </a:lnTo>
                  <a:lnTo>
                    <a:pt x="832" y="238"/>
                  </a:lnTo>
                  <a:lnTo>
                    <a:pt x="804" y="214"/>
                  </a:lnTo>
                  <a:lnTo>
                    <a:pt x="784" y="198"/>
                  </a:lnTo>
                  <a:lnTo>
                    <a:pt x="776" y="194"/>
                  </a:lnTo>
                  <a:lnTo>
                    <a:pt x="776" y="194"/>
                  </a:lnTo>
                  <a:lnTo>
                    <a:pt x="772" y="196"/>
                  </a:lnTo>
                  <a:lnTo>
                    <a:pt x="764" y="200"/>
                  </a:lnTo>
                  <a:lnTo>
                    <a:pt x="752" y="202"/>
                  </a:lnTo>
                  <a:lnTo>
                    <a:pt x="746" y="202"/>
                  </a:lnTo>
                  <a:lnTo>
                    <a:pt x="740" y="200"/>
                  </a:lnTo>
                  <a:lnTo>
                    <a:pt x="740" y="200"/>
                  </a:lnTo>
                  <a:lnTo>
                    <a:pt x="726" y="192"/>
                  </a:lnTo>
                  <a:lnTo>
                    <a:pt x="716" y="180"/>
                  </a:lnTo>
                  <a:lnTo>
                    <a:pt x="704" y="166"/>
                  </a:lnTo>
                  <a:lnTo>
                    <a:pt x="704" y="166"/>
                  </a:lnTo>
                  <a:lnTo>
                    <a:pt x="710" y="160"/>
                  </a:lnTo>
                  <a:lnTo>
                    <a:pt x="724" y="144"/>
                  </a:lnTo>
                  <a:lnTo>
                    <a:pt x="734" y="136"/>
                  </a:lnTo>
                  <a:lnTo>
                    <a:pt x="744" y="128"/>
                  </a:lnTo>
                  <a:lnTo>
                    <a:pt x="752" y="122"/>
                  </a:lnTo>
                  <a:lnTo>
                    <a:pt x="762" y="120"/>
                  </a:lnTo>
                  <a:lnTo>
                    <a:pt x="762" y="120"/>
                  </a:lnTo>
                  <a:lnTo>
                    <a:pt x="826" y="118"/>
                  </a:lnTo>
                  <a:lnTo>
                    <a:pt x="862" y="116"/>
                  </a:lnTo>
                  <a:lnTo>
                    <a:pt x="886" y="114"/>
                  </a:lnTo>
                  <a:lnTo>
                    <a:pt x="886" y="114"/>
                  </a:lnTo>
                  <a:lnTo>
                    <a:pt x="934" y="94"/>
                  </a:lnTo>
                  <a:lnTo>
                    <a:pt x="1026" y="58"/>
                  </a:lnTo>
                  <a:lnTo>
                    <a:pt x="1116" y="22"/>
                  </a:lnTo>
                  <a:lnTo>
                    <a:pt x="1160" y="6"/>
                  </a:lnTo>
                  <a:lnTo>
                    <a:pt x="1160" y="6"/>
                  </a:lnTo>
                  <a:lnTo>
                    <a:pt x="1220" y="4"/>
                  </a:lnTo>
                  <a:lnTo>
                    <a:pt x="1346" y="0"/>
                  </a:lnTo>
                  <a:lnTo>
                    <a:pt x="1412" y="0"/>
                  </a:lnTo>
                  <a:lnTo>
                    <a:pt x="1472" y="2"/>
                  </a:lnTo>
                  <a:lnTo>
                    <a:pt x="1516" y="4"/>
                  </a:lnTo>
                  <a:lnTo>
                    <a:pt x="1530" y="8"/>
                  </a:lnTo>
                  <a:lnTo>
                    <a:pt x="1538" y="10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88" name="Freeform 61"/>
            <p:cNvSpPr>
              <a:spLocks/>
            </p:cNvSpPr>
            <p:nvPr/>
          </p:nvSpPr>
          <p:spPr bwMode="auto">
            <a:xfrm>
              <a:off x="10640408" y="5196557"/>
              <a:ext cx="181605" cy="283335"/>
            </a:xfrm>
            <a:custGeom>
              <a:avLst/>
              <a:gdLst>
                <a:gd name="T0" fmla="*/ 0 w 92"/>
                <a:gd name="T1" fmla="*/ 140 h 140"/>
                <a:gd name="T2" fmla="*/ 0 w 92"/>
                <a:gd name="T3" fmla="*/ 140 h 140"/>
                <a:gd name="T4" fmla="*/ 2 w 92"/>
                <a:gd name="T5" fmla="*/ 122 h 140"/>
                <a:gd name="T6" fmla="*/ 4 w 92"/>
                <a:gd name="T7" fmla="*/ 110 h 140"/>
                <a:gd name="T8" fmla="*/ 6 w 92"/>
                <a:gd name="T9" fmla="*/ 104 h 140"/>
                <a:gd name="T10" fmla="*/ 6 w 92"/>
                <a:gd name="T11" fmla="*/ 104 h 140"/>
                <a:gd name="T12" fmla="*/ 8 w 92"/>
                <a:gd name="T13" fmla="*/ 102 h 140"/>
                <a:gd name="T14" fmla="*/ 8 w 92"/>
                <a:gd name="T15" fmla="*/ 96 h 140"/>
                <a:gd name="T16" fmla="*/ 8 w 92"/>
                <a:gd name="T17" fmla="*/ 90 h 140"/>
                <a:gd name="T18" fmla="*/ 8 w 92"/>
                <a:gd name="T19" fmla="*/ 88 h 140"/>
                <a:gd name="T20" fmla="*/ 10 w 92"/>
                <a:gd name="T21" fmla="*/ 88 h 140"/>
                <a:gd name="T22" fmla="*/ 10 w 92"/>
                <a:gd name="T23" fmla="*/ 88 h 140"/>
                <a:gd name="T24" fmla="*/ 14 w 92"/>
                <a:gd name="T25" fmla="*/ 86 h 140"/>
                <a:gd name="T26" fmla="*/ 20 w 92"/>
                <a:gd name="T27" fmla="*/ 82 h 140"/>
                <a:gd name="T28" fmla="*/ 26 w 92"/>
                <a:gd name="T29" fmla="*/ 76 h 140"/>
                <a:gd name="T30" fmla="*/ 28 w 92"/>
                <a:gd name="T31" fmla="*/ 72 h 140"/>
                <a:gd name="T32" fmla="*/ 28 w 92"/>
                <a:gd name="T33" fmla="*/ 72 h 140"/>
                <a:gd name="T34" fmla="*/ 32 w 92"/>
                <a:gd name="T35" fmla="*/ 44 h 140"/>
                <a:gd name="T36" fmla="*/ 36 w 92"/>
                <a:gd name="T37" fmla="*/ 26 h 140"/>
                <a:gd name="T38" fmla="*/ 38 w 92"/>
                <a:gd name="T39" fmla="*/ 20 h 140"/>
                <a:gd name="T40" fmla="*/ 40 w 92"/>
                <a:gd name="T41" fmla="*/ 18 h 140"/>
                <a:gd name="T42" fmla="*/ 40 w 92"/>
                <a:gd name="T43" fmla="*/ 18 h 140"/>
                <a:gd name="T44" fmla="*/ 50 w 92"/>
                <a:gd name="T45" fmla="*/ 20 h 140"/>
                <a:gd name="T46" fmla="*/ 50 w 92"/>
                <a:gd name="T47" fmla="*/ 20 h 140"/>
                <a:gd name="T48" fmla="*/ 54 w 92"/>
                <a:gd name="T49" fmla="*/ 10 h 140"/>
                <a:gd name="T50" fmla="*/ 60 w 92"/>
                <a:gd name="T51" fmla="*/ 4 h 140"/>
                <a:gd name="T52" fmla="*/ 64 w 92"/>
                <a:gd name="T53" fmla="*/ 2 h 140"/>
                <a:gd name="T54" fmla="*/ 68 w 92"/>
                <a:gd name="T55" fmla="*/ 2 h 140"/>
                <a:gd name="T56" fmla="*/ 68 w 92"/>
                <a:gd name="T57" fmla="*/ 2 h 140"/>
                <a:gd name="T58" fmla="*/ 80 w 92"/>
                <a:gd name="T59" fmla="*/ 0 h 140"/>
                <a:gd name="T60" fmla="*/ 84 w 92"/>
                <a:gd name="T61" fmla="*/ 2 h 140"/>
                <a:gd name="T62" fmla="*/ 88 w 92"/>
                <a:gd name="T63" fmla="*/ 8 h 140"/>
                <a:gd name="T64" fmla="*/ 88 w 92"/>
                <a:gd name="T65" fmla="*/ 8 h 140"/>
                <a:gd name="T66" fmla="*/ 92 w 92"/>
                <a:gd name="T67" fmla="*/ 18 h 140"/>
                <a:gd name="T68" fmla="*/ 92 w 92"/>
                <a:gd name="T69" fmla="*/ 22 h 140"/>
                <a:gd name="T70" fmla="*/ 90 w 92"/>
                <a:gd name="T71" fmla="*/ 24 h 140"/>
                <a:gd name="T72" fmla="*/ 90 w 92"/>
                <a:gd name="T73" fmla="*/ 24 h 140"/>
                <a:gd name="T74" fmla="*/ 84 w 92"/>
                <a:gd name="T75" fmla="*/ 28 h 140"/>
                <a:gd name="T76" fmla="*/ 80 w 92"/>
                <a:gd name="T77" fmla="*/ 34 h 140"/>
                <a:gd name="T78" fmla="*/ 80 w 92"/>
                <a:gd name="T79" fmla="*/ 34 h 140"/>
                <a:gd name="T80" fmla="*/ 84 w 92"/>
                <a:gd name="T81" fmla="*/ 48 h 140"/>
                <a:gd name="T82" fmla="*/ 86 w 92"/>
                <a:gd name="T83" fmla="*/ 64 h 140"/>
                <a:gd name="T84" fmla="*/ 86 w 92"/>
                <a:gd name="T85" fmla="*/ 64 h 140"/>
                <a:gd name="T86" fmla="*/ 82 w 92"/>
                <a:gd name="T87" fmla="*/ 72 h 140"/>
                <a:gd name="T88" fmla="*/ 72 w 92"/>
                <a:gd name="T89" fmla="*/ 88 h 140"/>
                <a:gd name="T90" fmla="*/ 60 w 92"/>
                <a:gd name="T91" fmla="*/ 108 h 140"/>
                <a:gd name="T92" fmla="*/ 60 w 92"/>
                <a:gd name="T93" fmla="*/ 108 h 140"/>
                <a:gd name="T94" fmla="*/ 60 w 92"/>
                <a:gd name="T95" fmla="*/ 112 h 140"/>
                <a:gd name="T96" fmla="*/ 60 w 92"/>
                <a:gd name="T97" fmla="*/ 112 h 140"/>
                <a:gd name="T98" fmla="*/ 56 w 92"/>
                <a:gd name="T99" fmla="*/ 102 h 140"/>
                <a:gd name="T100" fmla="*/ 50 w 92"/>
                <a:gd name="T101" fmla="*/ 84 h 140"/>
                <a:gd name="T102" fmla="*/ 46 w 92"/>
                <a:gd name="T103" fmla="*/ 70 h 140"/>
                <a:gd name="T104" fmla="*/ 46 w 92"/>
                <a:gd name="T105" fmla="*/ 70 h 140"/>
                <a:gd name="T106" fmla="*/ 44 w 92"/>
                <a:gd name="T107" fmla="*/ 58 h 140"/>
                <a:gd name="T108" fmla="*/ 46 w 92"/>
                <a:gd name="T109" fmla="*/ 40 h 140"/>
                <a:gd name="T110" fmla="*/ 48 w 92"/>
                <a:gd name="T111" fmla="*/ 22 h 140"/>
                <a:gd name="T112" fmla="*/ 50 w 92"/>
                <a:gd name="T113" fmla="*/ 16 h 140"/>
                <a:gd name="T114" fmla="*/ 52 w 92"/>
                <a:gd name="T115" fmla="*/ 14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92" h="140">
                  <a:moveTo>
                    <a:pt x="0" y="140"/>
                  </a:moveTo>
                  <a:lnTo>
                    <a:pt x="0" y="140"/>
                  </a:lnTo>
                  <a:lnTo>
                    <a:pt x="2" y="122"/>
                  </a:lnTo>
                  <a:lnTo>
                    <a:pt x="4" y="110"/>
                  </a:lnTo>
                  <a:lnTo>
                    <a:pt x="6" y="104"/>
                  </a:lnTo>
                  <a:lnTo>
                    <a:pt x="6" y="104"/>
                  </a:lnTo>
                  <a:lnTo>
                    <a:pt x="8" y="102"/>
                  </a:lnTo>
                  <a:lnTo>
                    <a:pt x="8" y="96"/>
                  </a:lnTo>
                  <a:lnTo>
                    <a:pt x="8" y="90"/>
                  </a:lnTo>
                  <a:lnTo>
                    <a:pt x="8" y="88"/>
                  </a:lnTo>
                  <a:lnTo>
                    <a:pt x="10" y="88"/>
                  </a:lnTo>
                  <a:lnTo>
                    <a:pt x="10" y="88"/>
                  </a:lnTo>
                  <a:lnTo>
                    <a:pt x="14" y="86"/>
                  </a:lnTo>
                  <a:lnTo>
                    <a:pt x="20" y="82"/>
                  </a:lnTo>
                  <a:lnTo>
                    <a:pt x="26" y="76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32" y="44"/>
                  </a:lnTo>
                  <a:lnTo>
                    <a:pt x="36" y="26"/>
                  </a:lnTo>
                  <a:lnTo>
                    <a:pt x="38" y="20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4" y="10"/>
                  </a:lnTo>
                  <a:lnTo>
                    <a:pt x="60" y="4"/>
                  </a:lnTo>
                  <a:lnTo>
                    <a:pt x="64" y="2"/>
                  </a:lnTo>
                  <a:lnTo>
                    <a:pt x="68" y="2"/>
                  </a:lnTo>
                  <a:lnTo>
                    <a:pt x="68" y="2"/>
                  </a:lnTo>
                  <a:lnTo>
                    <a:pt x="80" y="0"/>
                  </a:lnTo>
                  <a:lnTo>
                    <a:pt x="84" y="2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92" y="18"/>
                  </a:lnTo>
                  <a:lnTo>
                    <a:pt x="92" y="22"/>
                  </a:lnTo>
                  <a:lnTo>
                    <a:pt x="90" y="24"/>
                  </a:lnTo>
                  <a:lnTo>
                    <a:pt x="90" y="24"/>
                  </a:lnTo>
                  <a:lnTo>
                    <a:pt x="84" y="28"/>
                  </a:lnTo>
                  <a:lnTo>
                    <a:pt x="80" y="34"/>
                  </a:lnTo>
                  <a:lnTo>
                    <a:pt x="80" y="34"/>
                  </a:lnTo>
                  <a:lnTo>
                    <a:pt x="84" y="48"/>
                  </a:lnTo>
                  <a:lnTo>
                    <a:pt x="86" y="64"/>
                  </a:lnTo>
                  <a:lnTo>
                    <a:pt x="86" y="64"/>
                  </a:lnTo>
                  <a:lnTo>
                    <a:pt x="82" y="72"/>
                  </a:lnTo>
                  <a:lnTo>
                    <a:pt x="72" y="88"/>
                  </a:lnTo>
                  <a:lnTo>
                    <a:pt x="60" y="108"/>
                  </a:lnTo>
                  <a:lnTo>
                    <a:pt x="60" y="108"/>
                  </a:lnTo>
                  <a:lnTo>
                    <a:pt x="60" y="112"/>
                  </a:lnTo>
                  <a:lnTo>
                    <a:pt x="60" y="112"/>
                  </a:lnTo>
                  <a:lnTo>
                    <a:pt x="56" y="102"/>
                  </a:lnTo>
                  <a:lnTo>
                    <a:pt x="50" y="84"/>
                  </a:lnTo>
                  <a:lnTo>
                    <a:pt x="46" y="70"/>
                  </a:lnTo>
                  <a:lnTo>
                    <a:pt x="46" y="70"/>
                  </a:lnTo>
                  <a:lnTo>
                    <a:pt x="44" y="58"/>
                  </a:lnTo>
                  <a:lnTo>
                    <a:pt x="46" y="40"/>
                  </a:lnTo>
                  <a:lnTo>
                    <a:pt x="48" y="22"/>
                  </a:lnTo>
                  <a:lnTo>
                    <a:pt x="50" y="16"/>
                  </a:lnTo>
                  <a:lnTo>
                    <a:pt x="52" y="14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grpSp>
          <p:nvGrpSpPr>
            <p:cNvPr id="421" name="Group 420"/>
            <p:cNvGrpSpPr/>
            <p:nvPr/>
          </p:nvGrpSpPr>
          <p:grpSpPr>
            <a:xfrm>
              <a:off x="10615758" y="4469081"/>
              <a:ext cx="1576241" cy="1257349"/>
              <a:chOff x="10615759" y="4469081"/>
              <a:chExt cx="1448892" cy="1145481"/>
            </a:xfrm>
          </p:grpSpPr>
          <p:sp>
            <p:nvSpPr>
              <p:cNvPr id="389" name="Freeform 62"/>
              <p:cNvSpPr>
                <a:spLocks/>
              </p:cNvSpPr>
              <p:nvPr/>
            </p:nvSpPr>
            <p:spPr bwMode="auto">
              <a:xfrm>
                <a:off x="10619707" y="4469081"/>
                <a:ext cx="1444944" cy="975480"/>
              </a:xfrm>
              <a:custGeom>
                <a:avLst/>
                <a:gdLst>
                  <a:gd name="T0" fmla="*/ 0 w 732"/>
                  <a:gd name="T1" fmla="*/ 478 h 482"/>
                  <a:gd name="T2" fmla="*/ 88 w 732"/>
                  <a:gd name="T3" fmla="*/ 482 h 482"/>
                  <a:gd name="T4" fmla="*/ 192 w 732"/>
                  <a:gd name="T5" fmla="*/ 422 h 482"/>
                  <a:gd name="T6" fmla="*/ 732 w 732"/>
                  <a:gd name="T7" fmla="*/ 0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32" h="482">
                    <a:moveTo>
                      <a:pt x="0" y="478"/>
                    </a:moveTo>
                    <a:lnTo>
                      <a:pt x="88" y="482"/>
                    </a:lnTo>
                    <a:lnTo>
                      <a:pt x="192" y="422"/>
                    </a:lnTo>
                    <a:lnTo>
                      <a:pt x="732" y="0"/>
                    </a:lnTo>
                  </a:path>
                </a:pathLst>
              </a:custGeom>
              <a:noFill/>
              <a:ln w="12700">
                <a:solidFill>
                  <a:srgbClr val="001F50">
                    <a:alpha val="56000"/>
                  </a:srgbClr>
                </a:solidFill>
                <a:prstDash val="sysDot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defTabSz="932597">
                  <a:defRPr/>
                </a:pPr>
                <a:endParaRPr lang="en-US" sz="1836">
                  <a:solidFill>
                    <a:srgbClr val="505050"/>
                  </a:solidFill>
                  <a:latin typeface="Segoe UI"/>
                </a:endParaRPr>
              </a:p>
            </p:txBody>
          </p:sp>
          <p:sp>
            <p:nvSpPr>
              <p:cNvPr id="390" name="Freeform 63"/>
              <p:cNvSpPr>
                <a:spLocks/>
              </p:cNvSpPr>
              <p:nvPr/>
            </p:nvSpPr>
            <p:spPr bwMode="auto">
              <a:xfrm>
                <a:off x="10619707" y="4578367"/>
                <a:ext cx="1444944" cy="1015957"/>
              </a:xfrm>
              <a:custGeom>
                <a:avLst/>
                <a:gdLst>
                  <a:gd name="T0" fmla="*/ 0 w 732"/>
                  <a:gd name="T1" fmla="*/ 428 h 502"/>
                  <a:gd name="T2" fmla="*/ 0 w 732"/>
                  <a:gd name="T3" fmla="*/ 428 h 502"/>
                  <a:gd name="T4" fmla="*/ 30 w 732"/>
                  <a:gd name="T5" fmla="*/ 440 h 502"/>
                  <a:gd name="T6" fmla="*/ 68 w 732"/>
                  <a:gd name="T7" fmla="*/ 452 h 502"/>
                  <a:gd name="T8" fmla="*/ 116 w 732"/>
                  <a:gd name="T9" fmla="*/ 466 h 502"/>
                  <a:gd name="T10" fmla="*/ 172 w 732"/>
                  <a:gd name="T11" fmla="*/ 480 h 502"/>
                  <a:gd name="T12" fmla="*/ 240 w 732"/>
                  <a:gd name="T13" fmla="*/ 492 h 502"/>
                  <a:gd name="T14" fmla="*/ 276 w 732"/>
                  <a:gd name="T15" fmla="*/ 496 h 502"/>
                  <a:gd name="T16" fmla="*/ 312 w 732"/>
                  <a:gd name="T17" fmla="*/ 500 h 502"/>
                  <a:gd name="T18" fmla="*/ 352 w 732"/>
                  <a:gd name="T19" fmla="*/ 502 h 502"/>
                  <a:gd name="T20" fmla="*/ 390 w 732"/>
                  <a:gd name="T21" fmla="*/ 502 h 502"/>
                  <a:gd name="T22" fmla="*/ 732 w 732"/>
                  <a:gd name="T23" fmla="*/ 0 h 5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32" h="502">
                    <a:moveTo>
                      <a:pt x="0" y="428"/>
                    </a:moveTo>
                    <a:lnTo>
                      <a:pt x="0" y="428"/>
                    </a:lnTo>
                    <a:lnTo>
                      <a:pt x="30" y="440"/>
                    </a:lnTo>
                    <a:lnTo>
                      <a:pt x="68" y="452"/>
                    </a:lnTo>
                    <a:lnTo>
                      <a:pt x="116" y="466"/>
                    </a:lnTo>
                    <a:lnTo>
                      <a:pt x="172" y="480"/>
                    </a:lnTo>
                    <a:lnTo>
                      <a:pt x="240" y="492"/>
                    </a:lnTo>
                    <a:lnTo>
                      <a:pt x="276" y="496"/>
                    </a:lnTo>
                    <a:lnTo>
                      <a:pt x="312" y="500"/>
                    </a:lnTo>
                    <a:lnTo>
                      <a:pt x="352" y="502"/>
                    </a:lnTo>
                    <a:lnTo>
                      <a:pt x="390" y="502"/>
                    </a:lnTo>
                    <a:lnTo>
                      <a:pt x="732" y="0"/>
                    </a:lnTo>
                  </a:path>
                </a:pathLst>
              </a:custGeom>
              <a:noFill/>
              <a:ln w="12700">
                <a:solidFill>
                  <a:srgbClr val="001F50">
                    <a:alpha val="56000"/>
                  </a:srgbClr>
                </a:solidFill>
                <a:prstDash val="sysDot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defTabSz="932597">
                  <a:defRPr/>
                </a:pPr>
                <a:endParaRPr lang="en-US" sz="1836">
                  <a:solidFill>
                    <a:srgbClr val="505050"/>
                  </a:solidFill>
                  <a:latin typeface="Segoe UI"/>
                </a:endParaRPr>
              </a:p>
            </p:txBody>
          </p:sp>
          <p:sp>
            <p:nvSpPr>
              <p:cNvPr id="391" name="Freeform 64"/>
              <p:cNvSpPr>
                <a:spLocks/>
              </p:cNvSpPr>
              <p:nvPr/>
            </p:nvSpPr>
            <p:spPr bwMode="auto">
              <a:xfrm>
                <a:off x="10615759" y="4683606"/>
                <a:ext cx="1448892" cy="930956"/>
              </a:xfrm>
              <a:custGeom>
                <a:avLst/>
                <a:gdLst>
                  <a:gd name="T0" fmla="*/ 0 w 734"/>
                  <a:gd name="T1" fmla="*/ 374 h 460"/>
                  <a:gd name="T2" fmla="*/ 0 w 734"/>
                  <a:gd name="T3" fmla="*/ 374 h 460"/>
                  <a:gd name="T4" fmla="*/ 6 w 734"/>
                  <a:gd name="T5" fmla="*/ 382 h 460"/>
                  <a:gd name="T6" fmla="*/ 16 w 734"/>
                  <a:gd name="T7" fmla="*/ 390 h 460"/>
                  <a:gd name="T8" fmla="*/ 30 w 734"/>
                  <a:gd name="T9" fmla="*/ 398 h 460"/>
                  <a:gd name="T10" fmla="*/ 50 w 734"/>
                  <a:gd name="T11" fmla="*/ 408 h 460"/>
                  <a:gd name="T12" fmla="*/ 76 w 734"/>
                  <a:gd name="T13" fmla="*/ 418 h 460"/>
                  <a:gd name="T14" fmla="*/ 108 w 734"/>
                  <a:gd name="T15" fmla="*/ 426 h 460"/>
                  <a:gd name="T16" fmla="*/ 148 w 734"/>
                  <a:gd name="T17" fmla="*/ 432 h 460"/>
                  <a:gd name="T18" fmla="*/ 148 w 734"/>
                  <a:gd name="T19" fmla="*/ 432 h 460"/>
                  <a:gd name="T20" fmla="*/ 196 w 734"/>
                  <a:gd name="T21" fmla="*/ 434 h 460"/>
                  <a:gd name="T22" fmla="*/ 236 w 734"/>
                  <a:gd name="T23" fmla="*/ 436 h 460"/>
                  <a:gd name="T24" fmla="*/ 254 w 734"/>
                  <a:gd name="T25" fmla="*/ 438 h 460"/>
                  <a:gd name="T26" fmla="*/ 268 w 734"/>
                  <a:gd name="T27" fmla="*/ 442 h 460"/>
                  <a:gd name="T28" fmla="*/ 268 w 734"/>
                  <a:gd name="T29" fmla="*/ 442 h 460"/>
                  <a:gd name="T30" fmla="*/ 304 w 734"/>
                  <a:gd name="T31" fmla="*/ 452 h 460"/>
                  <a:gd name="T32" fmla="*/ 336 w 734"/>
                  <a:gd name="T33" fmla="*/ 460 h 460"/>
                  <a:gd name="T34" fmla="*/ 350 w 734"/>
                  <a:gd name="T35" fmla="*/ 460 h 460"/>
                  <a:gd name="T36" fmla="*/ 366 w 734"/>
                  <a:gd name="T37" fmla="*/ 460 h 460"/>
                  <a:gd name="T38" fmla="*/ 380 w 734"/>
                  <a:gd name="T39" fmla="*/ 458 h 460"/>
                  <a:gd name="T40" fmla="*/ 396 w 734"/>
                  <a:gd name="T41" fmla="*/ 452 h 460"/>
                  <a:gd name="T42" fmla="*/ 734 w 734"/>
                  <a:gd name="T43" fmla="*/ 0 h 4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34" h="460">
                    <a:moveTo>
                      <a:pt x="0" y="374"/>
                    </a:moveTo>
                    <a:lnTo>
                      <a:pt x="0" y="374"/>
                    </a:lnTo>
                    <a:lnTo>
                      <a:pt x="6" y="382"/>
                    </a:lnTo>
                    <a:lnTo>
                      <a:pt x="16" y="390"/>
                    </a:lnTo>
                    <a:lnTo>
                      <a:pt x="30" y="398"/>
                    </a:lnTo>
                    <a:lnTo>
                      <a:pt x="50" y="408"/>
                    </a:lnTo>
                    <a:lnTo>
                      <a:pt x="76" y="418"/>
                    </a:lnTo>
                    <a:lnTo>
                      <a:pt x="108" y="426"/>
                    </a:lnTo>
                    <a:lnTo>
                      <a:pt x="148" y="432"/>
                    </a:lnTo>
                    <a:lnTo>
                      <a:pt x="148" y="432"/>
                    </a:lnTo>
                    <a:lnTo>
                      <a:pt x="196" y="434"/>
                    </a:lnTo>
                    <a:lnTo>
                      <a:pt x="236" y="436"/>
                    </a:lnTo>
                    <a:lnTo>
                      <a:pt x="254" y="438"/>
                    </a:lnTo>
                    <a:lnTo>
                      <a:pt x="268" y="442"/>
                    </a:lnTo>
                    <a:lnTo>
                      <a:pt x="268" y="442"/>
                    </a:lnTo>
                    <a:lnTo>
                      <a:pt x="304" y="452"/>
                    </a:lnTo>
                    <a:lnTo>
                      <a:pt x="336" y="460"/>
                    </a:lnTo>
                    <a:lnTo>
                      <a:pt x="350" y="460"/>
                    </a:lnTo>
                    <a:lnTo>
                      <a:pt x="366" y="460"/>
                    </a:lnTo>
                    <a:lnTo>
                      <a:pt x="380" y="458"/>
                    </a:lnTo>
                    <a:lnTo>
                      <a:pt x="396" y="452"/>
                    </a:lnTo>
                    <a:lnTo>
                      <a:pt x="734" y="0"/>
                    </a:lnTo>
                  </a:path>
                </a:pathLst>
              </a:custGeom>
              <a:noFill/>
              <a:ln w="12700">
                <a:solidFill>
                  <a:srgbClr val="001F50">
                    <a:alpha val="56000"/>
                  </a:srgbClr>
                </a:solidFill>
                <a:prstDash val="sysDot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defTabSz="932597">
                  <a:defRPr/>
                </a:pPr>
                <a:endParaRPr lang="en-US" sz="1836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  <p:sp>
          <p:nvSpPr>
            <p:cNvPr id="392" name="Freeform 65"/>
            <p:cNvSpPr>
              <a:spLocks/>
            </p:cNvSpPr>
            <p:nvPr/>
          </p:nvSpPr>
          <p:spPr bwMode="auto">
            <a:xfrm>
              <a:off x="10478542" y="2569641"/>
              <a:ext cx="1713404" cy="1355958"/>
            </a:xfrm>
            <a:custGeom>
              <a:avLst/>
              <a:gdLst>
                <a:gd name="T0" fmla="*/ 868 w 868"/>
                <a:gd name="T1" fmla="*/ 0 h 670"/>
                <a:gd name="T2" fmla="*/ 868 w 868"/>
                <a:gd name="T3" fmla="*/ 0 h 670"/>
                <a:gd name="T4" fmla="*/ 794 w 868"/>
                <a:gd name="T5" fmla="*/ 10 h 670"/>
                <a:gd name="T6" fmla="*/ 716 w 868"/>
                <a:gd name="T7" fmla="*/ 22 h 670"/>
                <a:gd name="T8" fmla="*/ 624 w 868"/>
                <a:gd name="T9" fmla="*/ 38 h 670"/>
                <a:gd name="T10" fmla="*/ 526 w 868"/>
                <a:gd name="T11" fmla="*/ 56 h 670"/>
                <a:gd name="T12" fmla="*/ 432 w 868"/>
                <a:gd name="T13" fmla="*/ 76 h 670"/>
                <a:gd name="T14" fmla="*/ 390 w 868"/>
                <a:gd name="T15" fmla="*/ 86 h 670"/>
                <a:gd name="T16" fmla="*/ 352 w 868"/>
                <a:gd name="T17" fmla="*/ 98 h 670"/>
                <a:gd name="T18" fmla="*/ 322 w 868"/>
                <a:gd name="T19" fmla="*/ 110 h 670"/>
                <a:gd name="T20" fmla="*/ 296 w 868"/>
                <a:gd name="T21" fmla="*/ 122 h 670"/>
                <a:gd name="T22" fmla="*/ 296 w 868"/>
                <a:gd name="T23" fmla="*/ 122 h 670"/>
                <a:gd name="T24" fmla="*/ 214 w 868"/>
                <a:gd name="T25" fmla="*/ 170 h 670"/>
                <a:gd name="T26" fmla="*/ 134 w 868"/>
                <a:gd name="T27" fmla="*/ 214 h 670"/>
                <a:gd name="T28" fmla="*/ 98 w 868"/>
                <a:gd name="T29" fmla="*/ 232 h 670"/>
                <a:gd name="T30" fmla="*/ 66 w 868"/>
                <a:gd name="T31" fmla="*/ 248 h 670"/>
                <a:gd name="T32" fmla="*/ 42 w 868"/>
                <a:gd name="T33" fmla="*/ 256 h 670"/>
                <a:gd name="T34" fmla="*/ 32 w 868"/>
                <a:gd name="T35" fmla="*/ 260 h 670"/>
                <a:gd name="T36" fmla="*/ 24 w 868"/>
                <a:gd name="T37" fmla="*/ 260 h 670"/>
                <a:gd name="T38" fmla="*/ 24 w 868"/>
                <a:gd name="T39" fmla="*/ 260 h 670"/>
                <a:gd name="T40" fmla="*/ 14 w 868"/>
                <a:gd name="T41" fmla="*/ 260 h 670"/>
                <a:gd name="T42" fmla="*/ 6 w 868"/>
                <a:gd name="T43" fmla="*/ 264 h 670"/>
                <a:gd name="T44" fmla="*/ 2 w 868"/>
                <a:gd name="T45" fmla="*/ 266 h 670"/>
                <a:gd name="T46" fmla="*/ 0 w 868"/>
                <a:gd name="T47" fmla="*/ 270 h 670"/>
                <a:gd name="T48" fmla="*/ 0 w 868"/>
                <a:gd name="T49" fmla="*/ 274 h 670"/>
                <a:gd name="T50" fmla="*/ 2 w 868"/>
                <a:gd name="T51" fmla="*/ 278 h 670"/>
                <a:gd name="T52" fmla="*/ 4 w 868"/>
                <a:gd name="T53" fmla="*/ 282 h 670"/>
                <a:gd name="T54" fmla="*/ 4 w 868"/>
                <a:gd name="T55" fmla="*/ 282 h 670"/>
                <a:gd name="T56" fmla="*/ 4 w 868"/>
                <a:gd name="T57" fmla="*/ 282 h 670"/>
                <a:gd name="T58" fmla="*/ 8 w 868"/>
                <a:gd name="T59" fmla="*/ 286 h 670"/>
                <a:gd name="T60" fmla="*/ 12 w 868"/>
                <a:gd name="T61" fmla="*/ 292 h 670"/>
                <a:gd name="T62" fmla="*/ 12 w 868"/>
                <a:gd name="T63" fmla="*/ 302 h 670"/>
                <a:gd name="T64" fmla="*/ 12 w 868"/>
                <a:gd name="T65" fmla="*/ 302 h 670"/>
                <a:gd name="T66" fmla="*/ 12 w 868"/>
                <a:gd name="T67" fmla="*/ 338 h 670"/>
                <a:gd name="T68" fmla="*/ 106 w 868"/>
                <a:gd name="T69" fmla="*/ 670 h 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68" h="670">
                  <a:moveTo>
                    <a:pt x="868" y="0"/>
                  </a:moveTo>
                  <a:lnTo>
                    <a:pt x="868" y="0"/>
                  </a:lnTo>
                  <a:lnTo>
                    <a:pt x="794" y="10"/>
                  </a:lnTo>
                  <a:lnTo>
                    <a:pt x="716" y="22"/>
                  </a:lnTo>
                  <a:lnTo>
                    <a:pt x="624" y="38"/>
                  </a:lnTo>
                  <a:lnTo>
                    <a:pt x="526" y="56"/>
                  </a:lnTo>
                  <a:lnTo>
                    <a:pt x="432" y="76"/>
                  </a:lnTo>
                  <a:lnTo>
                    <a:pt x="390" y="86"/>
                  </a:lnTo>
                  <a:lnTo>
                    <a:pt x="352" y="98"/>
                  </a:lnTo>
                  <a:lnTo>
                    <a:pt x="322" y="110"/>
                  </a:lnTo>
                  <a:lnTo>
                    <a:pt x="296" y="122"/>
                  </a:lnTo>
                  <a:lnTo>
                    <a:pt x="296" y="122"/>
                  </a:lnTo>
                  <a:lnTo>
                    <a:pt x="214" y="170"/>
                  </a:lnTo>
                  <a:lnTo>
                    <a:pt x="134" y="214"/>
                  </a:lnTo>
                  <a:lnTo>
                    <a:pt x="98" y="232"/>
                  </a:lnTo>
                  <a:lnTo>
                    <a:pt x="66" y="248"/>
                  </a:lnTo>
                  <a:lnTo>
                    <a:pt x="42" y="256"/>
                  </a:lnTo>
                  <a:lnTo>
                    <a:pt x="32" y="260"/>
                  </a:lnTo>
                  <a:lnTo>
                    <a:pt x="24" y="260"/>
                  </a:lnTo>
                  <a:lnTo>
                    <a:pt x="24" y="260"/>
                  </a:lnTo>
                  <a:lnTo>
                    <a:pt x="14" y="260"/>
                  </a:lnTo>
                  <a:lnTo>
                    <a:pt x="6" y="264"/>
                  </a:lnTo>
                  <a:lnTo>
                    <a:pt x="2" y="266"/>
                  </a:lnTo>
                  <a:lnTo>
                    <a:pt x="0" y="270"/>
                  </a:lnTo>
                  <a:lnTo>
                    <a:pt x="0" y="274"/>
                  </a:lnTo>
                  <a:lnTo>
                    <a:pt x="2" y="278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8" y="286"/>
                  </a:lnTo>
                  <a:lnTo>
                    <a:pt x="12" y="292"/>
                  </a:lnTo>
                  <a:lnTo>
                    <a:pt x="12" y="302"/>
                  </a:lnTo>
                  <a:lnTo>
                    <a:pt x="12" y="302"/>
                  </a:lnTo>
                  <a:lnTo>
                    <a:pt x="12" y="338"/>
                  </a:lnTo>
                  <a:lnTo>
                    <a:pt x="106" y="670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93" name="Freeform 66"/>
            <p:cNvSpPr>
              <a:spLocks/>
            </p:cNvSpPr>
            <p:nvPr/>
          </p:nvSpPr>
          <p:spPr bwMode="auto">
            <a:xfrm>
              <a:off x="10545657" y="3868932"/>
              <a:ext cx="130282" cy="24286"/>
            </a:xfrm>
            <a:custGeom>
              <a:avLst/>
              <a:gdLst>
                <a:gd name="T0" fmla="*/ 0 w 66"/>
                <a:gd name="T1" fmla="*/ 0 h 12"/>
                <a:gd name="T2" fmla="*/ 0 w 66"/>
                <a:gd name="T3" fmla="*/ 0 h 12"/>
                <a:gd name="T4" fmla="*/ 22 w 66"/>
                <a:gd name="T5" fmla="*/ 6 h 12"/>
                <a:gd name="T6" fmla="*/ 44 w 66"/>
                <a:gd name="T7" fmla="*/ 10 h 12"/>
                <a:gd name="T8" fmla="*/ 66 w 66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12">
                  <a:moveTo>
                    <a:pt x="0" y="0"/>
                  </a:moveTo>
                  <a:lnTo>
                    <a:pt x="0" y="0"/>
                  </a:lnTo>
                  <a:lnTo>
                    <a:pt x="22" y="6"/>
                  </a:lnTo>
                  <a:lnTo>
                    <a:pt x="44" y="10"/>
                  </a:lnTo>
                  <a:lnTo>
                    <a:pt x="66" y="12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94" name="Freeform 67"/>
            <p:cNvSpPr>
              <a:spLocks/>
            </p:cNvSpPr>
            <p:nvPr/>
          </p:nvSpPr>
          <p:spPr bwMode="auto">
            <a:xfrm>
              <a:off x="10257458" y="3035119"/>
              <a:ext cx="217136" cy="157858"/>
            </a:xfrm>
            <a:custGeom>
              <a:avLst/>
              <a:gdLst>
                <a:gd name="T0" fmla="*/ 72 w 110"/>
                <a:gd name="T1" fmla="*/ 78 h 78"/>
                <a:gd name="T2" fmla="*/ 70 w 110"/>
                <a:gd name="T3" fmla="*/ 72 h 78"/>
                <a:gd name="T4" fmla="*/ 72 w 110"/>
                <a:gd name="T5" fmla="*/ 68 h 78"/>
                <a:gd name="T6" fmla="*/ 76 w 110"/>
                <a:gd name="T7" fmla="*/ 64 h 78"/>
                <a:gd name="T8" fmla="*/ 98 w 110"/>
                <a:gd name="T9" fmla="*/ 52 h 78"/>
                <a:gd name="T10" fmla="*/ 104 w 110"/>
                <a:gd name="T11" fmla="*/ 50 h 78"/>
                <a:gd name="T12" fmla="*/ 108 w 110"/>
                <a:gd name="T13" fmla="*/ 50 h 78"/>
                <a:gd name="T14" fmla="*/ 110 w 110"/>
                <a:gd name="T15" fmla="*/ 42 h 78"/>
                <a:gd name="T16" fmla="*/ 106 w 110"/>
                <a:gd name="T17" fmla="*/ 40 h 78"/>
                <a:gd name="T18" fmla="*/ 104 w 110"/>
                <a:gd name="T19" fmla="*/ 40 h 78"/>
                <a:gd name="T20" fmla="*/ 96 w 110"/>
                <a:gd name="T21" fmla="*/ 38 h 78"/>
                <a:gd name="T22" fmla="*/ 92 w 110"/>
                <a:gd name="T23" fmla="*/ 36 h 78"/>
                <a:gd name="T24" fmla="*/ 90 w 110"/>
                <a:gd name="T25" fmla="*/ 30 h 78"/>
                <a:gd name="T26" fmla="*/ 94 w 110"/>
                <a:gd name="T27" fmla="*/ 26 h 78"/>
                <a:gd name="T28" fmla="*/ 96 w 110"/>
                <a:gd name="T29" fmla="*/ 24 h 78"/>
                <a:gd name="T30" fmla="*/ 96 w 110"/>
                <a:gd name="T31" fmla="*/ 20 h 78"/>
                <a:gd name="T32" fmla="*/ 96 w 110"/>
                <a:gd name="T33" fmla="*/ 10 h 78"/>
                <a:gd name="T34" fmla="*/ 94 w 110"/>
                <a:gd name="T35" fmla="*/ 6 h 78"/>
                <a:gd name="T36" fmla="*/ 90 w 110"/>
                <a:gd name="T37" fmla="*/ 2 h 78"/>
                <a:gd name="T38" fmla="*/ 86 w 110"/>
                <a:gd name="T39" fmla="*/ 0 h 78"/>
                <a:gd name="T40" fmla="*/ 78 w 110"/>
                <a:gd name="T41" fmla="*/ 2 h 78"/>
                <a:gd name="T42" fmla="*/ 76 w 110"/>
                <a:gd name="T43" fmla="*/ 4 h 78"/>
                <a:gd name="T44" fmla="*/ 74 w 110"/>
                <a:gd name="T45" fmla="*/ 8 h 78"/>
                <a:gd name="T46" fmla="*/ 64 w 110"/>
                <a:gd name="T47" fmla="*/ 22 h 78"/>
                <a:gd name="T48" fmla="*/ 60 w 110"/>
                <a:gd name="T49" fmla="*/ 24 h 78"/>
                <a:gd name="T50" fmla="*/ 54 w 110"/>
                <a:gd name="T51" fmla="*/ 30 h 78"/>
                <a:gd name="T52" fmla="*/ 48 w 110"/>
                <a:gd name="T53" fmla="*/ 34 h 78"/>
                <a:gd name="T54" fmla="*/ 44 w 110"/>
                <a:gd name="T55" fmla="*/ 36 h 78"/>
                <a:gd name="T56" fmla="*/ 36 w 110"/>
                <a:gd name="T57" fmla="*/ 40 h 78"/>
                <a:gd name="T58" fmla="*/ 28 w 110"/>
                <a:gd name="T59" fmla="*/ 42 h 78"/>
                <a:gd name="T60" fmla="*/ 28 w 110"/>
                <a:gd name="T61" fmla="*/ 52 h 78"/>
                <a:gd name="T62" fmla="*/ 28 w 110"/>
                <a:gd name="T63" fmla="*/ 56 h 78"/>
                <a:gd name="T64" fmla="*/ 26 w 110"/>
                <a:gd name="T65" fmla="*/ 60 h 78"/>
                <a:gd name="T66" fmla="*/ 20 w 110"/>
                <a:gd name="T67" fmla="*/ 62 h 78"/>
                <a:gd name="T68" fmla="*/ 18 w 110"/>
                <a:gd name="T69" fmla="*/ 62 h 78"/>
                <a:gd name="T70" fmla="*/ 16 w 110"/>
                <a:gd name="T71" fmla="*/ 58 h 78"/>
                <a:gd name="T72" fmla="*/ 14 w 110"/>
                <a:gd name="T73" fmla="*/ 48 h 78"/>
                <a:gd name="T74" fmla="*/ 12 w 110"/>
                <a:gd name="T75" fmla="*/ 40 h 78"/>
                <a:gd name="T76" fmla="*/ 10 w 110"/>
                <a:gd name="T77" fmla="*/ 38 h 78"/>
                <a:gd name="T78" fmla="*/ 6 w 110"/>
                <a:gd name="T79" fmla="*/ 36 h 78"/>
                <a:gd name="T80" fmla="*/ 2 w 110"/>
                <a:gd name="T81" fmla="*/ 36 h 78"/>
                <a:gd name="T82" fmla="*/ 0 w 110"/>
                <a:gd name="T83" fmla="*/ 32 h 78"/>
                <a:gd name="T84" fmla="*/ 2 w 110"/>
                <a:gd name="T85" fmla="*/ 32 h 78"/>
                <a:gd name="T86" fmla="*/ 4 w 110"/>
                <a:gd name="T87" fmla="*/ 30 h 78"/>
                <a:gd name="T88" fmla="*/ 18 w 110"/>
                <a:gd name="T89" fmla="*/ 30 h 78"/>
                <a:gd name="T90" fmla="*/ 26 w 110"/>
                <a:gd name="T91" fmla="*/ 26 h 78"/>
                <a:gd name="T92" fmla="*/ 28 w 110"/>
                <a:gd name="T93" fmla="*/ 24 h 78"/>
                <a:gd name="T94" fmla="*/ 32 w 110"/>
                <a:gd name="T95" fmla="*/ 18 h 78"/>
                <a:gd name="T96" fmla="*/ 34 w 110"/>
                <a:gd name="T97" fmla="*/ 18 h 78"/>
                <a:gd name="T98" fmla="*/ 46 w 110"/>
                <a:gd name="T99" fmla="*/ 24 h 78"/>
                <a:gd name="T100" fmla="*/ 52 w 110"/>
                <a:gd name="T101" fmla="*/ 24 h 78"/>
                <a:gd name="T102" fmla="*/ 58 w 110"/>
                <a:gd name="T103" fmla="*/ 2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10" h="78">
                  <a:moveTo>
                    <a:pt x="72" y="78"/>
                  </a:moveTo>
                  <a:lnTo>
                    <a:pt x="72" y="78"/>
                  </a:lnTo>
                  <a:lnTo>
                    <a:pt x="72" y="76"/>
                  </a:lnTo>
                  <a:lnTo>
                    <a:pt x="70" y="72"/>
                  </a:lnTo>
                  <a:lnTo>
                    <a:pt x="70" y="72"/>
                  </a:lnTo>
                  <a:lnTo>
                    <a:pt x="72" y="68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98" y="52"/>
                  </a:lnTo>
                  <a:lnTo>
                    <a:pt x="98" y="52"/>
                  </a:lnTo>
                  <a:lnTo>
                    <a:pt x="104" y="50"/>
                  </a:lnTo>
                  <a:lnTo>
                    <a:pt x="104" y="50"/>
                  </a:lnTo>
                  <a:lnTo>
                    <a:pt x="108" y="50"/>
                  </a:lnTo>
                  <a:lnTo>
                    <a:pt x="108" y="50"/>
                  </a:lnTo>
                  <a:lnTo>
                    <a:pt x="110" y="46"/>
                  </a:lnTo>
                  <a:lnTo>
                    <a:pt x="110" y="42"/>
                  </a:lnTo>
                  <a:lnTo>
                    <a:pt x="110" y="42"/>
                  </a:lnTo>
                  <a:lnTo>
                    <a:pt x="106" y="40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96" y="38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0" y="34"/>
                  </a:lnTo>
                  <a:lnTo>
                    <a:pt x="90" y="30"/>
                  </a:lnTo>
                  <a:lnTo>
                    <a:pt x="90" y="30"/>
                  </a:lnTo>
                  <a:lnTo>
                    <a:pt x="94" y="26"/>
                  </a:lnTo>
                  <a:lnTo>
                    <a:pt x="94" y="26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10"/>
                  </a:lnTo>
                  <a:lnTo>
                    <a:pt x="96" y="10"/>
                  </a:lnTo>
                  <a:lnTo>
                    <a:pt x="94" y="6"/>
                  </a:lnTo>
                  <a:lnTo>
                    <a:pt x="90" y="2"/>
                  </a:lnTo>
                  <a:lnTo>
                    <a:pt x="90" y="2"/>
                  </a:lnTo>
                  <a:lnTo>
                    <a:pt x="86" y="0"/>
                  </a:lnTo>
                  <a:lnTo>
                    <a:pt x="86" y="0"/>
                  </a:lnTo>
                  <a:lnTo>
                    <a:pt x="80" y="0"/>
                  </a:lnTo>
                  <a:lnTo>
                    <a:pt x="78" y="2"/>
                  </a:lnTo>
                  <a:lnTo>
                    <a:pt x="78" y="2"/>
                  </a:lnTo>
                  <a:lnTo>
                    <a:pt x="76" y="4"/>
                  </a:lnTo>
                  <a:lnTo>
                    <a:pt x="74" y="8"/>
                  </a:lnTo>
                  <a:lnTo>
                    <a:pt x="74" y="8"/>
                  </a:lnTo>
                  <a:lnTo>
                    <a:pt x="70" y="16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54" y="30"/>
                  </a:lnTo>
                  <a:lnTo>
                    <a:pt x="48" y="34"/>
                  </a:lnTo>
                  <a:lnTo>
                    <a:pt x="48" y="34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36" y="40"/>
                  </a:lnTo>
                  <a:lnTo>
                    <a:pt x="28" y="42"/>
                  </a:lnTo>
                  <a:lnTo>
                    <a:pt x="28" y="42"/>
                  </a:lnTo>
                  <a:lnTo>
                    <a:pt x="28" y="46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6"/>
                  </a:lnTo>
                  <a:lnTo>
                    <a:pt x="26" y="60"/>
                  </a:lnTo>
                  <a:lnTo>
                    <a:pt x="26" y="60"/>
                  </a:lnTo>
                  <a:lnTo>
                    <a:pt x="24" y="62"/>
                  </a:lnTo>
                  <a:lnTo>
                    <a:pt x="20" y="62"/>
                  </a:lnTo>
                  <a:lnTo>
                    <a:pt x="20" y="62"/>
                  </a:lnTo>
                  <a:lnTo>
                    <a:pt x="18" y="62"/>
                  </a:lnTo>
                  <a:lnTo>
                    <a:pt x="18" y="62"/>
                  </a:lnTo>
                  <a:lnTo>
                    <a:pt x="16" y="58"/>
                  </a:lnTo>
                  <a:lnTo>
                    <a:pt x="16" y="5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0" y="38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0" y="34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2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24" y="28"/>
                  </a:lnTo>
                  <a:lnTo>
                    <a:pt x="26" y="26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30" y="20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46" y="24"/>
                  </a:lnTo>
                  <a:lnTo>
                    <a:pt x="46" y="24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8" y="22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95" name="Freeform 68"/>
            <p:cNvSpPr>
              <a:spLocks/>
            </p:cNvSpPr>
            <p:nvPr/>
          </p:nvSpPr>
          <p:spPr bwMode="auto">
            <a:xfrm>
              <a:off x="10371948" y="3075595"/>
              <a:ext cx="86855" cy="85000"/>
            </a:xfrm>
            <a:custGeom>
              <a:avLst/>
              <a:gdLst>
                <a:gd name="T0" fmla="*/ 44 w 44"/>
                <a:gd name="T1" fmla="*/ 36 h 42"/>
                <a:gd name="T2" fmla="*/ 44 w 44"/>
                <a:gd name="T3" fmla="*/ 36 h 42"/>
                <a:gd name="T4" fmla="*/ 40 w 44"/>
                <a:gd name="T5" fmla="*/ 34 h 42"/>
                <a:gd name="T6" fmla="*/ 28 w 44"/>
                <a:gd name="T7" fmla="*/ 26 h 42"/>
                <a:gd name="T8" fmla="*/ 28 w 44"/>
                <a:gd name="T9" fmla="*/ 26 h 42"/>
                <a:gd name="T10" fmla="*/ 18 w 44"/>
                <a:gd name="T11" fmla="*/ 20 h 42"/>
                <a:gd name="T12" fmla="*/ 8 w 44"/>
                <a:gd name="T13" fmla="*/ 10 h 42"/>
                <a:gd name="T14" fmla="*/ 0 w 44"/>
                <a:gd name="T15" fmla="*/ 0 h 42"/>
                <a:gd name="T16" fmla="*/ 18 w 44"/>
                <a:gd name="T17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" h="42">
                  <a:moveTo>
                    <a:pt x="44" y="36"/>
                  </a:moveTo>
                  <a:lnTo>
                    <a:pt x="44" y="36"/>
                  </a:lnTo>
                  <a:lnTo>
                    <a:pt x="40" y="34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18" y="20"/>
                  </a:lnTo>
                  <a:lnTo>
                    <a:pt x="8" y="10"/>
                  </a:lnTo>
                  <a:lnTo>
                    <a:pt x="0" y="0"/>
                  </a:lnTo>
                  <a:lnTo>
                    <a:pt x="18" y="42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96" name="Freeform 69"/>
            <p:cNvSpPr>
              <a:spLocks/>
            </p:cNvSpPr>
            <p:nvPr/>
          </p:nvSpPr>
          <p:spPr bwMode="auto">
            <a:xfrm>
              <a:off x="596862" y="3601788"/>
              <a:ext cx="75011" cy="44524"/>
            </a:xfrm>
            <a:custGeom>
              <a:avLst/>
              <a:gdLst>
                <a:gd name="T0" fmla="*/ 0 w 38"/>
                <a:gd name="T1" fmla="*/ 0 h 22"/>
                <a:gd name="T2" fmla="*/ 0 w 38"/>
                <a:gd name="T3" fmla="*/ 0 h 22"/>
                <a:gd name="T4" fmla="*/ 2 w 38"/>
                <a:gd name="T5" fmla="*/ 4 h 22"/>
                <a:gd name="T6" fmla="*/ 10 w 38"/>
                <a:gd name="T7" fmla="*/ 12 h 22"/>
                <a:gd name="T8" fmla="*/ 14 w 38"/>
                <a:gd name="T9" fmla="*/ 16 h 22"/>
                <a:gd name="T10" fmla="*/ 20 w 38"/>
                <a:gd name="T11" fmla="*/ 18 h 22"/>
                <a:gd name="T12" fmla="*/ 28 w 38"/>
                <a:gd name="T13" fmla="*/ 22 h 22"/>
                <a:gd name="T14" fmla="*/ 38 w 38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22">
                  <a:moveTo>
                    <a:pt x="0" y="0"/>
                  </a:moveTo>
                  <a:lnTo>
                    <a:pt x="0" y="0"/>
                  </a:lnTo>
                  <a:lnTo>
                    <a:pt x="2" y="4"/>
                  </a:lnTo>
                  <a:lnTo>
                    <a:pt x="10" y="12"/>
                  </a:lnTo>
                  <a:lnTo>
                    <a:pt x="14" y="16"/>
                  </a:lnTo>
                  <a:lnTo>
                    <a:pt x="20" y="18"/>
                  </a:lnTo>
                  <a:lnTo>
                    <a:pt x="28" y="22"/>
                  </a:lnTo>
                  <a:lnTo>
                    <a:pt x="38" y="22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97" name="Freeform 70"/>
            <p:cNvSpPr>
              <a:spLocks/>
            </p:cNvSpPr>
            <p:nvPr/>
          </p:nvSpPr>
          <p:spPr bwMode="auto">
            <a:xfrm>
              <a:off x="8172949" y="3334644"/>
              <a:ext cx="130282" cy="348097"/>
            </a:xfrm>
            <a:custGeom>
              <a:avLst/>
              <a:gdLst>
                <a:gd name="T0" fmla="*/ 66 w 66"/>
                <a:gd name="T1" fmla="*/ 16 h 172"/>
                <a:gd name="T2" fmla="*/ 60 w 66"/>
                <a:gd name="T3" fmla="*/ 6 h 172"/>
                <a:gd name="T4" fmla="*/ 60 w 66"/>
                <a:gd name="T5" fmla="*/ 6 h 172"/>
                <a:gd name="T6" fmla="*/ 58 w 66"/>
                <a:gd name="T7" fmla="*/ 2 h 172"/>
                <a:gd name="T8" fmla="*/ 52 w 66"/>
                <a:gd name="T9" fmla="*/ 0 h 172"/>
                <a:gd name="T10" fmla="*/ 52 w 66"/>
                <a:gd name="T11" fmla="*/ 0 h 172"/>
                <a:gd name="T12" fmla="*/ 50 w 66"/>
                <a:gd name="T13" fmla="*/ 0 h 172"/>
                <a:gd name="T14" fmla="*/ 50 w 66"/>
                <a:gd name="T15" fmla="*/ 0 h 172"/>
                <a:gd name="T16" fmla="*/ 48 w 66"/>
                <a:gd name="T17" fmla="*/ 4 h 172"/>
                <a:gd name="T18" fmla="*/ 48 w 66"/>
                <a:gd name="T19" fmla="*/ 4 h 172"/>
                <a:gd name="T20" fmla="*/ 46 w 66"/>
                <a:gd name="T21" fmla="*/ 8 h 172"/>
                <a:gd name="T22" fmla="*/ 42 w 66"/>
                <a:gd name="T23" fmla="*/ 10 h 172"/>
                <a:gd name="T24" fmla="*/ 42 w 66"/>
                <a:gd name="T25" fmla="*/ 10 h 172"/>
                <a:gd name="T26" fmla="*/ 38 w 66"/>
                <a:gd name="T27" fmla="*/ 14 h 172"/>
                <a:gd name="T28" fmla="*/ 36 w 66"/>
                <a:gd name="T29" fmla="*/ 20 h 172"/>
                <a:gd name="T30" fmla="*/ 36 w 66"/>
                <a:gd name="T31" fmla="*/ 20 h 172"/>
                <a:gd name="T32" fmla="*/ 38 w 66"/>
                <a:gd name="T33" fmla="*/ 22 h 172"/>
                <a:gd name="T34" fmla="*/ 38 w 66"/>
                <a:gd name="T35" fmla="*/ 22 h 172"/>
                <a:gd name="T36" fmla="*/ 44 w 66"/>
                <a:gd name="T37" fmla="*/ 30 h 172"/>
                <a:gd name="T38" fmla="*/ 44 w 66"/>
                <a:gd name="T39" fmla="*/ 30 h 172"/>
                <a:gd name="T40" fmla="*/ 46 w 66"/>
                <a:gd name="T41" fmla="*/ 36 h 172"/>
                <a:gd name="T42" fmla="*/ 46 w 66"/>
                <a:gd name="T43" fmla="*/ 40 h 172"/>
                <a:gd name="T44" fmla="*/ 46 w 66"/>
                <a:gd name="T45" fmla="*/ 42 h 172"/>
                <a:gd name="T46" fmla="*/ 46 w 66"/>
                <a:gd name="T47" fmla="*/ 42 h 172"/>
                <a:gd name="T48" fmla="*/ 42 w 66"/>
                <a:gd name="T49" fmla="*/ 44 h 172"/>
                <a:gd name="T50" fmla="*/ 36 w 66"/>
                <a:gd name="T51" fmla="*/ 44 h 172"/>
                <a:gd name="T52" fmla="*/ 36 w 66"/>
                <a:gd name="T53" fmla="*/ 44 h 172"/>
                <a:gd name="T54" fmla="*/ 34 w 66"/>
                <a:gd name="T55" fmla="*/ 46 h 172"/>
                <a:gd name="T56" fmla="*/ 32 w 66"/>
                <a:gd name="T57" fmla="*/ 50 h 172"/>
                <a:gd name="T58" fmla="*/ 30 w 66"/>
                <a:gd name="T59" fmla="*/ 58 h 172"/>
                <a:gd name="T60" fmla="*/ 30 w 66"/>
                <a:gd name="T61" fmla="*/ 58 h 172"/>
                <a:gd name="T62" fmla="*/ 30 w 66"/>
                <a:gd name="T63" fmla="*/ 64 h 172"/>
                <a:gd name="T64" fmla="*/ 28 w 66"/>
                <a:gd name="T65" fmla="*/ 68 h 172"/>
                <a:gd name="T66" fmla="*/ 26 w 66"/>
                <a:gd name="T67" fmla="*/ 70 h 172"/>
                <a:gd name="T68" fmla="*/ 26 w 66"/>
                <a:gd name="T69" fmla="*/ 70 h 172"/>
                <a:gd name="T70" fmla="*/ 22 w 66"/>
                <a:gd name="T71" fmla="*/ 72 h 172"/>
                <a:gd name="T72" fmla="*/ 22 w 66"/>
                <a:gd name="T73" fmla="*/ 72 h 172"/>
                <a:gd name="T74" fmla="*/ 16 w 66"/>
                <a:gd name="T75" fmla="*/ 76 h 172"/>
                <a:gd name="T76" fmla="*/ 12 w 66"/>
                <a:gd name="T77" fmla="*/ 82 h 172"/>
                <a:gd name="T78" fmla="*/ 10 w 66"/>
                <a:gd name="T79" fmla="*/ 90 h 172"/>
                <a:gd name="T80" fmla="*/ 6 w 66"/>
                <a:gd name="T81" fmla="*/ 96 h 172"/>
                <a:gd name="T82" fmla="*/ 6 w 66"/>
                <a:gd name="T83" fmla="*/ 96 h 172"/>
                <a:gd name="T84" fmla="*/ 0 w 66"/>
                <a:gd name="T85" fmla="*/ 100 h 172"/>
                <a:gd name="T86" fmla="*/ 0 w 66"/>
                <a:gd name="T87" fmla="*/ 100 h 172"/>
                <a:gd name="T88" fmla="*/ 0 w 66"/>
                <a:gd name="T89" fmla="*/ 104 h 172"/>
                <a:gd name="T90" fmla="*/ 0 w 66"/>
                <a:gd name="T91" fmla="*/ 106 h 172"/>
                <a:gd name="T92" fmla="*/ 4 w 66"/>
                <a:gd name="T93" fmla="*/ 114 h 172"/>
                <a:gd name="T94" fmla="*/ 4 w 66"/>
                <a:gd name="T95" fmla="*/ 114 h 172"/>
                <a:gd name="T96" fmla="*/ 6 w 66"/>
                <a:gd name="T97" fmla="*/ 118 h 172"/>
                <a:gd name="T98" fmla="*/ 8 w 66"/>
                <a:gd name="T99" fmla="*/ 124 h 172"/>
                <a:gd name="T100" fmla="*/ 8 w 66"/>
                <a:gd name="T101" fmla="*/ 136 h 172"/>
                <a:gd name="T102" fmla="*/ 8 w 66"/>
                <a:gd name="T103" fmla="*/ 136 h 172"/>
                <a:gd name="T104" fmla="*/ 6 w 66"/>
                <a:gd name="T105" fmla="*/ 146 h 172"/>
                <a:gd name="T106" fmla="*/ 6 w 66"/>
                <a:gd name="T107" fmla="*/ 158 h 172"/>
                <a:gd name="T108" fmla="*/ 6 w 66"/>
                <a:gd name="T109" fmla="*/ 158 h 172"/>
                <a:gd name="T110" fmla="*/ 4 w 66"/>
                <a:gd name="T111" fmla="*/ 164 h 172"/>
                <a:gd name="T112" fmla="*/ 4 w 66"/>
                <a:gd name="T113" fmla="*/ 168 h 172"/>
                <a:gd name="T114" fmla="*/ 6 w 66"/>
                <a:gd name="T115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6" h="172">
                  <a:moveTo>
                    <a:pt x="66" y="16"/>
                  </a:moveTo>
                  <a:lnTo>
                    <a:pt x="60" y="6"/>
                  </a:lnTo>
                  <a:lnTo>
                    <a:pt x="60" y="6"/>
                  </a:lnTo>
                  <a:lnTo>
                    <a:pt x="58" y="2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6" y="8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38" y="14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44" y="30"/>
                  </a:lnTo>
                  <a:lnTo>
                    <a:pt x="44" y="30"/>
                  </a:lnTo>
                  <a:lnTo>
                    <a:pt x="46" y="36"/>
                  </a:lnTo>
                  <a:lnTo>
                    <a:pt x="46" y="40"/>
                  </a:lnTo>
                  <a:lnTo>
                    <a:pt x="46" y="42"/>
                  </a:lnTo>
                  <a:lnTo>
                    <a:pt x="46" y="42"/>
                  </a:lnTo>
                  <a:lnTo>
                    <a:pt x="42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4" y="46"/>
                  </a:lnTo>
                  <a:lnTo>
                    <a:pt x="32" y="50"/>
                  </a:lnTo>
                  <a:lnTo>
                    <a:pt x="30" y="58"/>
                  </a:lnTo>
                  <a:lnTo>
                    <a:pt x="30" y="58"/>
                  </a:lnTo>
                  <a:lnTo>
                    <a:pt x="30" y="64"/>
                  </a:lnTo>
                  <a:lnTo>
                    <a:pt x="28" y="68"/>
                  </a:lnTo>
                  <a:lnTo>
                    <a:pt x="26" y="70"/>
                  </a:lnTo>
                  <a:lnTo>
                    <a:pt x="26" y="70"/>
                  </a:lnTo>
                  <a:lnTo>
                    <a:pt x="22" y="72"/>
                  </a:lnTo>
                  <a:lnTo>
                    <a:pt x="22" y="72"/>
                  </a:lnTo>
                  <a:lnTo>
                    <a:pt x="16" y="76"/>
                  </a:lnTo>
                  <a:lnTo>
                    <a:pt x="12" y="82"/>
                  </a:lnTo>
                  <a:lnTo>
                    <a:pt x="10" y="90"/>
                  </a:lnTo>
                  <a:lnTo>
                    <a:pt x="6" y="96"/>
                  </a:lnTo>
                  <a:lnTo>
                    <a:pt x="6" y="96"/>
                  </a:lnTo>
                  <a:lnTo>
                    <a:pt x="0" y="100"/>
                  </a:lnTo>
                  <a:lnTo>
                    <a:pt x="0" y="100"/>
                  </a:lnTo>
                  <a:lnTo>
                    <a:pt x="0" y="104"/>
                  </a:lnTo>
                  <a:lnTo>
                    <a:pt x="0" y="106"/>
                  </a:lnTo>
                  <a:lnTo>
                    <a:pt x="4" y="114"/>
                  </a:lnTo>
                  <a:lnTo>
                    <a:pt x="4" y="114"/>
                  </a:lnTo>
                  <a:lnTo>
                    <a:pt x="6" y="118"/>
                  </a:lnTo>
                  <a:lnTo>
                    <a:pt x="8" y="124"/>
                  </a:lnTo>
                  <a:lnTo>
                    <a:pt x="8" y="136"/>
                  </a:lnTo>
                  <a:lnTo>
                    <a:pt x="8" y="136"/>
                  </a:lnTo>
                  <a:lnTo>
                    <a:pt x="6" y="146"/>
                  </a:lnTo>
                  <a:lnTo>
                    <a:pt x="6" y="158"/>
                  </a:lnTo>
                  <a:lnTo>
                    <a:pt x="6" y="158"/>
                  </a:lnTo>
                  <a:lnTo>
                    <a:pt x="4" y="164"/>
                  </a:lnTo>
                  <a:lnTo>
                    <a:pt x="4" y="168"/>
                  </a:lnTo>
                  <a:lnTo>
                    <a:pt x="6" y="172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98" name="Freeform 71"/>
            <p:cNvSpPr>
              <a:spLocks/>
            </p:cNvSpPr>
            <p:nvPr/>
          </p:nvSpPr>
          <p:spPr bwMode="auto">
            <a:xfrm>
              <a:off x="8184792" y="3367025"/>
              <a:ext cx="134230" cy="206429"/>
            </a:xfrm>
            <a:custGeom>
              <a:avLst/>
              <a:gdLst>
                <a:gd name="T0" fmla="*/ 68 w 68"/>
                <a:gd name="T1" fmla="*/ 6 h 102"/>
                <a:gd name="T2" fmla="*/ 62 w 68"/>
                <a:gd name="T3" fmla="*/ 0 h 102"/>
                <a:gd name="T4" fmla="*/ 62 w 68"/>
                <a:gd name="T5" fmla="*/ 0 h 102"/>
                <a:gd name="T6" fmla="*/ 60 w 68"/>
                <a:gd name="T7" fmla="*/ 6 h 102"/>
                <a:gd name="T8" fmla="*/ 56 w 68"/>
                <a:gd name="T9" fmla="*/ 10 h 102"/>
                <a:gd name="T10" fmla="*/ 56 w 68"/>
                <a:gd name="T11" fmla="*/ 10 h 102"/>
                <a:gd name="T12" fmla="*/ 52 w 68"/>
                <a:gd name="T13" fmla="*/ 14 h 102"/>
                <a:gd name="T14" fmla="*/ 52 w 68"/>
                <a:gd name="T15" fmla="*/ 14 h 102"/>
                <a:gd name="T16" fmla="*/ 48 w 68"/>
                <a:gd name="T17" fmla="*/ 18 h 102"/>
                <a:gd name="T18" fmla="*/ 48 w 68"/>
                <a:gd name="T19" fmla="*/ 22 h 102"/>
                <a:gd name="T20" fmla="*/ 44 w 68"/>
                <a:gd name="T21" fmla="*/ 34 h 102"/>
                <a:gd name="T22" fmla="*/ 44 w 68"/>
                <a:gd name="T23" fmla="*/ 34 h 102"/>
                <a:gd name="T24" fmla="*/ 40 w 68"/>
                <a:gd name="T25" fmla="*/ 42 h 102"/>
                <a:gd name="T26" fmla="*/ 40 w 68"/>
                <a:gd name="T27" fmla="*/ 42 h 102"/>
                <a:gd name="T28" fmla="*/ 38 w 68"/>
                <a:gd name="T29" fmla="*/ 48 h 102"/>
                <a:gd name="T30" fmla="*/ 40 w 68"/>
                <a:gd name="T31" fmla="*/ 52 h 102"/>
                <a:gd name="T32" fmla="*/ 40 w 68"/>
                <a:gd name="T33" fmla="*/ 52 h 102"/>
                <a:gd name="T34" fmla="*/ 42 w 68"/>
                <a:gd name="T35" fmla="*/ 54 h 102"/>
                <a:gd name="T36" fmla="*/ 46 w 68"/>
                <a:gd name="T37" fmla="*/ 56 h 102"/>
                <a:gd name="T38" fmla="*/ 46 w 68"/>
                <a:gd name="T39" fmla="*/ 56 h 102"/>
                <a:gd name="T40" fmla="*/ 52 w 68"/>
                <a:gd name="T41" fmla="*/ 62 h 102"/>
                <a:gd name="T42" fmla="*/ 56 w 68"/>
                <a:gd name="T43" fmla="*/ 70 h 102"/>
                <a:gd name="T44" fmla="*/ 56 w 68"/>
                <a:gd name="T45" fmla="*/ 70 h 102"/>
                <a:gd name="T46" fmla="*/ 56 w 68"/>
                <a:gd name="T47" fmla="*/ 78 h 102"/>
                <a:gd name="T48" fmla="*/ 56 w 68"/>
                <a:gd name="T49" fmla="*/ 82 h 102"/>
                <a:gd name="T50" fmla="*/ 52 w 68"/>
                <a:gd name="T51" fmla="*/ 84 h 102"/>
                <a:gd name="T52" fmla="*/ 52 w 68"/>
                <a:gd name="T53" fmla="*/ 84 h 102"/>
                <a:gd name="T54" fmla="*/ 48 w 68"/>
                <a:gd name="T55" fmla="*/ 84 h 102"/>
                <a:gd name="T56" fmla="*/ 48 w 68"/>
                <a:gd name="T57" fmla="*/ 84 h 102"/>
                <a:gd name="T58" fmla="*/ 42 w 68"/>
                <a:gd name="T59" fmla="*/ 88 h 102"/>
                <a:gd name="T60" fmla="*/ 42 w 68"/>
                <a:gd name="T61" fmla="*/ 88 h 102"/>
                <a:gd name="T62" fmla="*/ 38 w 68"/>
                <a:gd name="T63" fmla="*/ 88 h 102"/>
                <a:gd name="T64" fmla="*/ 36 w 68"/>
                <a:gd name="T65" fmla="*/ 86 h 102"/>
                <a:gd name="T66" fmla="*/ 36 w 68"/>
                <a:gd name="T67" fmla="*/ 86 h 102"/>
                <a:gd name="T68" fmla="*/ 28 w 68"/>
                <a:gd name="T69" fmla="*/ 84 h 102"/>
                <a:gd name="T70" fmla="*/ 26 w 68"/>
                <a:gd name="T71" fmla="*/ 84 h 102"/>
                <a:gd name="T72" fmla="*/ 22 w 68"/>
                <a:gd name="T73" fmla="*/ 86 h 102"/>
                <a:gd name="T74" fmla="*/ 22 w 68"/>
                <a:gd name="T75" fmla="*/ 86 h 102"/>
                <a:gd name="T76" fmla="*/ 18 w 68"/>
                <a:gd name="T77" fmla="*/ 90 h 102"/>
                <a:gd name="T78" fmla="*/ 18 w 68"/>
                <a:gd name="T79" fmla="*/ 90 h 102"/>
                <a:gd name="T80" fmla="*/ 14 w 68"/>
                <a:gd name="T81" fmla="*/ 92 h 102"/>
                <a:gd name="T82" fmla="*/ 10 w 68"/>
                <a:gd name="T83" fmla="*/ 94 h 102"/>
                <a:gd name="T84" fmla="*/ 0 w 68"/>
                <a:gd name="T85" fmla="*/ 94 h 102"/>
                <a:gd name="T86" fmla="*/ 0 w 68"/>
                <a:gd name="T87" fmla="*/ 94 h 102"/>
                <a:gd name="T88" fmla="*/ 0 w 68"/>
                <a:gd name="T89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8" h="102">
                  <a:moveTo>
                    <a:pt x="68" y="6"/>
                  </a:moveTo>
                  <a:lnTo>
                    <a:pt x="62" y="0"/>
                  </a:lnTo>
                  <a:lnTo>
                    <a:pt x="62" y="0"/>
                  </a:lnTo>
                  <a:lnTo>
                    <a:pt x="60" y="6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48" y="18"/>
                  </a:lnTo>
                  <a:lnTo>
                    <a:pt x="48" y="22"/>
                  </a:lnTo>
                  <a:lnTo>
                    <a:pt x="44" y="34"/>
                  </a:lnTo>
                  <a:lnTo>
                    <a:pt x="44" y="34"/>
                  </a:lnTo>
                  <a:lnTo>
                    <a:pt x="40" y="42"/>
                  </a:lnTo>
                  <a:lnTo>
                    <a:pt x="40" y="42"/>
                  </a:lnTo>
                  <a:lnTo>
                    <a:pt x="38" y="48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2" y="54"/>
                  </a:lnTo>
                  <a:lnTo>
                    <a:pt x="46" y="56"/>
                  </a:lnTo>
                  <a:lnTo>
                    <a:pt x="46" y="56"/>
                  </a:lnTo>
                  <a:lnTo>
                    <a:pt x="52" y="62"/>
                  </a:lnTo>
                  <a:lnTo>
                    <a:pt x="56" y="70"/>
                  </a:lnTo>
                  <a:lnTo>
                    <a:pt x="56" y="70"/>
                  </a:lnTo>
                  <a:lnTo>
                    <a:pt x="56" y="78"/>
                  </a:lnTo>
                  <a:lnTo>
                    <a:pt x="56" y="82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48" y="84"/>
                  </a:lnTo>
                  <a:lnTo>
                    <a:pt x="48" y="84"/>
                  </a:lnTo>
                  <a:lnTo>
                    <a:pt x="42" y="88"/>
                  </a:lnTo>
                  <a:lnTo>
                    <a:pt x="42" y="88"/>
                  </a:lnTo>
                  <a:lnTo>
                    <a:pt x="38" y="88"/>
                  </a:lnTo>
                  <a:lnTo>
                    <a:pt x="36" y="86"/>
                  </a:lnTo>
                  <a:lnTo>
                    <a:pt x="36" y="86"/>
                  </a:lnTo>
                  <a:lnTo>
                    <a:pt x="28" y="84"/>
                  </a:lnTo>
                  <a:lnTo>
                    <a:pt x="26" y="84"/>
                  </a:lnTo>
                  <a:lnTo>
                    <a:pt x="22" y="86"/>
                  </a:lnTo>
                  <a:lnTo>
                    <a:pt x="22" y="86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14" y="92"/>
                  </a:lnTo>
                  <a:lnTo>
                    <a:pt x="10" y="94"/>
                  </a:lnTo>
                  <a:lnTo>
                    <a:pt x="0" y="94"/>
                  </a:lnTo>
                  <a:lnTo>
                    <a:pt x="0" y="94"/>
                  </a:lnTo>
                  <a:lnTo>
                    <a:pt x="0" y="102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99" name="Freeform 72"/>
            <p:cNvSpPr>
              <a:spLocks/>
            </p:cNvSpPr>
            <p:nvPr/>
          </p:nvSpPr>
          <p:spPr bwMode="auto">
            <a:xfrm>
              <a:off x="9795550" y="3456073"/>
              <a:ext cx="59219" cy="125477"/>
            </a:xfrm>
            <a:custGeom>
              <a:avLst/>
              <a:gdLst>
                <a:gd name="T0" fmla="*/ 0 w 30"/>
                <a:gd name="T1" fmla="*/ 62 h 62"/>
                <a:gd name="T2" fmla="*/ 0 w 30"/>
                <a:gd name="T3" fmla="*/ 62 h 62"/>
                <a:gd name="T4" fmla="*/ 10 w 30"/>
                <a:gd name="T5" fmla="*/ 44 h 62"/>
                <a:gd name="T6" fmla="*/ 20 w 30"/>
                <a:gd name="T7" fmla="*/ 26 h 62"/>
                <a:gd name="T8" fmla="*/ 30 w 30"/>
                <a:gd name="T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62">
                  <a:moveTo>
                    <a:pt x="0" y="62"/>
                  </a:moveTo>
                  <a:lnTo>
                    <a:pt x="0" y="62"/>
                  </a:lnTo>
                  <a:lnTo>
                    <a:pt x="10" y="44"/>
                  </a:lnTo>
                  <a:lnTo>
                    <a:pt x="20" y="26"/>
                  </a:lnTo>
                  <a:lnTo>
                    <a:pt x="30" y="0"/>
                  </a:lnTo>
                </a:path>
              </a:pathLst>
            </a:custGeom>
            <a:noFill/>
            <a:ln w="12700">
              <a:solidFill>
                <a:srgbClr val="001F50">
                  <a:alpha val="56000"/>
                </a:srgb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202" name="Freeform 165"/>
            <p:cNvSpPr>
              <a:spLocks/>
            </p:cNvSpPr>
            <p:nvPr/>
          </p:nvSpPr>
          <p:spPr bwMode="auto">
            <a:xfrm>
              <a:off x="10077450" y="5507038"/>
              <a:ext cx="722313" cy="7938"/>
            </a:xfrm>
            <a:custGeom>
              <a:avLst/>
              <a:gdLst>
                <a:gd name="T0" fmla="*/ 455 w 455"/>
                <a:gd name="T1" fmla="*/ 0 h 5"/>
                <a:gd name="T2" fmla="*/ 0 w 455"/>
                <a:gd name="T3" fmla="*/ 0 h 5"/>
                <a:gd name="T4" fmla="*/ 0 w 455"/>
                <a:gd name="T5" fmla="*/ 5 h 5"/>
                <a:gd name="T6" fmla="*/ 455 w 455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55" h="5">
                  <a:moveTo>
                    <a:pt x="455" y="0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455" y="5"/>
                  </a:lnTo>
                </a:path>
              </a:pathLst>
            </a:custGeom>
            <a:noFill/>
            <a:ln w="9525">
              <a:solidFill>
                <a:srgbClr val="001F50">
                  <a:alpha val="56000"/>
                </a:srgbClr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FFFFFF"/>
                </a:solidFill>
                <a:latin typeface="Segoe UI"/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1591188" y="1736126"/>
            <a:ext cx="9321824" cy="4147189"/>
            <a:chOff x="1551939" y="1700142"/>
            <a:chExt cx="9139873" cy="4066241"/>
          </a:xfrm>
        </p:grpSpPr>
        <p:grpSp>
          <p:nvGrpSpPr>
            <p:cNvPr id="457" name="Group 456"/>
            <p:cNvGrpSpPr/>
            <p:nvPr/>
          </p:nvGrpSpPr>
          <p:grpSpPr>
            <a:xfrm>
              <a:off x="1551939" y="2270495"/>
              <a:ext cx="9139873" cy="3495888"/>
              <a:chOff x="1551939" y="2270495"/>
              <a:chExt cx="9139873" cy="3495888"/>
            </a:xfrm>
          </p:grpSpPr>
          <p:grpSp>
            <p:nvGrpSpPr>
              <p:cNvPr id="458" name="Group 457"/>
              <p:cNvGrpSpPr/>
              <p:nvPr/>
            </p:nvGrpSpPr>
            <p:grpSpPr>
              <a:xfrm>
                <a:off x="8016355" y="2821592"/>
                <a:ext cx="2351163" cy="1496698"/>
                <a:chOff x="8016355" y="2821592"/>
                <a:chExt cx="2351163" cy="1496698"/>
              </a:xfrm>
            </p:grpSpPr>
            <p:sp>
              <p:nvSpPr>
                <p:cNvPr id="490" name="Oval 95"/>
                <p:cNvSpPr>
                  <a:spLocks noChangeArrowheads="1"/>
                </p:cNvSpPr>
                <p:nvPr/>
              </p:nvSpPr>
              <p:spPr bwMode="auto">
                <a:xfrm>
                  <a:off x="8016355" y="3617124"/>
                  <a:ext cx="174625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91" name="Oval 96"/>
                <p:cNvSpPr>
                  <a:spLocks noChangeArrowheads="1"/>
                </p:cNvSpPr>
                <p:nvPr/>
              </p:nvSpPr>
              <p:spPr bwMode="auto">
                <a:xfrm>
                  <a:off x="8095497" y="3779693"/>
                  <a:ext cx="176213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92" name="Oval 97"/>
                <p:cNvSpPr>
                  <a:spLocks noChangeArrowheads="1"/>
                </p:cNvSpPr>
                <p:nvPr/>
              </p:nvSpPr>
              <p:spPr bwMode="auto">
                <a:xfrm>
                  <a:off x="8971913" y="4143665"/>
                  <a:ext cx="176213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93" name="Oval 98"/>
                <p:cNvSpPr>
                  <a:spLocks noChangeArrowheads="1"/>
                </p:cNvSpPr>
                <p:nvPr/>
              </p:nvSpPr>
              <p:spPr bwMode="auto">
                <a:xfrm>
                  <a:off x="9343040" y="3450412"/>
                  <a:ext cx="174625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94" name="Oval 100"/>
                <p:cNvSpPr>
                  <a:spLocks noChangeArrowheads="1"/>
                </p:cNvSpPr>
                <p:nvPr/>
              </p:nvSpPr>
              <p:spPr bwMode="auto">
                <a:xfrm>
                  <a:off x="9496424" y="3223297"/>
                  <a:ext cx="174625" cy="176213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95" name="Oval 101"/>
                <p:cNvSpPr>
                  <a:spLocks noChangeArrowheads="1"/>
                </p:cNvSpPr>
                <p:nvPr/>
              </p:nvSpPr>
              <p:spPr bwMode="auto">
                <a:xfrm>
                  <a:off x="10191305" y="2936303"/>
                  <a:ext cx="176213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96" name="Oval 102"/>
                <p:cNvSpPr>
                  <a:spLocks noChangeArrowheads="1"/>
                </p:cNvSpPr>
                <p:nvPr/>
              </p:nvSpPr>
              <p:spPr bwMode="auto">
                <a:xfrm>
                  <a:off x="10060622" y="3065490"/>
                  <a:ext cx="176213" cy="176213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97" name="Oval 105"/>
                <p:cNvSpPr>
                  <a:spLocks noChangeArrowheads="1"/>
                </p:cNvSpPr>
                <p:nvPr/>
              </p:nvSpPr>
              <p:spPr bwMode="auto">
                <a:xfrm>
                  <a:off x="9849992" y="2978972"/>
                  <a:ext cx="174625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98" name="Oval 107"/>
                <p:cNvSpPr>
                  <a:spLocks noChangeArrowheads="1"/>
                </p:cNvSpPr>
                <p:nvPr/>
              </p:nvSpPr>
              <p:spPr bwMode="auto">
                <a:xfrm>
                  <a:off x="8176227" y="3943383"/>
                  <a:ext cx="174625" cy="176213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99" name="Oval 99"/>
                <p:cNvSpPr>
                  <a:spLocks noChangeArrowheads="1"/>
                </p:cNvSpPr>
                <p:nvPr/>
              </p:nvSpPr>
              <p:spPr bwMode="auto">
                <a:xfrm>
                  <a:off x="9452383" y="2821592"/>
                  <a:ext cx="174625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500" name="Oval 106"/>
                <p:cNvSpPr>
                  <a:spLocks noChangeArrowheads="1"/>
                </p:cNvSpPr>
                <p:nvPr/>
              </p:nvSpPr>
              <p:spPr bwMode="auto">
                <a:xfrm>
                  <a:off x="9749789" y="2834486"/>
                  <a:ext cx="176213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</p:grpSp>
          <p:grpSp>
            <p:nvGrpSpPr>
              <p:cNvPr id="459" name="Group 458"/>
              <p:cNvGrpSpPr/>
              <p:nvPr/>
            </p:nvGrpSpPr>
            <p:grpSpPr>
              <a:xfrm>
                <a:off x="1551939" y="2413290"/>
                <a:ext cx="2133283" cy="1058863"/>
                <a:chOff x="1551939" y="2413290"/>
                <a:chExt cx="2133283" cy="1058863"/>
              </a:xfrm>
            </p:grpSpPr>
            <p:sp>
              <p:nvSpPr>
                <p:cNvPr id="476" name="Oval 74"/>
                <p:cNvSpPr>
                  <a:spLocks noChangeArrowheads="1"/>
                </p:cNvSpPr>
                <p:nvPr/>
              </p:nvSpPr>
              <p:spPr bwMode="auto">
                <a:xfrm>
                  <a:off x="1551939" y="2413290"/>
                  <a:ext cx="173736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77" name="Oval 75"/>
                <p:cNvSpPr>
                  <a:spLocks noChangeArrowheads="1"/>
                </p:cNvSpPr>
                <p:nvPr/>
              </p:nvSpPr>
              <p:spPr bwMode="auto">
                <a:xfrm>
                  <a:off x="1640839" y="2768445"/>
                  <a:ext cx="174625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78" name="Oval 82"/>
                <p:cNvSpPr>
                  <a:spLocks noChangeArrowheads="1"/>
                </p:cNvSpPr>
                <p:nvPr/>
              </p:nvSpPr>
              <p:spPr bwMode="auto">
                <a:xfrm>
                  <a:off x="2817177" y="2753074"/>
                  <a:ext cx="174625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79" name="Oval 83"/>
                <p:cNvSpPr>
                  <a:spLocks noChangeArrowheads="1"/>
                </p:cNvSpPr>
                <p:nvPr/>
              </p:nvSpPr>
              <p:spPr bwMode="auto">
                <a:xfrm>
                  <a:off x="3052547" y="2924974"/>
                  <a:ext cx="179388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80" name="Oval 76"/>
                <p:cNvSpPr>
                  <a:spLocks noChangeArrowheads="1"/>
                </p:cNvSpPr>
                <p:nvPr/>
              </p:nvSpPr>
              <p:spPr bwMode="auto">
                <a:xfrm>
                  <a:off x="1933733" y="3056063"/>
                  <a:ext cx="174625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81" name="Oval 81"/>
                <p:cNvSpPr>
                  <a:spLocks noChangeArrowheads="1"/>
                </p:cNvSpPr>
                <p:nvPr/>
              </p:nvSpPr>
              <p:spPr bwMode="auto">
                <a:xfrm>
                  <a:off x="2571114" y="2780955"/>
                  <a:ext cx="176213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82" name="Oval 80"/>
                <p:cNvSpPr>
                  <a:spLocks noChangeArrowheads="1"/>
                </p:cNvSpPr>
                <p:nvPr/>
              </p:nvSpPr>
              <p:spPr bwMode="auto">
                <a:xfrm>
                  <a:off x="2607627" y="2598901"/>
                  <a:ext cx="179388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83" name="Oval 77"/>
                <p:cNvSpPr>
                  <a:spLocks noChangeArrowheads="1"/>
                </p:cNvSpPr>
                <p:nvPr/>
              </p:nvSpPr>
              <p:spPr bwMode="auto">
                <a:xfrm>
                  <a:off x="2366327" y="3292765"/>
                  <a:ext cx="176213" cy="179388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85" name="Oval 85"/>
                <p:cNvSpPr>
                  <a:spLocks noChangeArrowheads="1"/>
                </p:cNvSpPr>
                <p:nvPr/>
              </p:nvSpPr>
              <p:spPr bwMode="auto">
                <a:xfrm>
                  <a:off x="3083877" y="2712057"/>
                  <a:ext cx="179388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86" name="Oval 86"/>
                <p:cNvSpPr>
                  <a:spLocks noChangeArrowheads="1"/>
                </p:cNvSpPr>
                <p:nvPr/>
              </p:nvSpPr>
              <p:spPr bwMode="auto">
                <a:xfrm>
                  <a:off x="3505834" y="2490752"/>
                  <a:ext cx="179388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87" name="Oval 78"/>
                <p:cNvSpPr>
                  <a:spLocks noChangeArrowheads="1"/>
                </p:cNvSpPr>
                <p:nvPr/>
              </p:nvSpPr>
              <p:spPr bwMode="auto">
                <a:xfrm>
                  <a:off x="2482214" y="3276890"/>
                  <a:ext cx="179388" cy="179388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88" name="Oval 79"/>
                <p:cNvSpPr>
                  <a:spLocks noChangeArrowheads="1"/>
                </p:cNvSpPr>
                <p:nvPr/>
              </p:nvSpPr>
              <p:spPr bwMode="auto">
                <a:xfrm>
                  <a:off x="2196815" y="2887632"/>
                  <a:ext cx="176213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89" name="Oval 84"/>
                <p:cNvSpPr>
                  <a:spLocks noChangeArrowheads="1"/>
                </p:cNvSpPr>
                <p:nvPr/>
              </p:nvSpPr>
              <p:spPr bwMode="auto">
                <a:xfrm>
                  <a:off x="2981109" y="3040861"/>
                  <a:ext cx="179388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</p:grpSp>
          <p:grpSp>
            <p:nvGrpSpPr>
              <p:cNvPr id="460" name="Group 459"/>
              <p:cNvGrpSpPr/>
              <p:nvPr/>
            </p:nvGrpSpPr>
            <p:grpSpPr>
              <a:xfrm>
                <a:off x="5235719" y="2270495"/>
                <a:ext cx="1012046" cy="630986"/>
                <a:chOff x="5235719" y="2270495"/>
                <a:chExt cx="1012046" cy="630986"/>
              </a:xfrm>
            </p:grpSpPr>
            <p:sp>
              <p:nvSpPr>
                <p:cNvPr id="467" name="Oval 91"/>
                <p:cNvSpPr>
                  <a:spLocks noChangeArrowheads="1"/>
                </p:cNvSpPr>
                <p:nvPr/>
              </p:nvSpPr>
              <p:spPr bwMode="auto">
                <a:xfrm>
                  <a:off x="5652134" y="2505365"/>
                  <a:ext cx="176213" cy="176213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68" name="Oval 92"/>
                <p:cNvSpPr>
                  <a:spLocks noChangeArrowheads="1"/>
                </p:cNvSpPr>
                <p:nvPr/>
              </p:nvSpPr>
              <p:spPr bwMode="auto">
                <a:xfrm>
                  <a:off x="6023927" y="2593630"/>
                  <a:ext cx="176213" cy="176213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69" name="Oval 93"/>
                <p:cNvSpPr>
                  <a:spLocks noChangeArrowheads="1"/>
                </p:cNvSpPr>
                <p:nvPr/>
              </p:nvSpPr>
              <p:spPr bwMode="auto">
                <a:xfrm>
                  <a:off x="6071552" y="2451390"/>
                  <a:ext cx="176213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70" name="Oval 90"/>
                <p:cNvSpPr>
                  <a:spLocks noChangeArrowheads="1"/>
                </p:cNvSpPr>
                <p:nvPr/>
              </p:nvSpPr>
              <p:spPr bwMode="auto">
                <a:xfrm>
                  <a:off x="5612062" y="2328499"/>
                  <a:ext cx="176213" cy="177800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71" name="Oval 94"/>
                <p:cNvSpPr>
                  <a:spLocks noChangeArrowheads="1"/>
                </p:cNvSpPr>
                <p:nvPr/>
              </p:nvSpPr>
              <p:spPr bwMode="auto">
                <a:xfrm>
                  <a:off x="5860653" y="2270495"/>
                  <a:ext cx="176213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72" name="Oval 88"/>
                <p:cNvSpPr>
                  <a:spLocks noChangeArrowheads="1"/>
                </p:cNvSpPr>
                <p:nvPr/>
              </p:nvSpPr>
              <p:spPr bwMode="auto">
                <a:xfrm>
                  <a:off x="5612062" y="2659861"/>
                  <a:ext cx="176213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73" name="Oval 108"/>
                <p:cNvSpPr>
                  <a:spLocks noChangeArrowheads="1"/>
                </p:cNvSpPr>
                <p:nvPr/>
              </p:nvSpPr>
              <p:spPr bwMode="auto">
                <a:xfrm>
                  <a:off x="5724932" y="2726856"/>
                  <a:ext cx="176213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74" name="Oval 87"/>
                <p:cNvSpPr>
                  <a:spLocks noChangeArrowheads="1"/>
                </p:cNvSpPr>
                <p:nvPr/>
              </p:nvSpPr>
              <p:spPr bwMode="auto">
                <a:xfrm>
                  <a:off x="5235719" y="2299388"/>
                  <a:ext cx="176213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75" name="Oval 89"/>
                <p:cNvSpPr>
                  <a:spLocks noChangeArrowheads="1"/>
                </p:cNvSpPr>
                <p:nvPr/>
              </p:nvSpPr>
              <p:spPr bwMode="auto">
                <a:xfrm>
                  <a:off x="5512224" y="2371697"/>
                  <a:ext cx="174625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</p:grpSp>
          <p:grpSp>
            <p:nvGrpSpPr>
              <p:cNvPr id="461" name="Group 460"/>
              <p:cNvGrpSpPr/>
              <p:nvPr/>
            </p:nvGrpSpPr>
            <p:grpSpPr>
              <a:xfrm>
                <a:off x="4212589" y="5030269"/>
                <a:ext cx="6479223" cy="736114"/>
                <a:chOff x="4212589" y="5030269"/>
                <a:chExt cx="6479223" cy="736114"/>
              </a:xfrm>
            </p:grpSpPr>
            <p:sp>
              <p:nvSpPr>
                <p:cNvPr id="462" name="Oval 103"/>
                <p:cNvSpPr>
                  <a:spLocks noChangeArrowheads="1"/>
                </p:cNvSpPr>
                <p:nvPr/>
              </p:nvSpPr>
              <p:spPr bwMode="auto">
                <a:xfrm>
                  <a:off x="10382884" y="5591758"/>
                  <a:ext cx="176213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63" name="Oval 104"/>
                <p:cNvSpPr>
                  <a:spLocks noChangeArrowheads="1"/>
                </p:cNvSpPr>
                <p:nvPr/>
              </p:nvSpPr>
              <p:spPr bwMode="auto">
                <a:xfrm>
                  <a:off x="10515599" y="5413343"/>
                  <a:ext cx="176213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64" name="Oval 109"/>
                <p:cNvSpPr>
                  <a:spLocks noChangeArrowheads="1"/>
                </p:cNvSpPr>
                <p:nvPr/>
              </p:nvSpPr>
              <p:spPr bwMode="auto">
                <a:xfrm>
                  <a:off x="4212589" y="5030269"/>
                  <a:ext cx="176213" cy="174625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65" name="Oval 107"/>
                <p:cNvSpPr>
                  <a:spLocks noChangeArrowheads="1"/>
                </p:cNvSpPr>
                <p:nvPr/>
              </p:nvSpPr>
              <p:spPr bwMode="auto">
                <a:xfrm>
                  <a:off x="6236922" y="5424777"/>
                  <a:ext cx="174625" cy="176213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66" name="Oval 107"/>
                <p:cNvSpPr>
                  <a:spLocks noChangeArrowheads="1"/>
                </p:cNvSpPr>
                <p:nvPr/>
              </p:nvSpPr>
              <p:spPr bwMode="auto">
                <a:xfrm>
                  <a:off x="6469024" y="5186971"/>
                  <a:ext cx="174625" cy="176213"/>
                </a:xfrm>
                <a:prstGeom prst="ellipse">
                  <a:avLst/>
                </a:prstGeom>
                <a:solidFill>
                  <a:srgbClr val="00BDF4"/>
                </a:solidFill>
                <a:ln w="12700">
                  <a:solidFill>
                    <a:schemeClr val="bg1"/>
                  </a:solidFill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</p:grpSp>
        </p:grpSp>
        <p:grpSp>
          <p:nvGrpSpPr>
            <p:cNvPr id="5" name="Group 4"/>
            <p:cNvGrpSpPr/>
            <p:nvPr/>
          </p:nvGrpSpPr>
          <p:grpSpPr>
            <a:xfrm>
              <a:off x="1648520" y="1700142"/>
              <a:ext cx="9022993" cy="3970791"/>
              <a:chOff x="1648520" y="1700142"/>
              <a:chExt cx="9022993" cy="3970791"/>
            </a:xfrm>
          </p:grpSpPr>
          <p:grpSp>
            <p:nvGrpSpPr>
              <p:cNvPr id="797" name="Group 796"/>
              <p:cNvGrpSpPr/>
              <p:nvPr/>
            </p:nvGrpSpPr>
            <p:grpSpPr>
              <a:xfrm>
                <a:off x="1648520" y="1700142"/>
                <a:ext cx="9022993" cy="3970791"/>
                <a:chOff x="1648520" y="1700142"/>
                <a:chExt cx="9022993" cy="3970791"/>
              </a:xfrm>
            </p:grpSpPr>
            <p:grpSp>
              <p:nvGrpSpPr>
                <p:cNvPr id="796" name="Group 795"/>
                <p:cNvGrpSpPr/>
                <p:nvPr/>
              </p:nvGrpSpPr>
              <p:grpSpPr>
                <a:xfrm>
                  <a:off x="5354253" y="1700142"/>
                  <a:ext cx="5317260" cy="3970791"/>
                  <a:chOff x="5354253" y="1700142"/>
                  <a:chExt cx="5317260" cy="3970791"/>
                </a:xfrm>
              </p:grpSpPr>
              <p:grpSp>
                <p:nvGrpSpPr>
                  <p:cNvPr id="795" name="Group 794"/>
                  <p:cNvGrpSpPr/>
                  <p:nvPr/>
                </p:nvGrpSpPr>
                <p:grpSpPr>
                  <a:xfrm>
                    <a:off x="8018727" y="2702978"/>
                    <a:ext cx="2652786" cy="2967955"/>
                    <a:chOff x="8018727" y="2702978"/>
                    <a:chExt cx="2652786" cy="2967955"/>
                  </a:xfrm>
                </p:grpSpPr>
                <p:grpSp>
                  <p:nvGrpSpPr>
                    <p:cNvPr id="604" name="Group 603"/>
                    <p:cNvGrpSpPr/>
                    <p:nvPr/>
                  </p:nvGrpSpPr>
                  <p:grpSpPr>
                    <a:xfrm>
                      <a:off x="8186367" y="3819084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605" name="Freeform: Shape 604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606" name="Oval 605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607" name="Group 606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608" name="Oval 607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609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610" name="Group 609"/>
                    <p:cNvGrpSpPr/>
                    <p:nvPr/>
                  </p:nvGrpSpPr>
                  <p:grpSpPr>
                    <a:xfrm>
                      <a:off x="8018727" y="3495234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611" name="Freeform: Shape 610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612" name="Oval 611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613" name="Group 612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614" name="Oval 613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615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616" name="Group 615"/>
                    <p:cNvGrpSpPr/>
                    <p:nvPr/>
                  </p:nvGrpSpPr>
                  <p:grpSpPr>
                    <a:xfrm>
                      <a:off x="8089212" y="3560004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617" name="Freeform: Shape 616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618" name="Oval 617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619" name="Group 618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620" name="Oval 619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621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622" name="Group 621"/>
                    <p:cNvGrpSpPr/>
                    <p:nvPr/>
                  </p:nvGrpSpPr>
                  <p:grpSpPr>
                    <a:xfrm>
                      <a:off x="8975277" y="4028814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623" name="Freeform: Shape 622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624" name="Oval 623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625" name="Group 624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626" name="Oval 625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627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628" name="Group 627"/>
                    <p:cNvGrpSpPr/>
                    <p:nvPr/>
                  </p:nvGrpSpPr>
                  <p:grpSpPr>
                    <a:xfrm>
                      <a:off x="9156252" y="4122159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629" name="Freeform: Shape 628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630" name="Oval 629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631" name="Group 630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632" name="Oval 631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633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634" name="Group 633"/>
                    <p:cNvGrpSpPr/>
                    <p:nvPr/>
                  </p:nvGrpSpPr>
                  <p:grpSpPr>
                    <a:xfrm>
                      <a:off x="9343815" y="3335438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635" name="Freeform: Shape 634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636" name="Oval 635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637" name="Group 636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638" name="Oval 637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639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640" name="Group 639"/>
                    <p:cNvGrpSpPr/>
                    <p:nvPr/>
                  </p:nvGrpSpPr>
                  <p:grpSpPr>
                    <a:xfrm>
                      <a:off x="9496215" y="3109378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641" name="Freeform: Shape 640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642" name="Oval 641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643" name="Group 642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644" name="Oval 643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645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646" name="Group 645"/>
                    <p:cNvGrpSpPr/>
                    <p:nvPr/>
                  </p:nvGrpSpPr>
                  <p:grpSpPr>
                    <a:xfrm>
                      <a:off x="9458115" y="2702978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647" name="Freeform: Shape 646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648" name="Oval 647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649" name="Group 648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650" name="Oval 649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651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652" name="Group 651"/>
                    <p:cNvGrpSpPr/>
                    <p:nvPr/>
                  </p:nvGrpSpPr>
                  <p:grpSpPr>
                    <a:xfrm>
                      <a:off x="9849275" y="2855378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653" name="Freeform: Shape 652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654" name="Oval 653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655" name="Group 654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656" name="Oval 655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657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658" name="Group 657"/>
                    <p:cNvGrpSpPr/>
                    <p:nvPr/>
                  </p:nvGrpSpPr>
                  <p:grpSpPr>
                    <a:xfrm>
                      <a:off x="10065175" y="2941738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659" name="Freeform: Shape 658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660" name="Oval 659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661" name="Group 660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662" name="Oval 661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663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664" name="Group 663"/>
                    <p:cNvGrpSpPr/>
                    <p:nvPr/>
                  </p:nvGrpSpPr>
                  <p:grpSpPr>
                    <a:xfrm>
                      <a:off x="10194715" y="2822358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665" name="Freeform: Shape 664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666" name="Oval 665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667" name="Group 666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668" name="Oval 667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669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670" name="Group 669"/>
                    <p:cNvGrpSpPr/>
                    <p:nvPr/>
                  </p:nvGrpSpPr>
                  <p:grpSpPr>
                    <a:xfrm>
                      <a:off x="10516633" y="5290487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671" name="Freeform: Shape 670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672" name="Oval 671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673" name="Group 672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674" name="Oval 673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675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676" name="Group 675"/>
                    <p:cNvGrpSpPr/>
                    <p:nvPr/>
                  </p:nvGrpSpPr>
                  <p:grpSpPr>
                    <a:xfrm>
                      <a:off x="10381363" y="5466477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677" name="Freeform: Shape 676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678" name="Oval 677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679" name="Group 678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680" name="Oval 679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681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</p:grpSp>
              <p:grpSp>
                <p:nvGrpSpPr>
                  <p:cNvPr id="794" name="Group 793"/>
                  <p:cNvGrpSpPr/>
                  <p:nvPr/>
                </p:nvGrpSpPr>
                <p:grpSpPr>
                  <a:xfrm>
                    <a:off x="5354253" y="1700142"/>
                    <a:ext cx="1191200" cy="903196"/>
                    <a:chOff x="5354253" y="1700142"/>
                    <a:chExt cx="1191200" cy="903196"/>
                  </a:xfrm>
                </p:grpSpPr>
                <p:grpSp>
                  <p:nvGrpSpPr>
                    <p:cNvPr id="682" name="Group 681"/>
                    <p:cNvGrpSpPr/>
                    <p:nvPr/>
                  </p:nvGrpSpPr>
                  <p:grpSpPr>
                    <a:xfrm>
                      <a:off x="6390573" y="1700142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683" name="Freeform: Shape 682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684" name="Oval 683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685" name="Group 684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686" name="Oval 685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687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688" name="Group 687"/>
                    <p:cNvGrpSpPr/>
                    <p:nvPr/>
                  </p:nvGrpSpPr>
                  <p:grpSpPr>
                    <a:xfrm>
                      <a:off x="5354253" y="2175630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689" name="Freeform: Shape 688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690" name="Oval 689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691" name="Group 690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692" name="Oval 691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693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694" name="Group 693"/>
                    <p:cNvGrpSpPr/>
                    <p:nvPr/>
                  </p:nvGrpSpPr>
                  <p:grpSpPr>
                    <a:xfrm>
                      <a:off x="6210638" y="2398882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695" name="Freeform: Shape 694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696" name="Oval 695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697" name="Group 696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698" name="Oval 697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699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700" name="Group 699"/>
                    <p:cNvGrpSpPr/>
                    <p:nvPr/>
                  </p:nvGrpSpPr>
                  <p:grpSpPr>
                    <a:xfrm>
                      <a:off x="5880951" y="2315938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701" name="Freeform: Shape 700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702" name="Oval 701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703" name="Group 702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704" name="Oval 703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705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706" name="Group 705"/>
                    <p:cNvGrpSpPr/>
                    <p:nvPr/>
                  </p:nvGrpSpPr>
                  <p:grpSpPr>
                    <a:xfrm>
                      <a:off x="5785922" y="2388052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707" name="Freeform: Shape 706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708" name="Oval 707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709" name="Group 708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710" name="Oval 709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711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712" name="Group 711"/>
                    <p:cNvGrpSpPr/>
                    <p:nvPr/>
                  </p:nvGrpSpPr>
                  <p:grpSpPr>
                    <a:xfrm>
                      <a:off x="5780701" y="2173183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713" name="Freeform: Shape 712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714" name="Oval 713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715" name="Group 714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716" name="Oval 715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717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718" name="Group 717"/>
                    <p:cNvGrpSpPr/>
                    <p:nvPr/>
                  </p:nvGrpSpPr>
                  <p:grpSpPr>
                    <a:xfrm>
                      <a:off x="5969313" y="2201430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719" name="Freeform: Shape 718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720" name="Oval 719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721" name="Group 720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722" name="Oval 721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723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</p:grpSp>
            </p:grpSp>
            <p:grpSp>
              <p:nvGrpSpPr>
                <p:cNvPr id="793" name="Group 792"/>
                <p:cNvGrpSpPr/>
                <p:nvPr/>
              </p:nvGrpSpPr>
              <p:grpSpPr>
                <a:xfrm>
                  <a:off x="1648520" y="2331414"/>
                  <a:ext cx="2799020" cy="3067985"/>
                  <a:chOff x="1648520" y="2331414"/>
                  <a:chExt cx="2799020" cy="3067985"/>
                </a:xfrm>
              </p:grpSpPr>
              <p:grpSp>
                <p:nvGrpSpPr>
                  <p:cNvPr id="792" name="Group 791"/>
                  <p:cNvGrpSpPr/>
                  <p:nvPr/>
                </p:nvGrpSpPr>
                <p:grpSpPr>
                  <a:xfrm>
                    <a:off x="3306098" y="4228413"/>
                    <a:ext cx="1141442" cy="1170986"/>
                    <a:chOff x="3306098" y="4228413"/>
                    <a:chExt cx="1141442" cy="1170986"/>
                  </a:xfrm>
                </p:grpSpPr>
                <p:grpSp>
                  <p:nvGrpSpPr>
                    <p:cNvPr id="502" name="Group 501"/>
                    <p:cNvGrpSpPr/>
                    <p:nvPr/>
                  </p:nvGrpSpPr>
                  <p:grpSpPr>
                    <a:xfrm>
                      <a:off x="4216460" y="4898973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503" name="Freeform: Shape 502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504" name="Oval 503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505" name="Group 504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506" name="Oval 505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507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508" name="Group 507"/>
                    <p:cNvGrpSpPr/>
                    <p:nvPr/>
                  </p:nvGrpSpPr>
                  <p:grpSpPr>
                    <a:xfrm>
                      <a:off x="4067669" y="4873087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509" name="Freeform: Shape 508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510" name="Oval 509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511" name="Group 510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512" name="Oval 511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513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514" name="Group 513"/>
                    <p:cNvGrpSpPr/>
                    <p:nvPr/>
                  </p:nvGrpSpPr>
                  <p:grpSpPr>
                    <a:xfrm>
                      <a:off x="3306098" y="5194943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515" name="Freeform: Shape 514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516" name="Oval 515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517" name="Group 516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518" name="Oval 517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519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598" name="Group 597"/>
                    <p:cNvGrpSpPr/>
                    <p:nvPr/>
                  </p:nvGrpSpPr>
                  <p:grpSpPr>
                    <a:xfrm>
                      <a:off x="4292660" y="4228413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599" name="Freeform: Shape 598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600" name="Oval 599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601" name="Group 600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602" name="Oval 601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603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</p:grpSp>
              <p:grpSp>
                <p:nvGrpSpPr>
                  <p:cNvPr id="791" name="Group 790"/>
                  <p:cNvGrpSpPr/>
                  <p:nvPr/>
                </p:nvGrpSpPr>
                <p:grpSpPr>
                  <a:xfrm>
                    <a:off x="1648520" y="2331414"/>
                    <a:ext cx="2037478" cy="1051090"/>
                    <a:chOff x="1648520" y="2331414"/>
                    <a:chExt cx="2037478" cy="1051090"/>
                  </a:xfrm>
                </p:grpSpPr>
                <p:grpSp>
                  <p:nvGrpSpPr>
                    <p:cNvPr id="731" name="Group 730"/>
                    <p:cNvGrpSpPr/>
                    <p:nvPr/>
                  </p:nvGrpSpPr>
                  <p:grpSpPr>
                    <a:xfrm>
                      <a:off x="1724720" y="2391993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732" name="Freeform: Shape 731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733" name="Oval 732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734" name="Group 733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735" name="Oval 734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736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737" name="Group 736"/>
                    <p:cNvGrpSpPr/>
                    <p:nvPr/>
                  </p:nvGrpSpPr>
                  <p:grpSpPr>
                    <a:xfrm>
                      <a:off x="1648520" y="2643453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738" name="Freeform: Shape 737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739" name="Oval 738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740" name="Group 739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741" name="Oval 740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742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743" name="Group 742"/>
                    <p:cNvGrpSpPr/>
                    <p:nvPr/>
                  </p:nvGrpSpPr>
                  <p:grpSpPr>
                    <a:xfrm>
                      <a:off x="2197295" y="2704993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744" name="Freeform: Shape 743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745" name="Oval 744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746" name="Group 745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747" name="Oval 746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748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749" name="Group 748"/>
                    <p:cNvGrpSpPr/>
                    <p:nvPr/>
                  </p:nvGrpSpPr>
                  <p:grpSpPr>
                    <a:xfrm>
                      <a:off x="2571170" y="2629059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750" name="Freeform: Shape 749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751" name="Oval 750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752" name="Group 751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753" name="Oval 752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754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755" name="Group 754"/>
                    <p:cNvGrpSpPr/>
                    <p:nvPr/>
                  </p:nvGrpSpPr>
                  <p:grpSpPr>
                    <a:xfrm>
                      <a:off x="2814691" y="2605354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756" name="Freeform: Shape 755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757" name="Oval 756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758" name="Group 757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759" name="Oval 758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760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761" name="Group 760"/>
                    <p:cNvGrpSpPr/>
                    <p:nvPr/>
                  </p:nvGrpSpPr>
                  <p:grpSpPr>
                    <a:xfrm>
                      <a:off x="3088327" y="2567876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762" name="Freeform: Shape 761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763" name="Oval 762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764" name="Group 763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765" name="Oval 764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766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767" name="Group 766"/>
                    <p:cNvGrpSpPr/>
                    <p:nvPr/>
                  </p:nvGrpSpPr>
                  <p:grpSpPr>
                    <a:xfrm>
                      <a:off x="3531118" y="2331414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768" name="Freeform: Shape 767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769" name="Oval 768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770" name="Group 769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771" name="Oval 770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772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773" name="Group 772"/>
                    <p:cNvGrpSpPr/>
                    <p:nvPr/>
                  </p:nvGrpSpPr>
                  <p:grpSpPr>
                    <a:xfrm>
                      <a:off x="3058444" y="2804509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774" name="Freeform: Shape 773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775" name="Oval 774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776" name="Group 775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777" name="Oval 776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778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779" name="Group 778"/>
                    <p:cNvGrpSpPr/>
                    <p:nvPr/>
                  </p:nvGrpSpPr>
                  <p:grpSpPr>
                    <a:xfrm>
                      <a:off x="2989792" y="2918829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780" name="Freeform: Shape 779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781" name="Oval 780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782" name="Group 781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783" name="Oval 782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784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785" name="Group 784"/>
                    <p:cNvGrpSpPr/>
                    <p:nvPr/>
                  </p:nvGrpSpPr>
                  <p:grpSpPr>
                    <a:xfrm>
                      <a:off x="2373798" y="3178048"/>
                      <a:ext cx="154880" cy="204456"/>
                      <a:chOff x="4303314" y="3840571"/>
                      <a:chExt cx="450723" cy="595001"/>
                    </a:xfrm>
                  </p:grpSpPr>
                  <p:sp>
                    <p:nvSpPr>
                      <p:cNvPr id="786" name="Freeform: Shape 785"/>
                      <p:cNvSpPr/>
                      <p:nvPr/>
                    </p:nvSpPr>
                    <p:spPr>
                      <a:xfrm>
                        <a:off x="4303314" y="3840571"/>
                        <a:ext cx="450723" cy="595001"/>
                      </a:xfrm>
                      <a:custGeom>
                        <a:avLst/>
                        <a:gdLst>
                          <a:gd name="connsiteX0" fmla="*/ 846311 w 1692609"/>
                          <a:gd name="connsiteY0" fmla="*/ 0 h 2234420"/>
                          <a:gd name="connsiteX1" fmla="*/ 1444733 w 1692609"/>
                          <a:gd name="connsiteY1" fmla="*/ 247879 h 2234420"/>
                          <a:gd name="connsiteX2" fmla="*/ 1444733 w 1692609"/>
                          <a:gd name="connsiteY2" fmla="*/ 1444727 h 2234420"/>
                          <a:gd name="connsiteX3" fmla="*/ 846311 w 1692609"/>
                          <a:gd name="connsiteY3" fmla="*/ 2234420 h 2234420"/>
                          <a:gd name="connsiteX4" fmla="*/ 247881 w 1692609"/>
                          <a:gd name="connsiteY4" fmla="*/ 1444727 h 2234420"/>
                          <a:gd name="connsiteX5" fmla="*/ 247881 w 1692609"/>
                          <a:gd name="connsiteY5" fmla="*/ 247879 h 2234420"/>
                          <a:gd name="connsiteX6" fmla="*/ 846311 w 1692609"/>
                          <a:gd name="connsiteY6" fmla="*/ 0 h 2234420"/>
                          <a:gd name="connsiteX7" fmla="*/ 846311 w 1692609"/>
                          <a:gd name="connsiteY7" fmla="*/ 153940 h 2234420"/>
                          <a:gd name="connsiteX8" fmla="*/ 153936 w 1692609"/>
                          <a:gd name="connsiteY8" fmla="*/ 846305 h 2234420"/>
                          <a:gd name="connsiteX9" fmla="*/ 846311 w 1692609"/>
                          <a:gd name="connsiteY9" fmla="*/ 1538672 h 2234420"/>
                          <a:gd name="connsiteX10" fmla="*/ 1538678 w 1692609"/>
                          <a:gd name="connsiteY10" fmla="*/ 846305 h 2234420"/>
                          <a:gd name="connsiteX11" fmla="*/ 846311 w 1692609"/>
                          <a:gd name="connsiteY11" fmla="*/ 153940 h 22344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1692609" h="2234420">
                            <a:moveTo>
                              <a:pt x="846311" y="0"/>
                            </a:moveTo>
                            <a:cubicBezTo>
                              <a:pt x="1062893" y="0"/>
                              <a:pt x="1279484" y="82625"/>
                              <a:pt x="1444733" y="247879"/>
                            </a:cubicBezTo>
                            <a:cubicBezTo>
                              <a:pt x="1775235" y="578380"/>
                              <a:pt x="1775235" y="1114227"/>
                              <a:pt x="1444733" y="1444727"/>
                            </a:cubicBezTo>
                            <a:cubicBezTo>
                              <a:pt x="1213382" y="1676084"/>
                              <a:pt x="1013906" y="1939313"/>
                              <a:pt x="846311" y="2234420"/>
                            </a:cubicBezTo>
                            <a:cubicBezTo>
                              <a:pt x="678708" y="1939313"/>
                              <a:pt x="479235" y="1676084"/>
                              <a:pt x="247881" y="1444727"/>
                            </a:cubicBezTo>
                            <a:cubicBezTo>
                              <a:pt x="-82627" y="1114227"/>
                              <a:pt x="-82627" y="578380"/>
                              <a:pt x="247881" y="247879"/>
                            </a:cubicBezTo>
                            <a:cubicBezTo>
                              <a:pt x="413127" y="82627"/>
                              <a:pt x="629718" y="0"/>
                              <a:pt x="846311" y="0"/>
                            </a:cubicBezTo>
                            <a:close/>
                            <a:moveTo>
                              <a:pt x="846311" y="153940"/>
                            </a:moveTo>
                            <a:cubicBezTo>
                              <a:pt x="463922" y="153940"/>
                              <a:pt x="153936" y="463919"/>
                              <a:pt x="153936" y="846305"/>
                            </a:cubicBezTo>
                            <a:cubicBezTo>
                              <a:pt x="153936" y="1228687"/>
                              <a:pt x="463922" y="1538672"/>
                              <a:pt x="846311" y="1538672"/>
                            </a:cubicBezTo>
                            <a:cubicBezTo>
                              <a:pt x="1228692" y="1538672"/>
                              <a:pt x="1538678" y="1228687"/>
                              <a:pt x="1538678" y="846305"/>
                            </a:cubicBezTo>
                            <a:cubicBezTo>
                              <a:pt x="1538678" y="463925"/>
                              <a:pt x="1228692" y="153940"/>
                              <a:pt x="846311" y="153940"/>
                            </a:cubicBezTo>
                            <a:close/>
                          </a:path>
                        </a:pathLst>
                      </a:custGeo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n w="6350">
                        <a:noFill/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wrap="square" rtlCol="0" anchor="ctr">
                        <a:noAutofit/>
                      </a:bodyPr>
                      <a:lstStyle>
                        <a:defPPr>
                          <a:defRPr lang="en-US"/>
                        </a:defPPr>
                        <a:lvl1pPr marL="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18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363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545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727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5909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090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272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454" algn="l" defTabSz="914363" rtl="0" eaLnBrk="1" latinLnBrk="0" hangingPunct="1">
                          <a:defRPr sz="1800" kern="12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 defTabSz="932597">
                          <a:defRPr/>
                        </a:pPr>
                        <a:endParaRPr lang="en-US" sz="1836" b="1" kern="0">
                          <a:solidFill>
                            <a:srgbClr val="505050">
                              <a:lumMod val="85000"/>
                              <a:lumOff val="15000"/>
                            </a:srgbClr>
                          </a:solidFill>
                          <a:latin typeface="Segoe UI"/>
                        </a:endParaRPr>
                      </a:p>
                    </p:txBody>
                  </p:sp>
                  <p:sp>
                    <p:nvSpPr>
                      <p:cNvPr id="787" name="Oval 786"/>
                      <p:cNvSpPr/>
                      <p:nvPr/>
                    </p:nvSpPr>
                    <p:spPr bwMode="auto">
                      <a:xfrm>
                        <a:off x="4343673" y="3880051"/>
                        <a:ext cx="370004" cy="370004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6350"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932597">
                          <a:defRPr/>
                        </a:pPr>
                        <a:endParaRPr lang="en-US" sz="1836">
                          <a:solidFill>
                            <a:srgbClr val="FFFFFF"/>
                          </a:solidFill>
                          <a:latin typeface="Segoe UI"/>
                        </a:endParaRPr>
                      </a:p>
                    </p:txBody>
                  </p:sp>
                  <p:grpSp>
                    <p:nvGrpSpPr>
                      <p:cNvPr id="788" name="Group 787"/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4434372" y="3937805"/>
                        <a:ext cx="188608" cy="244926"/>
                        <a:chOff x="377825" y="1184276"/>
                        <a:chExt cx="1020763" cy="1325563"/>
                      </a:xfrm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p:grpSpPr>
                    <p:sp>
                      <p:nvSpPr>
                        <p:cNvPr id="789" name="Oval 788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395288" y="1184276"/>
                          <a:ext cx="985837" cy="187325"/>
                        </a:xfrm>
                        <a:prstGeom prst="ellipse">
                          <a:avLst/>
                        </a:pr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  <p:sp>
                      <p:nvSpPr>
                        <p:cNvPr id="790" name="Freeform 12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77825" y="1314451"/>
                          <a:ext cx="1020763" cy="1195388"/>
                        </a:xfrm>
                        <a:custGeom>
                          <a:avLst/>
                          <a:gdLst>
                            <a:gd name="T0" fmla="*/ 480 w 480"/>
                            <a:gd name="T1" fmla="*/ 135 h 562"/>
                            <a:gd name="T2" fmla="*/ 480 w 480"/>
                            <a:gd name="T3" fmla="*/ 0 h 562"/>
                            <a:gd name="T4" fmla="*/ 240 w 480"/>
                            <a:gd name="T5" fmla="*/ 43 h 562"/>
                            <a:gd name="T6" fmla="*/ 0 w 480"/>
                            <a:gd name="T7" fmla="*/ 0 h 562"/>
                            <a:gd name="T8" fmla="*/ 0 w 480"/>
                            <a:gd name="T9" fmla="*/ 135 h 562"/>
                            <a:gd name="T10" fmla="*/ 15 w 480"/>
                            <a:gd name="T11" fmla="*/ 153 h 562"/>
                            <a:gd name="T12" fmla="*/ 0 w 480"/>
                            <a:gd name="T13" fmla="*/ 170 h 562"/>
                            <a:gd name="T14" fmla="*/ 0 w 480"/>
                            <a:gd name="T15" fmla="*/ 322 h 562"/>
                            <a:gd name="T16" fmla="*/ 15 w 480"/>
                            <a:gd name="T17" fmla="*/ 340 h 562"/>
                            <a:gd name="T18" fmla="*/ 0 w 480"/>
                            <a:gd name="T19" fmla="*/ 358 h 562"/>
                            <a:gd name="T20" fmla="*/ 0 w 480"/>
                            <a:gd name="T21" fmla="*/ 510 h 562"/>
                            <a:gd name="T22" fmla="*/ 240 w 480"/>
                            <a:gd name="T23" fmla="*/ 562 h 562"/>
                            <a:gd name="T24" fmla="*/ 480 w 480"/>
                            <a:gd name="T25" fmla="*/ 510 h 562"/>
                            <a:gd name="T26" fmla="*/ 480 w 480"/>
                            <a:gd name="T27" fmla="*/ 358 h 562"/>
                            <a:gd name="T28" fmla="*/ 466 w 480"/>
                            <a:gd name="T29" fmla="*/ 340 h 562"/>
                            <a:gd name="T30" fmla="*/ 480 w 480"/>
                            <a:gd name="T31" fmla="*/ 322 h 562"/>
                            <a:gd name="T32" fmla="*/ 480 w 480"/>
                            <a:gd name="T33" fmla="*/ 170 h 562"/>
                            <a:gd name="T34" fmla="*/ 466 w 480"/>
                            <a:gd name="T35" fmla="*/ 153 h 562"/>
                            <a:gd name="T36" fmla="*/ 480 w 480"/>
                            <a:gd name="T37" fmla="*/ 135 h 562"/>
                            <a:gd name="T38" fmla="*/ 458 w 480"/>
                            <a:gd name="T39" fmla="*/ 352 h 562"/>
                            <a:gd name="T40" fmla="*/ 240 w 480"/>
                            <a:gd name="T41" fmla="*/ 380 h 562"/>
                            <a:gd name="T42" fmla="*/ 23 w 480"/>
                            <a:gd name="T43" fmla="*/ 352 h 562"/>
                            <a:gd name="T44" fmla="*/ 23 w 480"/>
                            <a:gd name="T45" fmla="*/ 333 h 562"/>
                            <a:gd name="T46" fmla="*/ 240 w 480"/>
                            <a:gd name="T47" fmla="*/ 361 h 562"/>
                            <a:gd name="T48" fmla="*/ 458 w 480"/>
                            <a:gd name="T49" fmla="*/ 333 h 562"/>
                            <a:gd name="T50" fmla="*/ 458 w 480"/>
                            <a:gd name="T51" fmla="*/ 352 h 562"/>
                            <a:gd name="T52" fmla="*/ 458 w 480"/>
                            <a:gd name="T53" fmla="*/ 166 h 562"/>
                            <a:gd name="T54" fmla="*/ 240 w 480"/>
                            <a:gd name="T55" fmla="*/ 195 h 562"/>
                            <a:gd name="T56" fmla="*/ 23 w 480"/>
                            <a:gd name="T57" fmla="*/ 166 h 562"/>
                            <a:gd name="T58" fmla="*/ 23 w 480"/>
                            <a:gd name="T59" fmla="*/ 147 h 562"/>
                            <a:gd name="T60" fmla="*/ 240 w 480"/>
                            <a:gd name="T61" fmla="*/ 176 h 562"/>
                            <a:gd name="T62" fmla="*/ 458 w 480"/>
                            <a:gd name="T63" fmla="*/ 147 h 562"/>
                            <a:gd name="T64" fmla="*/ 458 w 480"/>
                            <a:gd name="T65" fmla="*/ 166 h 5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80" h="562">
                              <a:moveTo>
                                <a:pt x="480" y="135"/>
                              </a:moveTo>
                              <a:cubicBezTo>
                                <a:pt x="480" y="0"/>
                                <a:pt x="480" y="0"/>
                                <a:pt x="480" y="0"/>
                              </a:cubicBezTo>
                              <a:cubicBezTo>
                                <a:pt x="448" y="31"/>
                                <a:pt x="326" y="43"/>
                                <a:pt x="240" y="43"/>
                              </a:cubicBezTo>
                              <a:cubicBezTo>
                                <a:pt x="154" y="43"/>
                                <a:pt x="32" y="31"/>
                                <a:pt x="0" y="0"/>
                              </a:cubicBezTo>
                              <a:cubicBezTo>
                                <a:pt x="0" y="135"/>
                                <a:pt x="0" y="135"/>
                                <a:pt x="0" y="135"/>
                              </a:cubicBezTo>
                              <a:cubicBezTo>
                                <a:pt x="0" y="141"/>
                                <a:pt x="5" y="147"/>
                                <a:pt x="15" y="153"/>
                              </a:cubicBezTo>
                              <a:cubicBezTo>
                                <a:pt x="5" y="158"/>
                                <a:pt x="0" y="164"/>
                                <a:pt x="0" y="170"/>
                              </a:cubicBezTo>
                              <a:cubicBezTo>
                                <a:pt x="0" y="322"/>
                                <a:pt x="0" y="322"/>
                                <a:pt x="0" y="322"/>
                              </a:cubicBezTo>
                              <a:cubicBezTo>
                                <a:pt x="0" y="329"/>
                                <a:pt x="5" y="335"/>
                                <a:pt x="15" y="340"/>
                              </a:cubicBezTo>
                              <a:cubicBezTo>
                                <a:pt x="5" y="346"/>
                                <a:pt x="0" y="351"/>
                                <a:pt x="0" y="358"/>
                              </a:cubicBezTo>
                              <a:cubicBezTo>
                                <a:pt x="0" y="510"/>
                                <a:pt x="0" y="510"/>
                                <a:pt x="0" y="510"/>
                              </a:cubicBezTo>
                              <a:cubicBezTo>
                                <a:pt x="0" y="538"/>
                                <a:pt x="108" y="562"/>
                                <a:pt x="240" y="562"/>
                              </a:cubicBezTo>
                              <a:cubicBezTo>
                                <a:pt x="373" y="562"/>
                                <a:pt x="480" y="538"/>
                                <a:pt x="480" y="510"/>
                              </a:cubicBezTo>
                              <a:cubicBezTo>
                                <a:pt x="480" y="358"/>
                                <a:pt x="480" y="358"/>
                                <a:pt x="480" y="358"/>
                              </a:cubicBezTo>
                              <a:cubicBezTo>
                                <a:pt x="480" y="351"/>
                                <a:pt x="475" y="346"/>
                                <a:pt x="466" y="340"/>
                              </a:cubicBezTo>
                              <a:cubicBezTo>
                                <a:pt x="475" y="335"/>
                                <a:pt x="480" y="329"/>
                                <a:pt x="480" y="322"/>
                              </a:cubicBezTo>
                              <a:cubicBezTo>
                                <a:pt x="480" y="170"/>
                                <a:pt x="480" y="170"/>
                                <a:pt x="480" y="170"/>
                              </a:cubicBezTo>
                              <a:cubicBezTo>
                                <a:pt x="480" y="164"/>
                                <a:pt x="475" y="158"/>
                                <a:pt x="466" y="153"/>
                              </a:cubicBezTo>
                              <a:cubicBezTo>
                                <a:pt x="475" y="147"/>
                                <a:pt x="480" y="141"/>
                                <a:pt x="480" y="135"/>
                              </a:cubicBezTo>
                              <a:close/>
                              <a:moveTo>
                                <a:pt x="458" y="352"/>
                              </a:moveTo>
                              <a:cubicBezTo>
                                <a:pt x="458" y="368"/>
                                <a:pt x="361" y="380"/>
                                <a:pt x="240" y="380"/>
                              </a:cubicBezTo>
                              <a:cubicBezTo>
                                <a:pt x="120" y="380"/>
                                <a:pt x="23" y="368"/>
                                <a:pt x="23" y="352"/>
                              </a:cubicBezTo>
                              <a:cubicBezTo>
                                <a:pt x="23" y="333"/>
                                <a:pt x="23" y="333"/>
                                <a:pt x="23" y="333"/>
                              </a:cubicBezTo>
                              <a:cubicBezTo>
                                <a:pt x="23" y="349"/>
                                <a:pt x="120" y="361"/>
                                <a:pt x="240" y="361"/>
                              </a:cubicBezTo>
                              <a:cubicBezTo>
                                <a:pt x="361" y="361"/>
                                <a:pt x="458" y="349"/>
                                <a:pt x="458" y="333"/>
                              </a:cubicBezTo>
                              <a:lnTo>
                                <a:pt x="458" y="352"/>
                              </a:lnTo>
                              <a:close/>
                              <a:moveTo>
                                <a:pt x="458" y="166"/>
                              </a:moveTo>
                              <a:cubicBezTo>
                                <a:pt x="458" y="182"/>
                                <a:pt x="361" y="195"/>
                                <a:pt x="240" y="195"/>
                              </a:cubicBezTo>
                              <a:cubicBezTo>
                                <a:pt x="120" y="195"/>
                                <a:pt x="23" y="182"/>
                                <a:pt x="23" y="166"/>
                              </a:cubicBezTo>
                              <a:cubicBezTo>
                                <a:pt x="23" y="147"/>
                                <a:pt x="23" y="147"/>
                                <a:pt x="23" y="147"/>
                              </a:cubicBezTo>
                              <a:cubicBezTo>
                                <a:pt x="23" y="163"/>
                                <a:pt x="120" y="176"/>
                                <a:pt x="240" y="176"/>
                              </a:cubicBezTo>
                              <a:cubicBezTo>
                                <a:pt x="361" y="176"/>
                                <a:pt x="458" y="163"/>
                                <a:pt x="458" y="147"/>
                              </a:cubicBezTo>
                              <a:lnTo>
                                <a:pt x="458" y="166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3260" tIns="46630" rIns="93260" bIns="46630" numCol="1" anchor="t" anchorCtr="0" compatLnSpc="1">
                          <a:prstTxWarp prst="textNoShape">
                            <a:avLst/>
                          </a:prstTxWarp>
                        </a:bodyPr>
                        <a:lstStyle>
                          <a:defPPr>
                            <a:defRPr lang="en-US"/>
                          </a:defPPr>
                          <a:lvl1pPr marL="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1pPr>
                          <a:lvl2pPr marL="45718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2pPr>
                          <a:lvl3pPr marL="914363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3pPr>
                          <a:lvl4pPr marL="1371545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4pPr>
                          <a:lvl5pPr marL="1828727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5pPr>
                          <a:lvl6pPr marL="2285909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6pPr>
                          <a:lvl7pPr marL="2743090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7pPr>
                          <a:lvl8pPr marL="3200272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8pPr>
                          <a:lvl9pPr marL="3657454" algn="l" defTabSz="914363" rtl="0" eaLnBrk="1" latinLnBrk="0" hangingPunct="1">
                            <a:defRPr sz="1800" kern="1200">
                              <a:solidFill>
                                <a:schemeClr val="tx1"/>
                              </a:solidFill>
                              <a:latin typeface="+mn-lt"/>
                              <a:ea typeface="+mn-ea"/>
                              <a:cs typeface="+mn-cs"/>
                            </a:defRPr>
                          </a:lvl9pPr>
                        </a:lstStyle>
                        <a:p>
                          <a:pPr defTabSz="932559">
                            <a:defRPr/>
                          </a:pPr>
                          <a:endParaRPr lang="en-US" sz="1836">
                            <a:solidFill>
                              <a:srgbClr val="FFFFFF"/>
                            </a:solidFill>
                            <a:latin typeface="Segoe UI"/>
                          </a:endParaRPr>
                        </a:p>
                      </p:txBody>
                    </p:sp>
                  </p:grpSp>
                </p:grpSp>
              </p:grpSp>
            </p:grpSp>
          </p:grpSp>
          <p:grpSp>
            <p:nvGrpSpPr>
              <p:cNvPr id="3" name="Group 2"/>
              <p:cNvGrpSpPr/>
              <p:nvPr/>
            </p:nvGrpSpPr>
            <p:grpSpPr>
              <a:xfrm>
                <a:off x="6478896" y="5106179"/>
                <a:ext cx="154880" cy="204456"/>
                <a:chOff x="3458498" y="5347343"/>
                <a:chExt cx="154880" cy="204456"/>
              </a:xfrm>
            </p:grpSpPr>
            <p:sp>
              <p:nvSpPr>
                <p:cNvPr id="520" name="Freeform: Shape 519"/>
                <p:cNvSpPr/>
                <p:nvPr/>
              </p:nvSpPr>
              <p:spPr>
                <a:xfrm>
                  <a:off x="3458498" y="5347343"/>
                  <a:ext cx="154880" cy="204456"/>
                </a:xfrm>
                <a:custGeom>
                  <a:avLst/>
                  <a:gdLst>
                    <a:gd name="connsiteX0" fmla="*/ 846311 w 1692609"/>
                    <a:gd name="connsiteY0" fmla="*/ 0 h 2234420"/>
                    <a:gd name="connsiteX1" fmla="*/ 1444733 w 1692609"/>
                    <a:gd name="connsiteY1" fmla="*/ 247879 h 2234420"/>
                    <a:gd name="connsiteX2" fmla="*/ 1444733 w 1692609"/>
                    <a:gd name="connsiteY2" fmla="*/ 1444727 h 2234420"/>
                    <a:gd name="connsiteX3" fmla="*/ 846311 w 1692609"/>
                    <a:gd name="connsiteY3" fmla="*/ 2234420 h 2234420"/>
                    <a:gd name="connsiteX4" fmla="*/ 247881 w 1692609"/>
                    <a:gd name="connsiteY4" fmla="*/ 1444727 h 2234420"/>
                    <a:gd name="connsiteX5" fmla="*/ 247881 w 1692609"/>
                    <a:gd name="connsiteY5" fmla="*/ 247879 h 2234420"/>
                    <a:gd name="connsiteX6" fmla="*/ 846311 w 1692609"/>
                    <a:gd name="connsiteY6" fmla="*/ 0 h 2234420"/>
                    <a:gd name="connsiteX7" fmla="*/ 846311 w 1692609"/>
                    <a:gd name="connsiteY7" fmla="*/ 153940 h 2234420"/>
                    <a:gd name="connsiteX8" fmla="*/ 153936 w 1692609"/>
                    <a:gd name="connsiteY8" fmla="*/ 846305 h 2234420"/>
                    <a:gd name="connsiteX9" fmla="*/ 846311 w 1692609"/>
                    <a:gd name="connsiteY9" fmla="*/ 1538672 h 2234420"/>
                    <a:gd name="connsiteX10" fmla="*/ 1538678 w 1692609"/>
                    <a:gd name="connsiteY10" fmla="*/ 846305 h 2234420"/>
                    <a:gd name="connsiteX11" fmla="*/ 846311 w 1692609"/>
                    <a:gd name="connsiteY11" fmla="*/ 153940 h 22344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692609" h="2234420">
                      <a:moveTo>
                        <a:pt x="846311" y="0"/>
                      </a:moveTo>
                      <a:cubicBezTo>
                        <a:pt x="1062893" y="0"/>
                        <a:pt x="1279484" y="82625"/>
                        <a:pt x="1444733" y="247879"/>
                      </a:cubicBezTo>
                      <a:cubicBezTo>
                        <a:pt x="1775235" y="578380"/>
                        <a:pt x="1775235" y="1114227"/>
                        <a:pt x="1444733" y="1444727"/>
                      </a:cubicBezTo>
                      <a:cubicBezTo>
                        <a:pt x="1213382" y="1676084"/>
                        <a:pt x="1013906" y="1939313"/>
                        <a:pt x="846311" y="2234420"/>
                      </a:cubicBezTo>
                      <a:cubicBezTo>
                        <a:pt x="678708" y="1939313"/>
                        <a:pt x="479235" y="1676084"/>
                        <a:pt x="247881" y="1444727"/>
                      </a:cubicBezTo>
                      <a:cubicBezTo>
                        <a:pt x="-82627" y="1114227"/>
                        <a:pt x="-82627" y="578380"/>
                        <a:pt x="247881" y="247879"/>
                      </a:cubicBezTo>
                      <a:cubicBezTo>
                        <a:pt x="413127" y="82627"/>
                        <a:pt x="629718" y="0"/>
                        <a:pt x="846311" y="0"/>
                      </a:cubicBezTo>
                      <a:close/>
                      <a:moveTo>
                        <a:pt x="846311" y="153940"/>
                      </a:moveTo>
                      <a:cubicBezTo>
                        <a:pt x="463922" y="153940"/>
                        <a:pt x="153936" y="463919"/>
                        <a:pt x="153936" y="846305"/>
                      </a:cubicBezTo>
                      <a:cubicBezTo>
                        <a:pt x="153936" y="1228687"/>
                        <a:pt x="463922" y="1538672"/>
                        <a:pt x="846311" y="1538672"/>
                      </a:cubicBezTo>
                      <a:cubicBezTo>
                        <a:pt x="1228692" y="1538672"/>
                        <a:pt x="1538678" y="1228687"/>
                        <a:pt x="1538678" y="846305"/>
                      </a:cubicBezTo>
                      <a:cubicBezTo>
                        <a:pt x="1538678" y="463925"/>
                        <a:pt x="1228692" y="153940"/>
                        <a:pt x="846311" y="153940"/>
                      </a:cubicBez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 w="6350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>
                  <a:defPPr>
                    <a:defRPr lang="en-US"/>
                  </a:defPPr>
                  <a:lvl1pPr marL="0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82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63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545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727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909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090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272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454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932597">
                    <a:defRPr/>
                  </a:pPr>
                  <a:endParaRPr lang="en-US" sz="1836" b="1" kern="0">
                    <a:solidFill>
                      <a:srgbClr val="505050">
                        <a:lumMod val="85000"/>
                        <a:lumOff val="15000"/>
                      </a:srgbClr>
                    </a:solidFill>
                    <a:latin typeface="Segoe UI"/>
                  </a:endParaRPr>
                </a:p>
              </p:txBody>
            </p:sp>
            <p:sp>
              <p:nvSpPr>
                <p:cNvPr id="521" name="Oval 520"/>
                <p:cNvSpPr/>
                <p:nvPr/>
              </p:nvSpPr>
              <p:spPr bwMode="auto">
                <a:xfrm>
                  <a:off x="3472366" y="5360909"/>
                  <a:ext cx="127143" cy="127142"/>
                </a:xfrm>
                <a:prstGeom prst="ellipse">
                  <a:avLst/>
                </a:prstGeom>
                <a:solidFill>
                  <a:schemeClr val="bg1"/>
                </a:solidFill>
                <a:ln w="6350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597">
                    <a:defRPr/>
                  </a:pPr>
                  <a:endParaRPr lang="en-US" sz="1836">
                    <a:solidFill>
                      <a:srgbClr val="FFFFFF"/>
                    </a:solidFill>
                    <a:latin typeface="Segoe UI"/>
                  </a:endParaRPr>
                </a:p>
              </p:txBody>
            </p:sp>
            <p:sp>
              <p:nvSpPr>
                <p:cNvPr id="522" name="Freeform 123"/>
                <p:cNvSpPr>
                  <a:spLocks noEditPoints="1"/>
                </p:cNvSpPr>
                <p:nvPr/>
              </p:nvSpPr>
              <p:spPr bwMode="auto">
                <a:xfrm>
                  <a:off x="3503533" y="5389020"/>
                  <a:ext cx="64811" cy="75897"/>
                </a:xfrm>
                <a:custGeom>
                  <a:avLst/>
                  <a:gdLst>
                    <a:gd name="T0" fmla="*/ 480 w 480"/>
                    <a:gd name="T1" fmla="*/ 135 h 562"/>
                    <a:gd name="T2" fmla="*/ 480 w 480"/>
                    <a:gd name="T3" fmla="*/ 0 h 562"/>
                    <a:gd name="T4" fmla="*/ 240 w 480"/>
                    <a:gd name="T5" fmla="*/ 43 h 562"/>
                    <a:gd name="T6" fmla="*/ 0 w 480"/>
                    <a:gd name="T7" fmla="*/ 0 h 562"/>
                    <a:gd name="T8" fmla="*/ 0 w 480"/>
                    <a:gd name="T9" fmla="*/ 135 h 562"/>
                    <a:gd name="T10" fmla="*/ 15 w 480"/>
                    <a:gd name="T11" fmla="*/ 153 h 562"/>
                    <a:gd name="T12" fmla="*/ 0 w 480"/>
                    <a:gd name="T13" fmla="*/ 170 h 562"/>
                    <a:gd name="T14" fmla="*/ 0 w 480"/>
                    <a:gd name="T15" fmla="*/ 322 h 562"/>
                    <a:gd name="T16" fmla="*/ 15 w 480"/>
                    <a:gd name="T17" fmla="*/ 340 h 562"/>
                    <a:gd name="T18" fmla="*/ 0 w 480"/>
                    <a:gd name="T19" fmla="*/ 358 h 562"/>
                    <a:gd name="T20" fmla="*/ 0 w 480"/>
                    <a:gd name="T21" fmla="*/ 510 h 562"/>
                    <a:gd name="T22" fmla="*/ 240 w 480"/>
                    <a:gd name="T23" fmla="*/ 562 h 562"/>
                    <a:gd name="T24" fmla="*/ 480 w 480"/>
                    <a:gd name="T25" fmla="*/ 510 h 562"/>
                    <a:gd name="T26" fmla="*/ 480 w 480"/>
                    <a:gd name="T27" fmla="*/ 358 h 562"/>
                    <a:gd name="T28" fmla="*/ 466 w 480"/>
                    <a:gd name="T29" fmla="*/ 340 h 562"/>
                    <a:gd name="T30" fmla="*/ 480 w 480"/>
                    <a:gd name="T31" fmla="*/ 322 h 562"/>
                    <a:gd name="T32" fmla="*/ 480 w 480"/>
                    <a:gd name="T33" fmla="*/ 170 h 562"/>
                    <a:gd name="T34" fmla="*/ 466 w 480"/>
                    <a:gd name="T35" fmla="*/ 153 h 562"/>
                    <a:gd name="T36" fmla="*/ 480 w 480"/>
                    <a:gd name="T37" fmla="*/ 135 h 562"/>
                    <a:gd name="T38" fmla="*/ 458 w 480"/>
                    <a:gd name="T39" fmla="*/ 352 h 562"/>
                    <a:gd name="T40" fmla="*/ 240 w 480"/>
                    <a:gd name="T41" fmla="*/ 380 h 562"/>
                    <a:gd name="T42" fmla="*/ 23 w 480"/>
                    <a:gd name="T43" fmla="*/ 352 h 562"/>
                    <a:gd name="T44" fmla="*/ 23 w 480"/>
                    <a:gd name="T45" fmla="*/ 333 h 562"/>
                    <a:gd name="T46" fmla="*/ 240 w 480"/>
                    <a:gd name="T47" fmla="*/ 361 h 562"/>
                    <a:gd name="T48" fmla="*/ 458 w 480"/>
                    <a:gd name="T49" fmla="*/ 333 h 562"/>
                    <a:gd name="T50" fmla="*/ 458 w 480"/>
                    <a:gd name="T51" fmla="*/ 352 h 562"/>
                    <a:gd name="T52" fmla="*/ 458 w 480"/>
                    <a:gd name="T53" fmla="*/ 166 h 562"/>
                    <a:gd name="T54" fmla="*/ 240 w 480"/>
                    <a:gd name="T55" fmla="*/ 195 h 562"/>
                    <a:gd name="T56" fmla="*/ 23 w 480"/>
                    <a:gd name="T57" fmla="*/ 166 h 562"/>
                    <a:gd name="T58" fmla="*/ 23 w 480"/>
                    <a:gd name="T59" fmla="*/ 147 h 562"/>
                    <a:gd name="T60" fmla="*/ 240 w 480"/>
                    <a:gd name="T61" fmla="*/ 176 h 562"/>
                    <a:gd name="T62" fmla="*/ 458 w 480"/>
                    <a:gd name="T63" fmla="*/ 147 h 562"/>
                    <a:gd name="T64" fmla="*/ 458 w 480"/>
                    <a:gd name="T65" fmla="*/ 166 h 5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480" h="562">
                      <a:moveTo>
                        <a:pt x="480" y="135"/>
                      </a:moveTo>
                      <a:cubicBezTo>
                        <a:pt x="480" y="0"/>
                        <a:pt x="480" y="0"/>
                        <a:pt x="480" y="0"/>
                      </a:cubicBezTo>
                      <a:cubicBezTo>
                        <a:pt x="448" y="31"/>
                        <a:pt x="326" y="43"/>
                        <a:pt x="240" y="43"/>
                      </a:cubicBezTo>
                      <a:cubicBezTo>
                        <a:pt x="154" y="43"/>
                        <a:pt x="32" y="31"/>
                        <a:pt x="0" y="0"/>
                      </a:cubicBezTo>
                      <a:cubicBezTo>
                        <a:pt x="0" y="135"/>
                        <a:pt x="0" y="135"/>
                        <a:pt x="0" y="135"/>
                      </a:cubicBezTo>
                      <a:cubicBezTo>
                        <a:pt x="0" y="141"/>
                        <a:pt x="5" y="147"/>
                        <a:pt x="15" y="153"/>
                      </a:cubicBezTo>
                      <a:cubicBezTo>
                        <a:pt x="5" y="158"/>
                        <a:pt x="0" y="164"/>
                        <a:pt x="0" y="170"/>
                      </a:cubicBezTo>
                      <a:cubicBezTo>
                        <a:pt x="0" y="322"/>
                        <a:pt x="0" y="322"/>
                        <a:pt x="0" y="322"/>
                      </a:cubicBezTo>
                      <a:cubicBezTo>
                        <a:pt x="0" y="329"/>
                        <a:pt x="5" y="335"/>
                        <a:pt x="15" y="340"/>
                      </a:cubicBezTo>
                      <a:cubicBezTo>
                        <a:pt x="5" y="346"/>
                        <a:pt x="0" y="351"/>
                        <a:pt x="0" y="358"/>
                      </a:cubicBezTo>
                      <a:cubicBezTo>
                        <a:pt x="0" y="510"/>
                        <a:pt x="0" y="510"/>
                        <a:pt x="0" y="510"/>
                      </a:cubicBezTo>
                      <a:cubicBezTo>
                        <a:pt x="0" y="538"/>
                        <a:pt x="108" y="562"/>
                        <a:pt x="240" y="562"/>
                      </a:cubicBezTo>
                      <a:cubicBezTo>
                        <a:pt x="373" y="562"/>
                        <a:pt x="480" y="538"/>
                        <a:pt x="480" y="510"/>
                      </a:cubicBezTo>
                      <a:cubicBezTo>
                        <a:pt x="480" y="358"/>
                        <a:pt x="480" y="358"/>
                        <a:pt x="480" y="358"/>
                      </a:cubicBezTo>
                      <a:cubicBezTo>
                        <a:pt x="480" y="351"/>
                        <a:pt x="475" y="346"/>
                        <a:pt x="466" y="340"/>
                      </a:cubicBezTo>
                      <a:cubicBezTo>
                        <a:pt x="475" y="335"/>
                        <a:pt x="480" y="329"/>
                        <a:pt x="480" y="322"/>
                      </a:cubicBezTo>
                      <a:cubicBezTo>
                        <a:pt x="480" y="170"/>
                        <a:pt x="480" y="170"/>
                        <a:pt x="480" y="170"/>
                      </a:cubicBezTo>
                      <a:cubicBezTo>
                        <a:pt x="480" y="164"/>
                        <a:pt x="475" y="158"/>
                        <a:pt x="466" y="153"/>
                      </a:cubicBezTo>
                      <a:cubicBezTo>
                        <a:pt x="475" y="147"/>
                        <a:pt x="480" y="141"/>
                        <a:pt x="480" y="135"/>
                      </a:cubicBezTo>
                      <a:close/>
                      <a:moveTo>
                        <a:pt x="458" y="352"/>
                      </a:moveTo>
                      <a:cubicBezTo>
                        <a:pt x="458" y="368"/>
                        <a:pt x="361" y="380"/>
                        <a:pt x="240" y="380"/>
                      </a:cubicBezTo>
                      <a:cubicBezTo>
                        <a:pt x="120" y="380"/>
                        <a:pt x="23" y="368"/>
                        <a:pt x="23" y="352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49"/>
                        <a:pt x="120" y="361"/>
                        <a:pt x="240" y="361"/>
                      </a:cubicBezTo>
                      <a:cubicBezTo>
                        <a:pt x="361" y="361"/>
                        <a:pt x="458" y="349"/>
                        <a:pt x="458" y="333"/>
                      </a:cubicBezTo>
                      <a:lnTo>
                        <a:pt x="458" y="352"/>
                      </a:lnTo>
                      <a:close/>
                      <a:moveTo>
                        <a:pt x="458" y="166"/>
                      </a:moveTo>
                      <a:cubicBezTo>
                        <a:pt x="458" y="182"/>
                        <a:pt x="361" y="195"/>
                        <a:pt x="240" y="195"/>
                      </a:cubicBezTo>
                      <a:cubicBezTo>
                        <a:pt x="120" y="195"/>
                        <a:pt x="23" y="182"/>
                        <a:pt x="23" y="166"/>
                      </a:cubicBezTo>
                      <a:cubicBezTo>
                        <a:pt x="23" y="147"/>
                        <a:pt x="23" y="147"/>
                        <a:pt x="23" y="147"/>
                      </a:cubicBezTo>
                      <a:cubicBezTo>
                        <a:pt x="23" y="163"/>
                        <a:pt x="120" y="176"/>
                        <a:pt x="240" y="176"/>
                      </a:cubicBezTo>
                      <a:cubicBezTo>
                        <a:pt x="361" y="176"/>
                        <a:pt x="458" y="163"/>
                        <a:pt x="458" y="147"/>
                      </a:cubicBezTo>
                      <a:lnTo>
                        <a:pt x="458" y="166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8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63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545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727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909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09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27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454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932559">
                    <a:defRPr/>
                  </a:pPr>
                  <a:endParaRPr lang="en-US" sz="1836">
                    <a:solidFill>
                      <a:srgbClr val="FFFFFF"/>
                    </a:solidFill>
                    <a:latin typeface="Segoe UI"/>
                  </a:endParaRPr>
                </a:p>
              </p:txBody>
            </p:sp>
          </p:grpSp>
          <p:grpSp>
            <p:nvGrpSpPr>
              <p:cNvPr id="526" name="Group 525"/>
              <p:cNvGrpSpPr/>
              <p:nvPr/>
            </p:nvGrpSpPr>
            <p:grpSpPr>
              <a:xfrm>
                <a:off x="6237448" y="5328658"/>
                <a:ext cx="154880" cy="204456"/>
                <a:chOff x="3458498" y="5347343"/>
                <a:chExt cx="154880" cy="204456"/>
              </a:xfrm>
            </p:grpSpPr>
            <p:sp>
              <p:nvSpPr>
                <p:cNvPr id="527" name="Freeform: Shape 526"/>
                <p:cNvSpPr/>
                <p:nvPr/>
              </p:nvSpPr>
              <p:spPr>
                <a:xfrm>
                  <a:off x="3458498" y="5347343"/>
                  <a:ext cx="154880" cy="204456"/>
                </a:xfrm>
                <a:custGeom>
                  <a:avLst/>
                  <a:gdLst>
                    <a:gd name="connsiteX0" fmla="*/ 846311 w 1692609"/>
                    <a:gd name="connsiteY0" fmla="*/ 0 h 2234420"/>
                    <a:gd name="connsiteX1" fmla="*/ 1444733 w 1692609"/>
                    <a:gd name="connsiteY1" fmla="*/ 247879 h 2234420"/>
                    <a:gd name="connsiteX2" fmla="*/ 1444733 w 1692609"/>
                    <a:gd name="connsiteY2" fmla="*/ 1444727 h 2234420"/>
                    <a:gd name="connsiteX3" fmla="*/ 846311 w 1692609"/>
                    <a:gd name="connsiteY3" fmla="*/ 2234420 h 2234420"/>
                    <a:gd name="connsiteX4" fmla="*/ 247881 w 1692609"/>
                    <a:gd name="connsiteY4" fmla="*/ 1444727 h 2234420"/>
                    <a:gd name="connsiteX5" fmla="*/ 247881 w 1692609"/>
                    <a:gd name="connsiteY5" fmla="*/ 247879 h 2234420"/>
                    <a:gd name="connsiteX6" fmla="*/ 846311 w 1692609"/>
                    <a:gd name="connsiteY6" fmla="*/ 0 h 2234420"/>
                    <a:gd name="connsiteX7" fmla="*/ 846311 w 1692609"/>
                    <a:gd name="connsiteY7" fmla="*/ 153940 h 2234420"/>
                    <a:gd name="connsiteX8" fmla="*/ 153936 w 1692609"/>
                    <a:gd name="connsiteY8" fmla="*/ 846305 h 2234420"/>
                    <a:gd name="connsiteX9" fmla="*/ 846311 w 1692609"/>
                    <a:gd name="connsiteY9" fmla="*/ 1538672 h 2234420"/>
                    <a:gd name="connsiteX10" fmla="*/ 1538678 w 1692609"/>
                    <a:gd name="connsiteY10" fmla="*/ 846305 h 2234420"/>
                    <a:gd name="connsiteX11" fmla="*/ 846311 w 1692609"/>
                    <a:gd name="connsiteY11" fmla="*/ 153940 h 22344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692609" h="2234420">
                      <a:moveTo>
                        <a:pt x="846311" y="0"/>
                      </a:moveTo>
                      <a:cubicBezTo>
                        <a:pt x="1062893" y="0"/>
                        <a:pt x="1279484" y="82625"/>
                        <a:pt x="1444733" y="247879"/>
                      </a:cubicBezTo>
                      <a:cubicBezTo>
                        <a:pt x="1775235" y="578380"/>
                        <a:pt x="1775235" y="1114227"/>
                        <a:pt x="1444733" y="1444727"/>
                      </a:cubicBezTo>
                      <a:cubicBezTo>
                        <a:pt x="1213382" y="1676084"/>
                        <a:pt x="1013906" y="1939313"/>
                        <a:pt x="846311" y="2234420"/>
                      </a:cubicBezTo>
                      <a:cubicBezTo>
                        <a:pt x="678708" y="1939313"/>
                        <a:pt x="479235" y="1676084"/>
                        <a:pt x="247881" y="1444727"/>
                      </a:cubicBezTo>
                      <a:cubicBezTo>
                        <a:pt x="-82627" y="1114227"/>
                        <a:pt x="-82627" y="578380"/>
                        <a:pt x="247881" y="247879"/>
                      </a:cubicBezTo>
                      <a:cubicBezTo>
                        <a:pt x="413127" y="82627"/>
                        <a:pt x="629718" y="0"/>
                        <a:pt x="846311" y="0"/>
                      </a:cubicBezTo>
                      <a:close/>
                      <a:moveTo>
                        <a:pt x="846311" y="153940"/>
                      </a:moveTo>
                      <a:cubicBezTo>
                        <a:pt x="463922" y="153940"/>
                        <a:pt x="153936" y="463919"/>
                        <a:pt x="153936" y="846305"/>
                      </a:cubicBezTo>
                      <a:cubicBezTo>
                        <a:pt x="153936" y="1228687"/>
                        <a:pt x="463922" y="1538672"/>
                        <a:pt x="846311" y="1538672"/>
                      </a:cubicBezTo>
                      <a:cubicBezTo>
                        <a:pt x="1228692" y="1538672"/>
                        <a:pt x="1538678" y="1228687"/>
                        <a:pt x="1538678" y="846305"/>
                      </a:cubicBezTo>
                      <a:cubicBezTo>
                        <a:pt x="1538678" y="463925"/>
                        <a:pt x="1228692" y="153940"/>
                        <a:pt x="846311" y="153940"/>
                      </a:cubicBez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 w="6350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>
                  <a:defPPr>
                    <a:defRPr lang="en-US"/>
                  </a:defPPr>
                  <a:lvl1pPr marL="0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82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63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545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727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909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090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272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454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932597">
                    <a:defRPr/>
                  </a:pPr>
                  <a:endParaRPr lang="en-US" sz="1836" b="1" kern="0">
                    <a:solidFill>
                      <a:srgbClr val="505050">
                        <a:lumMod val="85000"/>
                        <a:lumOff val="15000"/>
                      </a:srgbClr>
                    </a:solidFill>
                    <a:latin typeface="Segoe UI"/>
                  </a:endParaRPr>
                </a:p>
              </p:txBody>
            </p:sp>
            <p:sp>
              <p:nvSpPr>
                <p:cNvPr id="528" name="Oval 527"/>
                <p:cNvSpPr/>
                <p:nvPr/>
              </p:nvSpPr>
              <p:spPr bwMode="auto">
                <a:xfrm>
                  <a:off x="3472366" y="5360909"/>
                  <a:ext cx="127143" cy="127142"/>
                </a:xfrm>
                <a:prstGeom prst="ellipse">
                  <a:avLst/>
                </a:prstGeom>
                <a:solidFill>
                  <a:schemeClr val="bg1"/>
                </a:solidFill>
                <a:ln w="6350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597">
                    <a:defRPr/>
                  </a:pPr>
                  <a:endParaRPr lang="en-US" sz="1836">
                    <a:solidFill>
                      <a:srgbClr val="FFFFFF"/>
                    </a:solidFill>
                    <a:latin typeface="Segoe UI"/>
                  </a:endParaRPr>
                </a:p>
              </p:txBody>
            </p:sp>
            <p:sp>
              <p:nvSpPr>
                <p:cNvPr id="529" name="Freeform 123"/>
                <p:cNvSpPr>
                  <a:spLocks noEditPoints="1"/>
                </p:cNvSpPr>
                <p:nvPr/>
              </p:nvSpPr>
              <p:spPr bwMode="auto">
                <a:xfrm>
                  <a:off x="3503533" y="5389020"/>
                  <a:ext cx="64811" cy="75897"/>
                </a:xfrm>
                <a:custGeom>
                  <a:avLst/>
                  <a:gdLst>
                    <a:gd name="T0" fmla="*/ 480 w 480"/>
                    <a:gd name="T1" fmla="*/ 135 h 562"/>
                    <a:gd name="T2" fmla="*/ 480 w 480"/>
                    <a:gd name="T3" fmla="*/ 0 h 562"/>
                    <a:gd name="T4" fmla="*/ 240 w 480"/>
                    <a:gd name="T5" fmla="*/ 43 h 562"/>
                    <a:gd name="T6" fmla="*/ 0 w 480"/>
                    <a:gd name="T7" fmla="*/ 0 h 562"/>
                    <a:gd name="T8" fmla="*/ 0 w 480"/>
                    <a:gd name="T9" fmla="*/ 135 h 562"/>
                    <a:gd name="T10" fmla="*/ 15 w 480"/>
                    <a:gd name="T11" fmla="*/ 153 h 562"/>
                    <a:gd name="T12" fmla="*/ 0 w 480"/>
                    <a:gd name="T13" fmla="*/ 170 h 562"/>
                    <a:gd name="T14" fmla="*/ 0 w 480"/>
                    <a:gd name="T15" fmla="*/ 322 h 562"/>
                    <a:gd name="T16" fmla="*/ 15 w 480"/>
                    <a:gd name="T17" fmla="*/ 340 h 562"/>
                    <a:gd name="T18" fmla="*/ 0 w 480"/>
                    <a:gd name="T19" fmla="*/ 358 h 562"/>
                    <a:gd name="T20" fmla="*/ 0 w 480"/>
                    <a:gd name="T21" fmla="*/ 510 h 562"/>
                    <a:gd name="T22" fmla="*/ 240 w 480"/>
                    <a:gd name="T23" fmla="*/ 562 h 562"/>
                    <a:gd name="T24" fmla="*/ 480 w 480"/>
                    <a:gd name="T25" fmla="*/ 510 h 562"/>
                    <a:gd name="T26" fmla="*/ 480 w 480"/>
                    <a:gd name="T27" fmla="*/ 358 h 562"/>
                    <a:gd name="T28" fmla="*/ 466 w 480"/>
                    <a:gd name="T29" fmla="*/ 340 h 562"/>
                    <a:gd name="T30" fmla="*/ 480 w 480"/>
                    <a:gd name="T31" fmla="*/ 322 h 562"/>
                    <a:gd name="T32" fmla="*/ 480 w 480"/>
                    <a:gd name="T33" fmla="*/ 170 h 562"/>
                    <a:gd name="T34" fmla="*/ 466 w 480"/>
                    <a:gd name="T35" fmla="*/ 153 h 562"/>
                    <a:gd name="T36" fmla="*/ 480 w 480"/>
                    <a:gd name="T37" fmla="*/ 135 h 562"/>
                    <a:gd name="T38" fmla="*/ 458 w 480"/>
                    <a:gd name="T39" fmla="*/ 352 h 562"/>
                    <a:gd name="T40" fmla="*/ 240 w 480"/>
                    <a:gd name="T41" fmla="*/ 380 h 562"/>
                    <a:gd name="T42" fmla="*/ 23 w 480"/>
                    <a:gd name="T43" fmla="*/ 352 h 562"/>
                    <a:gd name="T44" fmla="*/ 23 w 480"/>
                    <a:gd name="T45" fmla="*/ 333 h 562"/>
                    <a:gd name="T46" fmla="*/ 240 w 480"/>
                    <a:gd name="T47" fmla="*/ 361 h 562"/>
                    <a:gd name="T48" fmla="*/ 458 w 480"/>
                    <a:gd name="T49" fmla="*/ 333 h 562"/>
                    <a:gd name="T50" fmla="*/ 458 w 480"/>
                    <a:gd name="T51" fmla="*/ 352 h 562"/>
                    <a:gd name="T52" fmla="*/ 458 w 480"/>
                    <a:gd name="T53" fmla="*/ 166 h 562"/>
                    <a:gd name="T54" fmla="*/ 240 w 480"/>
                    <a:gd name="T55" fmla="*/ 195 h 562"/>
                    <a:gd name="T56" fmla="*/ 23 w 480"/>
                    <a:gd name="T57" fmla="*/ 166 h 562"/>
                    <a:gd name="T58" fmla="*/ 23 w 480"/>
                    <a:gd name="T59" fmla="*/ 147 h 562"/>
                    <a:gd name="T60" fmla="*/ 240 w 480"/>
                    <a:gd name="T61" fmla="*/ 176 h 562"/>
                    <a:gd name="T62" fmla="*/ 458 w 480"/>
                    <a:gd name="T63" fmla="*/ 147 h 562"/>
                    <a:gd name="T64" fmla="*/ 458 w 480"/>
                    <a:gd name="T65" fmla="*/ 166 h 5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480" h="562">
                      <a:moveTo>
                        <a:pt x="480" y="135"/>
                      </a:moveTo>
                      <a:cubicBezTo>
                        <a:pt x="480" y="0"/>
                        <a:pt x="480" y="0"/>
                        <a:pt x="480" y="0"/>
                      </a:cubicBezTo>
                      <a:cubicBezTo>
                        <a:pt x="448" y="31"/>
                        <a:pt x="326" y="43"/>
                        <a:pt x="240" y="43"/>
                      </a:cubicBezTo>
                      <a:cubicBezTo>
                        <a:pt x="154" y="43"/>
                        <a:pt x="32" y="31"/>
                        <a:pt x="0" y="0"/>
                      </a:cubicBezTo>
                      <a:cubicBezTo>
                        <a:pt x="0" y="135"/>
                        <a:pt x="0" y="135"/>
                        <a:pt x="0" y="135"/>
                      </a:cubicBezTo>
                      <a:cubicBezTo>
                        <a:pt x="0" y="141"/>
                        <a:pt x="5" y="147"/>
                        <a:pt x="15" y="153"/>
                      </a:cubicBezTo>
                      <a:cubicBezTo>
                        <a:pt x="5" y="158"/>
                        <a:pt x="0" y="164"/>
                        <a:pt x="0" y="170"/>
                      </a:cubicBezTo>
                      <a:cubicBezTo>
                        <a:pt x="0" y="322"/>
                        <a:pt x="0" y="322"/>
                        <a:pt x="0" y="322"/>
                      </a:cubicBezTo>
                      <a:cubicBezTo>
                        <a:pt x="0" y="329"/>
                        <a:pt x="5" y="335"/>
                        <a:pt x="15" y="340"/>
                      </a:cubicBezTo>
                      <a:cubicBezTo>
                        <a:pt x="5" y="346"/>
                        <a:pt x="0" y="351"/>
                        <a:pt x="0" y="358"/>
                      </a:cubicBezTo>
                      <a:cubicBezTo>
                        <a:pt x="0" y="510"/>
                        <a:pt x="0" y="510"/>
                        <a:pt x="0" y="510"/>
                      </a:cubicBezTo>
                      <a:cubicBezTo>
                        <a:pt x="0" y="538"/>
                        <a:pt x="108" y="562"/>
                        <a:pt x="240" y="562"/>
                      </a:cubicBezTo>
                      <a:cubicBezTo>
                        <a:pt x="373" y="562"/>
                        <a:pt x="480" y="538"/>
                        <a:pt x="480" y="510"/>
                      </a:cubicBezTo>
                      <a:cubicBezTo>
                        <a:pt x="480" y="358"/>
                        <a:pt x="480" y="358"/>
                        <a:pt x="480" y="358"/>
                      </a:cubicBezTo>
                      <a:cubicBezTo>
                        <a:pt x="480" y="351"/>
                        <a:pt x="475" y="346"/>
                        <a:pt x="466" y="340"/>
                      </a:cubicBezTo>
                      <a:cubicBezTo>
                        <a:pt x="475" y="335"/>
                        <a:pt x="480" y="329"/>
                        <a:pt x="480" y="322"/>
                      </a:cubicBezTo>
                      <a:cubicBezTo>
                        <a:pt x="480" y="170"/>
                        <a:pt x="480" y="170"/>
                        <a:pt x="480" y="170"/>
                      </a:cubicBezTo>
                      <a:cubicBezTo>
                        <a:pt x="480" y="164"/>
                        <a:pt x="475" y="158"/>
                        <a:pt x="466" y="153"/>
                      </a:cubicBezTo>
                      <a:cubicBezTo>
                        <a:pt x="475" y="147"/>
                        <a:pt x="480" y="141"/>
                        <a:pt x="480" y="135"/>
                      </a:cubicBezTo>
                      <a:close/>
                      <a:moveTo>
                        <a:pt x="458" y="352"/>
                      </a:moveTo>
                      <a:cubicBezTo>
                        <a:pt x="458" y="368"/>
                        <a:pt x="361" y="380"/>
                        <a:pt x="240" y="380"/>
                      </a:cubicBezTo>
                      <a:cubicBezTo>
                        <a:pt x="120" y="380"/>
                        <a:pt x="23" y="368"/>
                        <a:pt x="23" y="352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49"/>
                        <a:pt x="120" y="361"/>
                        <a:pt x="240" y="361"/>
                      </a:cubicBezTo>
                      <a:cubicBezTo>
                        <a:pt x="361" y="361"/>
                        <a:pt x="458" y="349"/>
                        <a:pt x="458" y="333"/>
                      </a:cubicBezTo>
                      <a:lnTo>
                        <a:pt x="458" y="352"/>
                      </a:lnTo>
                      <a:close/>
                      <a:moveTo>
                        <a:pt x="458" y="166"/>
                      </a:moveTo>
                      <a:cubicBezTo>
                        <a:pt x="458" y="182"/>
                        <a:pt x="361" y="195"/>
                        <a:pt x="240" y="195"/>
                      </a:cubicBezTo>
                      <a:cubicBezTo>
                        <a:pt x="120" y="195"/>
                        <a:pt x="23" y="182"/>
                        <a:pt x="23" y="166"/>
                      </a:cubicBezTo>
                      <a:cubicBezTo>
                        <a:pt x="23" y="147"/>
                        <a:pt x="23" y="147"/>
                        <a:pt x="23" y="147"/>
                      </a:cubicBezTo>
                      <a:cubicBezTo>
                        <a:pt x="23" y="163"/>
                        <a:pt x="120" y="176"/>
                        <a:pt x="240" y="176"/>
                      </a:cubicBezTo>
                      <a:cubicBezTo>
                        <a:pt x="361" y="176"/>
                        <a:pt x="458" y="163"/>
                        <a:pt x="458" y="147"/>
                      </a:cubicBezTo>
                      <a:lnTo>
                        <a:pt x="458" y="166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8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63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545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727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909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09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27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454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932559">
                    <a:defRPr/>
                  </a:pPr>
                  <a:endParaRPr lang="en-US" sz="1836">
                    <a:solidFill>
                      <a:srgbClr val="FFFFFF"/>
                    </a:solidFill>
                    <a:latin typeface="Segoe UI"/>
                  </a:endParaRPr>
                </a:p>
              </p:txBody>
            </p:sp>
          </p:grpSp>
        </p:grpSp>
      </p:grpSp>
      <p:grpSp>
        <p:nvGrpSpPr>
          <p:cNvPr id="827" name="Group 826"/>
          <p:cNvGrpSpPr/>
          <p:nvPr/>
        </p:nvGrpSpPr>
        <p:grpSpPr>
          <a:xfrm>
            <a:off x="554627" y="1903677"/>
            <a:ext cx="11170415" cy="3964391"/>
            <a:chOff x="542937" y="1866519"/>
            <a:chExt cx="10952381" cy="3887011"/>
          </a:xfrm>
        </p:grpSpPr>
        <p:sp>
          <p:nvSpPr>
            <p:cNvPr id="446" name="Oval 74"/>
            <p:cNvSpPr>
              <a:spLocks noChangeArrowheads="1"/>
            </p:cNvSpPr>
            <p:nvPr/>
          </p:nvSpPr>
          <p:spPr bwMode="auto">
            <a:xfrm>
              <a:off x="5812106" y="2452259"/>
              <a:ext cx="91440" cy="93980"/>
            </a:xfrm>
            <a:prstGeom prst="ellipse">
              <a:avLst/>
            </a:prstGeom>
            <a:solidFill>
              <a:schemeClr val="accent2"/>
            </a:solidFill>
            <a:ln w="12700">
              <a:noFill/>
            </a:ln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97">
                <a:defRPr/>
              </a:pPr>
              <a:endParaRPr lang="en-US" sz="1836">
                <a:solidFill>
                  <a:srgbClr val="505050"/>
                </a:solidFill>
                <a:latin typeface="Segoe UI"/>
              </a:endParaRPr>
            </a:p>
          </p:txBody>
        </p:sp>
        <p:grpSp>
          <p:nvGrpSpPr>
            <p:cNvPr id="730" name="Group 729"/>
            <p:cNvGrpSpPr/>
            <p:nvPr/>
          </p:nvGrpSpPr>
          <p:grpSpPr>
            <a:xfrm>
              <a:off x="542937" y="1866519"/>
              <a:ext cx="10952381" cy="3887011"/>
              <a:chOff x="542937" y="1866519"/>
              <a:chExt cx="10952381" cy="3887011"/>
            </a:xfrm>
          </p:grpSpPr>
          <p:grpSp>
            <p:nvGrpSpPr>
              <p:cNvPr id="728" name="Group 727"/>
              <p:cNvGrpSpPr/>
              <p:nvPr/>
            </p:nvGrpSpPr>
            <p:grpSpPr>
              <a:xfrm>
                <a:off x="542937" y="1866519"/>
                <a:ext cx="6366626" cy="3611357"/>
                <a:chOff x="542937" y="1866519"/>
                <a:chExt cx="6366626" cy="3611357"/>
              </a:xfrm>
            </p:grpSpPr>
            <p:sp>
              <p:nvSpPr>
                <p:cNvPr id="438" name="Oval 74"/>
                <p:cNvSpPr>
                  <a:spLocks noChangeArrowheads="1"/>
                </p:cNvSpPr>
                <p:nvPr/>
              </p:nvSpPr>
              <p:spPr bwMode="auto">
                <a:xfrm>
                  <a:off x="6424423" y="1866519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39" name="Oval 74"/>
                <p:cNvSpPr>
                  <a:spLocks noChangeArrowheads="1"/>
                </p:cNvSpPr>
                <p:nvPr/>
              </p:nvSpPr>
              <p:spPr bwMode="auto">
                <a:xfrm>
                  <a:off x="6210825" y="1912614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grpSp>
              <p:nvGrpSpPr>
                <p:cNvPr id="727" name="Group 726"/>
                <p:cNvGrpSpPr/>
                <p:nvPr/>
              </p:nvGrpSpPr>
              <p:grpSpPr>
                <a:xfrm>
                  <a:off x="542937" y="2152893"/>
                  <a:ext cx="6366626" cy="3324983"/>
                  <a:chOff x="542937" y="2152893"/>
                  <a:chExt cx="6366626" cy="3324983"/>
                </a:xfrm>
              </p:grpSpPr>
              <p:grpSp>
                <p:nvGrpSpPr>
                  <p:cNvPr id="725" name="Group 724"/>
                  <p:cNvGrpSpPr/>
                  <p:nvPr/>
                </p:nvGrpSpPr>
                <p:grpSpPr>
                  <a:xfrm>
                    <a:off x="542937" y="2442210"/>
                    <a:ext cx="3882536" cy="3025541"/>
                    <a:chOff x="542937" y="2442210"/>
                    <a:chExt cx="3882536" cy="3025541"/>
                  </a:xfrm>
                </p:grpSpPr>
                <p:sp>
                  <p:nvSpPr>
                    <p:cNvPr id="304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585785" y="2442210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305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675129" y="2797365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306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968023" y="3084983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318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247673" y="5059189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319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401411" y="3324067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320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518886" y="3308192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322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609849" y="2812099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323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851467" y="2781994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321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231899" y="2916552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325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120549" y="2740977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326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089219" y="2953894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01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334033" y="4383549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02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100353" y="5018549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03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074953" y="4982989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04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338606" y="5373771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07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486689" y="3645933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08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056905" y="3399921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09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324175" y="3589647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10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899543" y="3146824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11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629231" y="2547231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12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729441" y="2604786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13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418955" y="2565092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14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344526" y="2750194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15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240416" y="2850198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16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42937" y="3568524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17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765086" y="3117915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18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857480" y="3020070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19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443047" y="3171336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</p:grpSp>
              <p:grpSp>
                <p:nvGrpSpPr>
                  <p:cNvPr id="726" name="Group 725"/>
                  <p:cNvGrpSpPr/>
                  <p:nvPr/>
                </p:nvGrpSpPr>
                <p:grpSpPr>
                  <a:xfrm>
                    <a:off x="5286394" y="2152893"/>
                    <a:ext cx="1623169" cy="3324983"/>
                    <a:chOff x="5286394" y="2152893"/>
                    <a:chExt cx="1623169" cy="3324983"/>
                  </a:xfrm>
                </p:grpSpPr>
                <p:sp>
                  <p:nvSpPr>
                    <p:cNvPr id="327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760016" y="2755776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328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687218" y="2535079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330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059011" y="2623344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05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604404" y="5099416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06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248804" y="5383896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31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286394" y="2961180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32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533436" y="2882204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33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661424" y="2869495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34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392944" y="2989510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35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368578" y="2781994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36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451330" y="2674434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37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818123" y="2163699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40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007893" y="2152893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41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294524" y="2319827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42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350228" y="2571345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43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269168" y="2702780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44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240450" y="2548172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45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190096" y="2462109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47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921738" y="2460322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48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888623" y="2586942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49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932707" y="2717691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51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548503" y="2251943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50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388644" y="2333493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329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546514" y="2400617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53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815662" y="2325850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54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081598" y="2309707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  <p:sp>
                  <p:nvSpPr>
                    <p:cNvPr id="455" name="Oval 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042282" y="2399081"/>
                      <a:ext cx="91440" cy="93980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 w="12700">
                      <a:noFill/>
                    </a:ln>
                  </p:spPr>
                  <p:txBody>
                    <a:bodyPr vert="horz" wrap="square" lIns="93260" tIns="46630" rIns="93260" bIns="4663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32597">
                        <a:defRPr/>
                      </a:pPr>
                      <a:endParaRPr lang="en-US" sz="1836">
                        <a:solidFill>
                          <a:srgbClr val="505050"/>
                        </a:solidFill>
                        <a:latin typeface="Segoe UI"/>
                      </a:endParaRPr>
                    </a:p>
                  </p:txBody>
                </p:sp>
              </p:grpSp>
            </p:grpSp>
          </p:grpSp>
          <p:grpSp>
            <p:nvGrpSpPr>
              <p:cNvPr id="729" name="Group 728"/>
              <p:cNvGrpSpPr/>
              <p:nvPr/>
            </p:nvGrpSpPr>
            <p:grpSpPr>
              <a:xfrm>
                <a:off x="8050645" y="2850512"/>
                <a:ext cx="3444673" cy="2903018"/>
                <a:chOff x="8050645" y="2850512"/>
                <a:chExt cx="3444673" cy="2903018"/>
              </a:xfrm>
            </p:grpSpPr>
            <p:sp>
              <p:nvSpPr>
                <p:cNvPr id="307" name="Oval 74"/>
                <p:cNvSpPr>
                  <a:spLocks noChangeArrowheads="1"/>
                </p:cNvSpPr>
                <p:nvPr/>
              </p:nvSpPr>
              <p:spPr bwMode="auto">
                <a:xfrm>
                  <a:off x="10550683" y="5442263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308" name="Oval 74"/>
                <p:cNvSpPr>
                  <a:spLocks noChangeArrowheads="1"/>
                </p:cNvSpPr>
                <p:nvPr/>
              </p:nvSpPr>
              <p:spPr bwMode="auto">
                <a:xfrm>
                  <a:off x="10417968" y="5620678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309" name="Oval 74"/>
                <p:cNvSpPr>
                  <a:spLocks noChangeArrowheads="1"/>
                </p:cNvSpPr>
                <p:nvPr/>
              </p:nvSpPr>
              <p:spPr bwMode="auto">
                <a:xfrm>
                  <a:off x="10226389" y="2965223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310" name="Oval 74"/>
                <p:cNvSpPr>
                  <a:spLocks noChangeArrowheads="1"/>
                </p:cNvSpPr>
                <p:nvPr/>
              </p:nvSpPr>
              <p:spPr bwMode="auto">
                <a:xfrm>
                  <a:off x="10095706" y="3095204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311" name="Oval 74"/>
                <p:cNvSpPr>
                  <a:spLocks noChangeArrowheads="1"/>
                </p:cNvSpPr>
                <p:nvPr/>
              </p:nvSpPr>
              <p:spPr bwMode="auto">
                <a:xfrm>
                  <a:off x="9884282" y="3007892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312" name="Oval 74"/>
                <p:cNvSpPr>
                  <a:spLocks noChangeArrowheads="1"/>
                </p:cNvSpPr>
                <p:nvPr/>
              </p:nvSpPr>
              <p:spPr bwMode="auto">
                <a:xfrm>
                  <a:off x="9784873" y="2863406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313" name="Oval 74"/>
                <p:cNvSpPr>
                  <a:spLocks noChangeArrowheads="1"/>
                </p:cNvSpPr>
                <p:nvPr/>
              </p:nvSpPr>
              <p:spPr bwMode="auto">
                <a:xfrm>
                  <a:off x="9486673" y="2850512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314" name="Oval 74"/>
                <p:cNvSpPr>
                  <a:spLocks noChangeArrowheads="1"/>
                </p:cNvSpPr>
                <p:nvPr/>
              </p:nvSpPr>
              <p:spPr bwMode="auto">
                <a:xfrm>
                  <a:off x="9530714" y="3253011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315" name="Oval 74"/>
                <p:cNvSpPr>
                  <a:spLocks noChangeArrowheads="1"/>
                </p:cNvSpPr>
                <p:nvPr/>
              </p:nvSpPr>
              <p:spPr bwMode="auto">
                <a:xfrm>
                  <a:off x="9377330" y="3479332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316" name="Oval 74"/>
                <p:cNvSpPr>
                  <a:spLocks noChangeArrowheads="1"/>
                </p:cNvSpPr>
                <p:nvPr/>
              </p:nvSpPr>
              <p:spPr bwMode="auto">
                <a:xfrm>
                  <a:off x="8050645" y="3646044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317" name="Oval 74"/>
                <p:cNvSpPr>
                  <a:spLocks noChangeArrowheads="1"/>
                </p:cNvSpPr>
                <p:nvPr/>
              </p:nvSpPr>
              <p:spPr bwMode="auto">
                <a:xfrm>
                  <a:off x="8210517" y="3973097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00" name="Oval 74"/>
                <p:cNvSpPr>
                  <a:spLocks noChangeArrowheads="1"/>
                </p:cNvSpPr>
                <p:nvPr/>
              </p:nvSpPr>
              <p:spPr bwMode="auto">
                <a:xfrm>
                  <a:off x="9006997" y="4172585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20" name="Oval 74"/>
                <p:cNvSpPr>
                  <a:spLocks noChangeArrowheads="1"/>
                </p:cNvSpPr>
                <p:nvPr/>
              </p:nvSpPr>
              <p:spPr bwMode="auto">
                <a:xfrm>
                  <a:off x="11403878" y="5659550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22" name="Oval 74"/>
                <p:cNvSpPr>
                  <a:spLocks noChangeArrowheads="1"/>
                </p:cNvSpPr>
                <p:nvPr/>
              </p:nvSpPr>
              <p:spPr bwMode="auto">
                <a:xfrm>
                  <a:off x="10499205" y="3830750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24" name="Oval 74"/>
                <p:cNvSpPr>
                  <a:spLocks noChangeArrowheads="1"/>
                </p:cNvSpPr>
                <p:nvPr/>
              </p:nvSpPr>
              <p:spPr bwMode="auto">
                <a:xfrm>
                  <a:off x="9631280" y="3804170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25" name="Oval 74"/>
                <p:cNvSpPr>
                  <a:spLocks noChangeArrowheads="1"/>
                </p:cNvSpPr>
                <p:nvPr/>
              </p:nvSpPr>
              <p:spPr bwMode="auto">
                <a:xfrm>
                  <a:off x="9691497" y="3408245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26" name="Oval 74"/>
                <p:cNvSpPr>
                  <a:spLocks noChangeArrowheads="1"/>
                </p:cNvSpPr>
                <p:nvPr/>
              </p:nvSpPr>
              <p:spPr bwMode="auto">
                <a:xfrm>
                  <a:off x="8939743" y="3830750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27" name="Oval 74"/>
                <p:cNvSpPr>
                  <a:spLocks noChangeArrowheads="1"/>
                </p:cNvSpPr>
                <p:nvPr/>
              </p:nvSpPr>
              <p:spPr bwMode="auto">
                <a:xfrm>
                  <a:off x="9192206" y="4275910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29" name="Oval 74"/>
                <p:cNvSpPr>
                  <a:spLocks noChangeArrowheads="1"/>
                </p:cNvSpPr>
                <p:nvPr/>
              </p:nvSpPr>
              <p:spPr bwMode="auto">
                <a:xfrm>
                  <a:off x="8229875" y="3296156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30" name="Oval 74"/>
                <p:cNvSpPr>
                  <a:spLocks noChangeArrowheads="1"/>
                </p:cNvSpPr>
                <p:nvPr/>
              </p:nvSpPr>
              <p:spPr bwMode="auto">
                <a:xfrm>
                  <a:off x="8117320" y="3714624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  <p:sp>
              <p:nvSpPr>
                <p:cNvPr id="456" name="Oval 74"/>
                <p:cNvSpPr>
                  <a:spLocks noChangeArrowheads="1"/>
                </p:cNvSpPr>
                <p:nvPr/>
              </p:nvSpPr>
              <p:spPr bwMode="auto">
                <a:xfrm>
                  <a:off x="9503491" y="5384863"/>
                  <a:ext cx="91440" cy="9398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>
                    <a:solidFill>
                      <a:srgbClr val="505050"/>
                    </a:solidFill>
                    <a:latin typeface="Segoe UI"/>
                  </a:endParaRPr>
                </a:p>
              </p:txBody>
            </p:sp>
          </p:grpSp>
        </p:grpSp>
      </p:grpSp>
      <p:sp>
        <p:nvSpPr>
          <p:cNvPr id="525" name="Rectangle 524"/>
          <p:cNvSpPr/>
          <p:nvPr/>
        </p:nvSpPr>
        <p:spPr bwMode="auto">
          <a:xfrm>
            <a:off x="471587" y="4789820"/>
            <a:ext cx="2238248" cy="1986596"/>
          </a:xfrm>
          <a:prstGeom prst="rect">
            <a:avLst/>
          </a:prstGeom>
          <a:solidFill>
            <a:schemeClr val="bg1">
              <a:alpha val="85000"/>
            </a:schemeClr>
          </a:solidFill>
          <a:ln w="31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9891" tIns="93260" rIns="139891" bIns="932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111" fontAlgn="base">
              <a:spcBef>
                <a:spcPts val="204"/>
              </a:spcBef>
              <a:spcAft>
                <a:spcPts val="408"/>
              </a:spcAft>
              <a:defRPr/>
            </a:pPr>
            <a:r>
              <a:rPr lang="en-US" sz="4080">
                <a:solidFill>
                  <a:srgbClr val="0078D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2</a:t>
            </a:r>
            <a:r>
              <a:rPr lang="en-US" sz="4080">
                <a:solidFill>
                  <a:srgbClr val="0078D7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 </a:t>
            </a:r>
            <a:r>
              <a:rPr lang="en-US" sz="4080">
                <a:solidFill>
                  <a:srgbClr val="0078D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Mil</a:t>
            </a:r>
            <a:r>
              <a:rPr lang="en-US" sz="4080">
                <a:solidFill>
                  <a:srgbClr val="0078D7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 </a:t>
            </a:r>
            <a:r>
              <a:rPr lang="en-US" sz="2448">
                <a:solidFill>
                  <a:srgbClr val="0078D7"/>
                </a:solidFill>
                <a:latin typeface="Segoe UI"/>
                <a:cs typeface="Segoe UI" pitchFamily="34" charset="0"/>
              </a:rPr>
              <a:t>kilometers</a:t>
            </a:r>
            <a:br>
              <a:rPr lang="en-US" sz="2448">
                <a:solidFill>
                  <a:srgbClr val="0078D7"/>
                </a:solidFill>
                <a:latin typeface="Segoe UI"/>
                <a:cs typeface="Segoe UI" pitchFamily="34" charset="0"/>
              </a:rPr>
            </a:br>
            <a:r>
              <a:rPr lang="en-US" sz="1836">
                <a:solidFill>
                  <a:srgbClr val="0078D7"/>
                </a:solidFill>
                <a:latin typeface="Segoe UI"/>
                <a:ea typeface="Segoe UI" pitchFamily="34" charset="0"/>
                <a:cs typeface="Segoe UI" pitchFamily="34" charset="0"/>
              </a:rPr>
              <a:t>intra-datacenter fiber</a:t>
            </a:r>
          </a:p>
        </p:txBody>
      </p:sp>
      <p:sp>
        <p:nvSpPr>
          <p:cNvPr id="530" name="Rectangle 529"/>
          <p:cNvSpPr/>
          <p:nvPr/>
        </p:nvSpPr>
        <p:spPr bwMode="auto">
          <a:xfrm>
            <a:off x="2787750" y="4789820"/>
            <a:ext cx="2238248" cy="1986596"/>
          </a:xfrm>
          <a:prstGeom prst="rect">
            <a:avLst/>
          </a:prstGeom>
          <a:solidFill>
            <a:schemeClr val="bg1">
              <a:alpha val="85000"/>
            </a:schemeClr>
          </a:solidFill>
          <a:ln w="31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9891" tIns="93260" rIns="93260" bIns="932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111" fontAlgn="base">
              <a:spcBef>
                <a:spcPts val="204"/>
              </a:spcBef>
              <a:spcAft>
                <a:spcPts val="408"/>
              </a:spcAft>
              <a:defRPr/>
            </a:pPr>
            <a:r>
              <a:rPr lang="en-US" sz="4080">
                <a:solidFill>
                  <a:srgbClr val="0078D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72+</a:t>
            </a:r>
          </a:p>
          <a:p>
            <a:pPr defTabSz="932111" fontAlgn="base">
              <a:spcBef>
                <a:spcPts val="204"/>
              </a:spcBef>
              <a:spcAft>
                <a:spcPts val="408"/>
              </a:spcAft>
              <a:defRPr/>
            </a:pPr>
            <a:r>
              <a:rPr lang="en-US" sz="2448">
                <a:solidFill>
                  <a:srgbClr val="0078D7"/>
                </a:solidFill>
                <a:latin typeface="Segoe UI"/>
                <a:cs typeface="Segoe UI" pitchFamily="34" charset="0"/>
              </a:rPr>
              <a:t>Tb per second</a:t>
            </a:r>
          </a:p>
          <a:p>
            <a:pPr defTabSz="932111" fontAlgn="base">
              <a:spcBef>
                <a:spcPts val="204"/>
              </a:spcBef>
              <a:spcAft>
                <a:spcPts val="408"/>
              </a:spcAft>
              <a:defRPr/>
            </a:pPr>
            <a:r>
              <a:rPr lang="en-US" sz="1632">
                <a:solidFill>
                  <a:srgbClr val="0078D7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Backbone</a:t>
            </a:r>
          </a:p>
        </p:txBody>
      </p:sp>
      <p:sp>
        <p:nvSpPr>
          <p:cNvPr id="524" name="Rectangle 523"/>
          <p:cNvSpPr/>
          <p:nvPr/>
        </p:nvSpPr>
        <p:spPr bwMode="auto">
          <a:xfrm>
            <a:off x="7420075" y="4789820"/>
            <a:ext cx="2238248" cy="1986596"/>
          </a:xfrm>
          <a:prstGeom prst="rect">
            <a:avLst/>
          </a:prstGeom>
          <a:solidFill>
            <a:schemeClr val="bg1">
              <a:alpha val="85000"/>
            </a:schemeClr>
          </a:solidFill>
          <a:ln w="31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9891" tIns="93260" rIns="139891" bIns="932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111" fontAlgn="base">
              <a:spcBef>
                <a:spcPts val="204"/>
              </a:spcBef>
              <a:spcAft>
                <a:spcPts val="408"/>
              </a:spcAft>
              <a:defRPr/>
            </a:pPr>
            <a:r>
              <a:rPr lang="en-US" sz="4080">
                <a:solidFill>
                  <a:srgbClr val="0078D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100+</a:t>
            </a:r>
            <a:br>
              <a:rPr lang="en-US" sz="2448">
                <a:solidFill>
                  <a:srgbClr val="0078D7"/>
                </a:solidFill>
                <a:latin typeface="Segoe UI Light"/>
                <a:ea typeface="Segoe UI" pitchFamily="34" charset="0"/>
                <a:cs typeface="Segoe UI" pitchFamily="34" charset="0"/>
              </a:rPr>
            </a:br>
            <a:r>
              <a:rPr lang="en-US" sz="2448">
                <a:solidFill>
                  <a:srgbClr val="0078D7"/>
                </a:solidFill>
                <a:latin typeface="Segoe UI"/>
                <a:cs typeface="Segoe UI" pitchFamily="34" charset="0"/>
              </a:rPr>
              <a:t>datacenters </a:t>
            </a:r>
          </a:p>
        </p:txBody>
      </p:sp>
      <p:sp>
        <p:nvSpPr>
          <p:cNvPr id="523" name="Rectangle 522"/>
          <p:cNvSpPr/>
          <p:nvPr/>
        </p:nvSpPr>
        <p:spPr bwMode="auto">
          <a:xfrm>
            <a:off x="5103913" y="4789820"/>
            <a:ext cx="2238248" cy="1986596"/>
          </a:xfrm>
          <a:prstGeom prst="rect">
            <a:avLst/>
          </a:prstGeom>
          <a:solidFill>
            <a:schemeClr val="bg1">
              <a:alpha val="85000"/>
            </a:schemeClr>
          </a:solidFill>
          <a:ln w="31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9891" tIns="93260" rIns="139891" bIns="932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99291" fontAlgn="base">
              <a:spcBef>
                <a:spcPts val="204"/>
              </a:spcBef>
              <a:spcAft>
                <a:spcPts val="408"/>
              </a:spcAft>
              <a:defRPr/>
            </a:pPr>
            <a:r>
              <a:rPr lang="en-US" sz="4080">
                <a:solidFill>
                  <a:srgbClr val="0078D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42</a:t>
            </a:r>
            <a:br>
              <a:rPr lang="en-US" sz="4896">
                <a:solidFill>
                  <a:srgbClr val="0078D7"/>
                </a:solidFill>
                <a:latin typeface="Franklin Gothic Medium"/>
                <a:ea typeface="Segoe UI" pitchFamily="34" charset="0"/>
                <a:cs typeface="Segoe UI" pitchFamily="34" charset="0"/>
              </a:rPr>
            </a:br>
            <a:r>
              <a:rPr lang="en-US" sz="2448">
                <a:solidFill>
                  <a:srgbClr val="0078D7"/>
                </a:solidFill>
                <a:latin typeface="Segoe UI"/>
                <a:ea typeface="Segoe UI" pitchFamily="34" charset="0"/>
                <a:cs typeface="Segoe UI" pitchFamily="34" charset="0"/>
              </a:rPr>
              <a:t>Azure regions</a:t>
            </a:r>
            <a:endParaRPr lang="en-US" sz="1632">
              <a:solidFill>
                <a:srgbClr val="0078D7"/>
              </a:soli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01" name="Rectangle 500"/>
          <p:cNvSpPr/>
          <p:nvPr/>
        </p:nvSpPr>
        <p:spPr bwMode="auto">
          <a:xfrm>
            <a:off x="9736238" y="4789820"/>
            <a:ext cx="2238248" cy="1986596"/>
          </a:xfrm>
          <a:prstGeom prst="rect">
            <a:avLst/>
          </a:prstGeom>
          <a:solidFill>
            <a:schemeClr val="bg1">
              <a:alpha val="85000"/>
            </a:schemeClr>
          </a:solidFill>
          <a:ln w="31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9891" tIns="93260" rIns="139891" bIns="932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99291" fontAlgn="base">
              <a:spcBef>
                <a:spcPts val="204"/>
              </a:spcBef>
              <a:spcAft>
                <a:spcPts val="408"/>
              </a:spcAft>
              <a:defRPr/>
            </a:pPr>
            <a:r>
              <a:rPr lang="en-US" sz="4080">
                <a:solidFill>
                  <a:srgbClr val="0078D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Millions</a:t>
            </a:r>
            <a:r>
              <a:rPr lang="en-US" sz="4080">
                <a:solidFill>
                  <a:srgbClr val="0078D7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 </a:t>
            </a:r>
            <a:r>
              <a:rPr lang="en-US" sz="2448">
                <a:solidFill>
                  <a:srgbClr val="0078D7"/>
                </a:solidFill>
                <a:latin typeface="Segoe UI"/>
                <a:cs typeface="Segoe UI" pitchFamily="34" charset="0"/>
              </a:rPr>
              <a:t>of servers</a:t>
            </a:r>
          </a:p>
        </p:txBody>
      </p:sp>
      <p:sp>
        <p:nvSpPr>
          <p:cNvPr id="531" name="Rectangle 530"/>
          <p:cNvSpPr/>
          <p:nvPr/>
        </p:nvSpPr>
        <p:spPr bwMode="auto">
          <a:xfrm flipH="1">
            <a:off x="882" y="-1"/>
            <a:ext cx="12434711" cy="7022026"/>
          </a:xfrm>
          <a:prstGeom prst="rect">
            <a:avLst/>
          </a:prstGeom>
          <a:solidFill>
            <a:srgbClr val="001F50">
              <a:alpha val="92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040" b="1" kern="0">
              <a:solidFill>
                <a:srgbClr val="505050"/>
              </a:solidFill>
              <a:latin typeface="Segoe UI Light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532" name="Straight Connector 531"/>
          <p:cNvCxnSpPr>
            <a:cxnSpLocks/>
          </p:cNvCxnSpPr>
          <p:nvPr/>
        </p:nvCxnSpPr>
        <p:spPr>
          <a:xfrm>
            <a:off x="564225" y="2123860"/>
            <a:ext cx="3814621" cy="3311910"/>
          </a:xfrm>
          <a:prstGeom prst="line">
            <a:avLst/>
          </a:prstGeom>
          <a:noFill/>
          <a:ln w="9525" cap="flat" cmpd="sng" algn="ctr">
            <a:solidFill>
              <a:srgbClr val="0078D7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533" name="Straight Connector 532"/>
          <p:cNvCxnSpPr>
            <a:cxnSpLocks/>
          </p:cNvCxnSpPr>
          <p:nvPr/>
        </p:nvCxnSpPr>
        <p:spPr>
          <a:xfrm flipH="1">
            <a:off x="8025052" y="2143289"/>
            <a:ext cx="3814621" cy="3311910"/>
          </a:xfrm>
          <a:prstGeom prst="line">
            <a:avLst/>
          </a:prstGeom>
          <a:noFill/>
          <a:ln w="9525" cap="flat" cmpd="sng" algn="ctr">
            <a:solidFill>
              <a:srgbClr val="0078D7"/>
            </a:solidFill>
            <a:prstDash val="solid"/>
            <a:headEnd type="none"/>
            <a:tailEnd type="none"/>
          </a:ln>
          <a:effectLst/>
        </p:spPr>
      </p:cxnSp>
      <p:grpSp>
        <p:nvGrpSpPr>
          <p:cNvPr id="534" name="Group 533"/>
          <p:cNvGrpSpPr/>
          <p:nvPr/>
        </p:nvGrpSpPr>
        <p:grpSpPr>
          <a:xfrm>
            <a:off x="3882879" y="5511478"/>
            <a:ext cx="1615082" cy="1493006"/>
            <a:chOff x="3806225" y="5403901"/>
            <a:chExt cx="1583557" cy="1463864"/>
          </a:xfrm>
        </p:grpSpPr>
        <p:sp>
          <p:nvSpPr>
            <p:cNvPr id="535" name="Freeform: Shape 207"/>
            <p:cNvSpPr/>
            <p:nvPr/>
          </p:nvSpPr>
          <p:spPr bwMode="auto">
            <a:xfrm>
              <a:off x="3806225" y="5403901"/>
              <a:ext cx="1583557" cy="1463864"/>
            </a:xfrm>
            <a:custGeom>
              <a:avLst/>
              <a:gdLst>
                <a:gd name="connsiteX0" fmla="*/ 530832 w 1583557"/>
                <a:gd name="connsiteY0" fmla="*/ 0 h 1463864"/>
                <a:gd name="connsiteX1" fmla="*/ 1583557 w 1583557"/>
                <a:gd name="connsiteY1" fmla="*/ 856047 h 1463864"/>
                <a:gd name="connsiteX2" fmla="*/ 1510374 w 1583557"/>
                <a:gd name="connsiteY2" fmla="*/ 944745 h 1463864"/>
                <a:gd name="connsiteX3" fmla="*/ 1353408 w 1583557"/>
                <a:gd name="connsiteY3" fmla="*/ 1458616 h 1463864"/>
                <a:gd name="connsiteX4" fmla="*/ 1353937 w 1583557"/>
                <a:gd name="connsiteY4" fmla="*/ 1463864 h 1463864"/>
                <a:gd name="connsiteX5" fmla="*/ 265 w 1583557"/>
                <a:gd name="connsiteY5" fmla="*/ 1463864 h 1463864"/>
                <a:gd name="connsiteX6" fmla="*/ 0 w 1583557"/>
                <a:gd name="connsiteY6" fmla="*/ 1458616 h 1463864"/>
                <a:gd name="connsiteX7" fmla="*/ 518928 w 1583557"/>
                <a:gd name="connsiteY7" fmla="*/ 13097 h 1463864"/>
                <a:gd name="connsiteX8" fmla="*/ 530832 w 1583557"/>
                <a:gd name="connsiteY8" fmla="*/ 0 h 1463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83557" h="1463864">
                  <a:moveTo>
                    <a:pt x="530832" y="0"/>
                  </a:moveTo>
                  <a:lnTo>
                    <a:pt x="1583557" y="856047"/>
                  </a:lnTo>
                  <a:lnTo>
                    <a:pt x="1510374" y="944745"/>
                  </a:lnTo>
                  <a:cubicBezTo>
                    <a:pt x="1411274" y="1091433"/>
                    <a:pt x="1353408" y="1268267"/>
                    <a:pt x="1353408" y="1458616"/>
                  </a:cubicBezTo>
                  <a:lnTo>
                    <a:pt x="1353937" y="1463864"/>
                  </a:lnTo>
                  <a:lnTo>
                    <a:pt x="265" y="1463864"/>
                  </a:lnTo>
                  <a:lnTo>
                    <a:pt x="0" y="1458616"/>
                  </a:lnTo>
                  <a:cubicBezTo>
                    <a:pt x="0" y="909525"/>
                    <a:pt x="194743" y="405919"/>
                    <a:pt x="518928" y="13097"/>
                  </a:cubicBezTo>
                  <a:lnTo>
                    <a:pt x="530832" y="0"/>
                  </a:lnTo>
                  <a:close/>
                </a:path>
              </a:pathLst>
            </a:custGeom>
            <a:solidFill>
              <a:srgbClr val="001B9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48" kern="0" err="1">
                <a:solidFill>
                  <a:srgbClr val="FFFFFF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536" name="Picture 535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08524" y="6229515"/>
              <a:ext cx="647186" cy="369672"/>
            </a:xfrm>
            <a:prstGeom prst="rect">
              <a:avLst/>
            </a:prstGeom>
          </p:spPr>
        </p:pic>
      </p:grpSp>
      <p:grpSp>
        <p:nvGrpSpPr>
          <p:cNvPr id="537" name="Group 536"/>
          <p:cNvGrpSpPr/>
          <p:nvPr/>
        </p:nvGrpSpPr>
        <p:grpSpPr>
          <a:xfrm>
            <a:off x="6223014" y="4694588"/>
            <a:ext cx="1735231" cy="1681619"/>
            <a:chOff x="6100683" y="4602955"/>
            <a:chExt cx="1701361" cy="1648796"/>
          </a:xfrm>
        </p:grpSpPr>
        <p:sp>
          <p:nvSpPr>
            <p:cNvPr id="538" name="Freeform: Shape 210"/>
            <p:cNvSpPr/>
            <p:nvPr/>
          </p:nvSpPr>
          <p:spPr bwMode="auto">
            <a:xfrm>
              <a:off x="6100683" y="4602955"/>
              <a:ext cx="1701361" cy="1648796"/>
            </a:xfrm>
            <a:custGeom>
              <a:avLst/>
              <a:gdLst>
                <a:gd name="connsiteX0" fmla="*/ 0 w 1701361"/>
                <a:gd name="connsiteY0" fmla="*/ 0 h 1648796"/>
                <a:gd name="connsiteX1" fmla="*/ 209490 w 1701361"/>
                <a:gd name="connsiteY1" fmla="*/ 10578 h 1648796"/>
                <a:gd name="connsiteX2" fmla="*/ 1584037 w 1701361"/>
                <a:gd name="connsiteY2" fmla="*/ 664444 h 1648796"/>
                <a:gd name="connsiteX3" fmla="*/ 1701361 w 1701361"/>
                <a:gd name="connsiteY3" fmla="*/ 793532 h 1648796"/>
                <a:gd name="connsiteX4" fmla="*/ 649598 w 1701361"/>
                <a:gd name="connsiteY4" fmla="*/ 1648796 h 1648796"/>
                <a:gd name="connsiteX5" fmla="*/ 627033 w 1701361"/>
                <a:gd name="connsiteY5" fmla="*/ 1621448 h 1648796"/>
                <a:gd name="connsiteX6" fmla="*/ 71111 w 1701361"/>
                <a:gd name="connsiteY6" fmla="*/ 1356998 h 1648796"/>
                <a:gd name="connsiteX7" fmla="*/ 0 w 1701361"/>
                <a:gd name="connsiteY7" fmla="*/ 1353408 h 1648796"/>
                <a:gd name="connsiteX8" fmla="*/ 0 w 1701361"/>
                <a:gd name="connsiteY8" fmla="*/ 0 h 1648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01361" h="1648796">
                  <a:moveTo>
                    <a:pt x="0" y="0"/>
                  </a:moveTo>
                  <a:lnTo>
                    <a:pt x="209490" y="10578"/>
                  </a:lnTo>
                  <a:cubicBezTo>
                    <a:pt x="744252" y="64886"/>
                    <a:pt x="1224202" y="304608"/>
                    <a:pt x="1584037" y="664444"/>
                  </a:cubicBezTo>
                  <a:lnTo>
                    <a:pt x="1701361" y="793532"/>
                  </a:lnTo>
                  <a:lnTo>
                    <a:pt x="649598" y="1648796"/>
                  </a:lnTo>
                  <a:lnTo>
                    <a:pt x="627033" y="1621448"/>
                  </a:lnTo>
                  <a:cubicBezTo>
                    <a:pt x="481502" y="1475916"/>
                    <a:pt x="287391" y="1378963"/>
                    <a:pt x="71111" y="1356998"/>
                  </a:cubicBezTo>
                  <a:lnTo>
                    <a:pt x="0" y="135340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48" kern="0" err="1">
                <a:solidFill>
                  <a:srgbClr val="FFFFFF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539" name="Picture 538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57371" y="5242560"/>
              <a:ext cx="292181" cy="389366"/>
            </a:xfrm>
            <a:prstGeom prst="rect">
              <a:avLst/>
            </a:prstGeom>
          </p:spPr>
        </p:pic>
        <p:pic>
          <p:nvPicPr>
            <p:cNvPr id="540" name="Picture 539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15511" y="5242560"/>
              <a:ext cx="292181" cy="389366"/>
            </a:xfrm>
            <a:prstGeom prst="rect">
              <a:avLst/>
            </a:prstGeom>
          </p:spPr>
        </p:pic>
      </p:grpSp>
      <p:grpSp>
        <p:nvGrpSpPr>
          <p:cNvPr id="541" name="Group 540"/>
          <p:cNvGrpSpPr/>
          <p:nvPr/>
        </p:nvGrpSpPr>
        <p:grpSpPr>
          <a:xfrm>
            <a:off x="4455688" y="4682574"/>
            <a:ext cx="1721613" cy="1666025"/>
            <a:chOff x="4367853" y="4591176"/>
            <a:chExt cx="1688009" cy="1633506"/>
          </a:xfrm>
        </p:grpSpPr>
        <p:sp>
          <p:nvSpPr>
            <p:cNvPr id="542" name="Freeform: Shape 211"/>
            <p:cNvSpPr/>
            <p:nvPr/>
          </p:nvSpPr>
          <p:spPr bwMode="auto">
            <a:xfrm>
              <a:off x="4367853" y="4591176"/>
              <a:ext cx="1688009" cy="1633506"/>
            </a:xfrm>
            <a:custGeom>
              <a:avLst/>
              <a:gdLst>
                <a:gd name="connsiteX0" fmla="*/ 1688009 w 1688009"/>
                <a:gd name="connsiteY0" fmla="*/ 0 h 1633506"/>
                <a:gd name="connsiteX1" fmla="*/ 1688009 w 1688009"/>
                <a:gd name="connsiteY1" fmla="*/ 1353407 h 1633506"/>
                <a:gd name="connsiteX2" fmla="*/ 1616897 w 1688009"/>
                <a:gd name="connsiteY2" fmla="*/ 1356998 h 1633506"/>
                <a:gd name="connsiteX3" fmla="*/ 1060975 w 1688009"/>
                <a:gd name="connsiteY3" fmla="*/ 1621448 h 1633506"/>
                <a:gd name="connsiteX4" fmla="*/ 1051026 w 1688009"/>
                <a:gd name="connsiteY4" fmla="*/ 1633506 h 1633506"/>
                <a:gd name="connsiteX5" fmla="*/ 0 w 1688009"/>
                <a:gd name="connsiteY5" fmla="*/ 778841 h 1633506"/>
                <a:gd name="connsiteX6" fmla="*/ 103971 w 1688009"/>
                <a:gd name="connsiteY6" fmla="*/ 664444 h 1633506"/>
                <a:gd name="connsiteX7" fmla="*/ 1478518 w 1688009"/>
                <a:gd name="connsiteY7" fmla="*/ 10578 h 1633506"/>
                <a:gd name="connsiteX8" fmla="*/ 1688009 w 1688009"/>
                <a:gd name="connsiteY8" fmla="*/ 0 h 1633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88009" h="1633506">
                  <a:moveTo>
                    <a:pt x="1688009" y="0"/>
                  </a:moveTo>
                  <a:lnTo>
                    <a:pt x="1688009" y="1353407"/>
                  </a:lnTo>
                  <a:lnTo>
                    <a:pt x="1616897" y="1356998"/>
                  </a:lnTo>
                  <a:cubicBezTo>
                    <a:pt x="1400618" y="1378963"/>
                    <a:pt x="1206507" y="1475916"/>
                    <a:pt x="1060975" y="1621448"/>
                  </a:cubicBezTo>
                  <a:lnTo>
                    <a:pt x="1051026" y="1633506"/>
                  </a:lnTo>
                  <a:lnTo>
                    <a:pt x="0" y="778841"/>
                  </a:lnTo>
                  <a:lnTo>
                    <a:pt x="103971" y="664444"/>
                  </a:lnTo>
                  <a:cubicBezTo>
                    <a:pt x="463807" y="304608"/>
                    <a:pt x="943756" y="64886"/>
                    <a:pt x="1478518" y="10578"/>
                  </a:cubicBezTo>
                  <a:lnTo>
                    <a:pt x="1688009" y="0"/>
                  </a:lnTo>
                  <a:close/>
                </a:path>
              </a:pathLst>
            </a:custGeom>
            <a:solidFill>
              <a:srgbClr val="001F5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48" kern="0" err="1">
                <a:solidFill>
                  <a:srgbClr val="FFFFFF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543" name="Picture 542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26558" y="5234940"/>
              <a:ext cx="409074" cy="497261"/>
            </a:xfrm>
            <a:prstGeom prst="rect">
              <a:avLst/>
            </a:prstGeom>
          </p:spPr>
        </p:pic>
      </p:grpSp>
      <p:cxnSp>
        <p:nvCxnSpPr>
          <p:cNvPr id="544" name="Straight Connector 543"/>
          <p:cNvCxnSpPr>
            <a:cxnSpLocks/>
          </p:cNvCxnSpPr>
          <p:nvPr/>
        </p:nvCxnSpPr>
        <p:spPr>
          <a:xfrm flipH="1" flipV="1">
            <a:off x="6218242" y="1845777"/>
            <a:ext cx="1" cy="2751355"/>
          </a:xfrm>
          <a:prstGeom prst="line">
            <a:avLst/>
          </a:prstGeom>
          <a:noFill/>
          <a:ln w="9525" cap="flat" cmpd="sng" algn="ctr">
            <a:solidFill>
              <a:srgbClr val="0078D7"/>
            </a:solidFill>
            <a:prstDash val="solid"/>
            <a:headEnd type="none"/>
            <a:tailEnd type="none"/>
          </a:ln>
          <a:effectLst/>
        </p:spPr>
      </p:cxnSp>
      <p:grpSp>
        <p:nvGrpSpPr>
          <p:cNvPr id="545" name="Group 544"/>
          <p:cNvGrpSpPr/>
          <p:nvPr/>
        </p:nvGrpSpPr>
        <p:grpSpPr>
          <a:xfrm>
            <a:off x="6916136" y="5534121"/>
            <a:ext cx="1602214" cy="1477890"/>
            <a:chOff x="6780276" y="5426102"/>
            <a:chExt cx="1570941" cy="1449043"/>
          </a:xfrm>
        </p:grpSpPr>
        <p:sp>
          <p:nvSpPr>
            <p:cNvPr id="546" name="Freeform: Shape 206"/>
            <p:cNvSpPr/>
            <p:nvPr/>
          </p:nvSpPr>
          <p:spPr bwMode="auto">
            <a:xfrm>
              <a:off x="6780276" y="5426102"/>
              <a:ext cx="1570941" cy="1449043"/>
            </a:xfrm>
            <a:custGeom>
              <a:avLst/>
              <a:gdLst>
                <a:gd name="connsiteX0" fmla="*/ 1053302 w 1570941"/>
                <a:gd name="connsiteY0" fmla="*/ 0 h 1449043"/>
                <a:gd name="connsiteX1" fmla="*/ 1182834 w 1570941"/>
                <a:gd name="connsiteY1" fmla="*/ 173221 h 1449043"/>
                <a:gd name="connsiteX2" fmla="*/ 1570941 w 1570941"/>
                <a:gd name="connsiteY2" fmla="*/ 1443795 h 1449043"/>
                <a:gd name="connsiteX3" fmla="*/ 1570676 w 1570941"/>
                <a:gd name="connsiteY3" fmla="*/ 1449043 h 1449043"/>
                <a:gd name="connsiteX4" fmla="*/ 217004 w 1570941"/>
                <a:gd name="connsiteY4" fmla="*/ 1449043 h 1449043"/>
                <a:gd name="connsiteX5" fmla="*/ 217533 w 1570941"/>
                <a:gd name="connsiteY5" fmla="*/ 1443795 h 1449043"/>
                <a:gd name="connsiteX6" fmla="*/ 60567 w 1570941"/>
                <a:gd name="connsiteY6" fmla="*/ 929924 h 1449043"/>
                <a:gd name="connsiteX7" fmla="*/ 0 w 1570941"/>
                <a:gd name="connsiteY7" fmla="*/ 856516 h 1449043"/>
                <a:gd name="connsiteX8" fmla="*/ 1053302 w 1570941"/>
                <a:gd name="connsiteY8" fmla="*/ 0 h 1449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70941" h="1449043">
                  <a:moveTo>
                    <a:pt x="1053302" y="0"/>
                  </a:moveTo>
                  <a:lnTo>
                    <a:pt x="1182834" y="173221"/>
                  </a:lnTo>
                  <a:cubicBezTo>
                    <a:pt x="1427865" y="535914"/>
                    <a:pt x="1570941" y="973146"/>
                    <a:pt x="1570941" y="1443795"/>
                  </a:cubicBezTo>
                  <a:lnTo>
                    <a:pt x="1570676" y="1449043"/>
                  </a:lnTo>
                  <a:lnTo>
                    <a:pt x="217004" y="1449043"/>
                  </a:lnTo>
                  <a:lnTo>
                    <a:pt x="217533" y="1443795"/>
                  </a:lnTo>
                  <a:cubicBezTo>
                    <a:pt x="217533" y="1253446"/>
                    <a:pt x="159667" y="1076612"/>
                    <a:pt x="60567" y="929924"/>
                  </a:cubicBezTo>
                  <a:lnTo>
                    <a:pt x="0" y="856516"/>
                  </a:lnTo>
                  <a:lnTo>
                    <a:pt x="1053302" y="0"/>
                  </a:lnTo>
                  <a:close/>
                </a:path>
              </a:pathLst>
            </a:custGeom>
            <a:solidFill>
              <a:srgbClr val="00BDF4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48" kern="0" err="1">
                <a:solidFill>
                  <a:srgbClr val="FFFFFF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547" name="Group 546"/>
            <p:cNvGrpSpPr/>
            <p:nvPr/>
          </p:nvGrpSpPr>
          <p:grpSpPr>
            <a:xfrm>
              <a:off x="7416801" y="6179062"/>
              <a:ext cx="536574" cy="422069"/>
              <a:chOff x="7754938" y="6999288"/>
              <a:chExt cx="639763" cy="503238"/>
            </a:xfrm>
          </p:grpSpPr>
          <p:sp>
            <p:nvSpPr>
              <p:cNvPr id="548" name="Freeform 5"/>
              <p:cNvSpPr>
                <a:spLocks noEditPoints="1"/>
              </p:cNvSpPr>
              <p:nvPr/>
            </p:nvSpPr>
            <p:spPr bwMode="auto">
              <a:xfrm>
                <a:off x="7754938" y="6999288"/>
                <a:ext cx="639763" cy="225425"/>
              </a:xfrm>
              <a:custGeom>
                <a:avLst/>
                <a:gdLst>
                  <a:gd name="T0" fmla="*/ 132 w 148"/>
                  <a:gd name="T1" fmla="*/ 52 h 52"/>
                  <a:gd name="T2" fmla="*/ 15 w 148"/>
                  <a:gd name="T3" fmla="*/ 52 h 52"/>
                  <a:gd name="T4" fmla="*/ 0 w 148"/>
                  <a:gd name="T5" fmla="*/ 37 h 52"/>
                  <a:gd name="T6" fmla="*/ 0 w 148"/>
                  <a:gd name="T7" fmla="*/ 16 h 52"/>
                  <a:gd name="T8" fmla="*/ 15 w 148"/>
                  <a:gd name="T9" fmla="*/ 0 h 52"/>
                  <a:gd name="T10" fmla="*/ 132 w 148"/>
                  <a:gd name="T11" fmla="*/ 0 h 52"/>
                  <a:gd name="T12" fmla="*/ 148 w 148"/>
                  <a:gd name="T13" fmla="*/ 16 h 52"/>
                  <a:gd name="T14" fmla="*/ 148 w 148"/>
                  <a:gd name="T15" fmla="*/ 37 h 52"/>
                  <a:gd name="T16" fmla="*/ 132 w 148"/>
                  <a:gd name="T17" fmla="*/ 52 h 52"/>
                  <a:gd name="T18" fmla="*/ 15 w 148"/>
                  <a:gd name="T19" fmla="*/ 8 h 52"/>
                  <a:gd name="T20" fmla="*/ 8 w 148"/>
                  <a:gd name="T21" fmla="*/ 16 h 52"/>
                  <a:gd name="T22" fmla="*/ 8 w 148"/>
                  <a:gd name="T23" fmla="*/ 37 h 52"/>
                  <a:gd name="T24" fmla="*/ 15 w 148"/>
                  <a:gd name="T25" fmla="*/ 44 h 52"/>
                  <a:gd name="T26" fmla="*/ 132 w 148"/>
                  <a:gd name="T27" fmla="*/ 44 h 52"/>
                  <a:gd name="T28" fmla="*/ 140 w 148"/>
                  <a:gd name="T29" fmla="*/ 37 h 52"/>
                  <a:gd name="T30" fmla="*/ 140 w 148"/>
                  <a:gd name="T31" fmla="*/ 16 h 52"/>
                  <a:gd name="T32" fmla="*/ 132 w 148"/>
                  <a:gd name="T33" fmla="*/ 8 h 52"/>
                  <a:gd name="T34" fmla="*/ 15 w 148"/>
                  <a:gd name="T35" fmla="*/ 8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8" h="52">
                    <a:moveTo>
                      <a:pt x="132" y="52"/>
                    </a:moveTo>
                    <a:cubicBezTo>
                      <a:pt x="15" y="52"/>
                      <a:pt x="15" y="52"/>
                      <a:pt x="15" y="52"/>
                    </a:cubicBezTo>
                    <a:cubicBezTo>
                      <a:pt x="6" y="52"/>
                      <a:pt x="0" y="45"/>
                      <a:pt x="0" y="37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7"/>
                      <a:pt x="6" y="0"/>
                      <a:pt x="15" y="0"/>
                    </a:cubicBezTo>
                    <a:cubicBezTo>
                      <a:pt x="132" y="0"/>
                      <a:pt x="132" y="0"/>
                      <a:pt x="132" y="0"/>
                    </a:cubicBezTo>
                    <a:cubicBezTo>
                      <a:pt x="141" y="0"/>
                      <a:pt x="148" y="7"/>
                      <a:pt x="148" y="16"/>
                    </a:cubicBezTo>
                    <a:cubicBezTo>
                      <a:pt x="148" y="37"/>
                      <a:pt x="148" y="37"/>
                      <a:pt x="148" y="37"/>
                    </a:cubicBezTo>
                    <a:cubicBezTo>
                      <a:pt x="148" y="45"/>
                      <a:pt x="141" y="52"/>
                      <a:pt x="132" y="52"/>
                    </a:cubicBezTo>
                    <a:close/>
                    <a:moveTo>
                      <a:pt x="15" y="8"/>
                    </a:moveTo>
                    <a:cubicBezTo>
                      <a:pt x="11" y="8"/>
                      <a:pt x="8" y="12"/>
                      <a:pt x="8" y="16"/>
                    </a:cubicBezTo>
                    <a:cubicBezTo>
                      <a:pt x="8" y="37"/>
                      <a:pt x="8" y="37"/>
                      <a:pt x="8" y="37"/>
                    </a:cubicBezTo>
                    <a:cubicBezTo>
                      <a:pt x="8" y="41"/>
                      <a:pt x="11" y="44"/>
                      <a:pt x="15" y="44"/>
                    </a:cubicBezTo>
                    <a:cubicBezTo>
                      <a:pt x="132" y="44"/>
                      <a:pt x="132" y="44"/>
                      <a:pt x="132" y="44"/>
                    </a:cubicBezTo>
                    <a:cubicBezTo>
                      <a:pt x="136" y="44"/>
                      <a:pt x="140" y="41"/>
                      <a:pt x="140" y="37"/>
                    </a:cubicBezTo>
                    <a:cubicBezTo>
                      <a:pt x="140" y="16"/>
                      <a:pt x="140" y="16"/>
                      <a:pt x="140" y="16"/>
                    </a:cubicBezTo>
                    <a:cubicBezTo>
                      <a:pt x="140" y="12"/>
                      <a:pt x="136" y="8"/>
                      <a:pt x="132" y="8"/>
                    </a:cubicBezTo>
                    <a:lnTo>
                      <a:pt x="15" y="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defTabSz="932597">
                  <a:defRPr/>
                </a:pPr>
                <a:endParaRPr lang="en-US" sz="1836" kern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549" name="Oval 6"/>
              <p:cNvSpPr>
                <a:spLocks noChangeArrowheads="1"/>
              </p:cNvSpPr>
              <p:nvPr/>
            </p:nvSpPr>
            <p:spPr bwMode="auto">
              <a:xfrm>
                <a:off x="8243888" y="7086601"/>
                <a:ext cx="55563" cy="5556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defTabSz="932597">
                  <a:defRPr/>
                </a:pPr>
                <a:endParaRPr lang="en-US" sz="1836" kern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550" name="Rectangle 7"/>
              <p:cNvSpPr>
                <a:spLocks noChangeArrowheads="1"/>
              </p:cNvSpPr>
              <p:nvPr/>
            </p:nvSpPr>
            <p:spPr bwMode="auto">
              <a:xfrm>
                <a:off x="7837488" y="7094538"/>
                <a:ext cx="298450" cy="3492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defTabSz="932597">
                  <a:defRPr/>
                </a:pPr>
                <a:endParaRPr lang="en-US" sz="1836" kern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551" name="Freeform 8"/>
              <p:cNvSpPr>
                <a:spLocks noEditPoints="1"/>
              </p:cNvSpPr>
              <p:nvPr/>
            </p:nvSpPr>
            <p:spPr bwMode="auto">
              <a:xfrm>
                <a:off x="7754938" y="7277101"/>
                <a:ext cx="639763" cy="225425"/>
              </a:xfrm>
              <a:custGeom>
                <a:avLst/>
                <a:gdLst>
                  <a:gd name="T0" fmla="*/ 132 w 148"/>
                  <a:gd name="T1" fmla="*/ 52 h 52"/>
                  <a:gd name="T2" fmla="*/ 15 w 148"/>
                  <a:gd name="T3" fmla="*/ 52 h 52"/>
                  <a:gd name="T4" fmla="*/ 0 w 148"/>
                  <a:gd name="T5" fmla="*/ 36 h 52"/>
                  <a:gd name="T6" fmla="*/ 0 w 148"/>
                  <a:gd name="T7" fmla="*/ 15 h 52"/>
                  <a:gd name="T8" fmla="*/ 15 w 148"/>
                  <a:gd name="T9" fmla="*/ 0 h 52"/>
                  <a:gd name="T10" fmla="*/ 132 w 148"/>
                  <a:gd name="T11" fmla="*/ 0 h 52"/>
                  <a:gd name="T12" fmla="*/ 148 w 148"/>
                  <a:gd name="T13" fmla="*/ 15 h 52"/>
                  <a:gd name="T14" fmla="*/ 148 w 148"/>
                  <a:gd name="T15" fmla="*/ 36 h 52"/>
                  <a:gd name="T16" fmla="*/ 132 w 148"/>
                  <a:gd name="T17" fmla="*/ 52 h 52"/>
                  <a:gd name="T18" fmla="*/ 15 w 148"/>
                  <a:gd name="T19" fmla="*/ 8 h 52"/>
                  <a:gd name="T20" fmla="*/ 8 w 148"/>
                  <a:gd name="T21" fmla="*/ 15 h 52"/>
                  <a:gd name="T22" fmla="*/ 8 w 148"/>
                  <a:gd name="T23" fmla="*/ 36 h 52"/>
                  <a:gd name="T24" fmla="*/ 15 w 148"/>
                  <a:gd name="T25" fmla="*/ 44 h 52"/>
                  <a:gd name="T26" fmla="*/ 132 w 148"/>
                  <a:gd name="T27" fmla="*/ 44 h 52"/>
                  <a:gd name="T28" fmla="*/ 140 w 148"/>
                  <a:gd name="T29" fmla="*/ 36 h 52"/>
                  <a:gd name="T30" fmla="*/ 140 w 148"/>
                  <a:gd name="T31" fmla="*/ 15 h 52"/>
                  <a:gd name="T32" fmla="*/ 132 w 148"/>
                  <a:gd name="T33" fmla="*/ 8 h 52"/>
                  <a:gd name="T34" fmla="*/ 15 w 148"/>
                  <a:gd name="T35" fmla="*/ 8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8" h="52">
                    <a:moveTo>
                      <a:pt x="132" y="52"/>
                    </a:moveTo>
                    <a:cubicBezTo>
                      <a:pt x="15" y="52"/>
                      <a:pt x="15" y="52"/>
                      <a:pt x="15" y="52"/>
                    </a:cubicBezTo>
                    <a:cubicBezTo>
                      <a:pt x="6" y="52"/>
                      <a:pt x="0" y="45"/>
                      <a:pt x="0" y="36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7"/>
                      <a:pt x="6" y="0"/>
                      <a:pt x="15" y="0"/>
                    </a:cubicBezTo>
                    <a:cubicBezTo>
                      <a:pt x="132" y="0"/>
                      <a:pt x="132" y="0"/>
                      <a:pt x="132" y="0"/>
                    </a:cubicBezTo>
                    <a:cubicBezTo>
                      <a:pt x="141" y="0"/>
                      <a:pt x="148" y="7"/>
                      <a:pt x="148" y="15"/>
                    </a:cubicBezTo>
                    <a:cubicBezTo>
                      <a:pt x="148" y="36"/>
                      <a:pt x="148" y="36"/>
                      <a:pt x="148" y="36"/>
                    </a:cubicBezTo>
                    <a:cubicBezTo>
                      <a:pt x="148" y="45"/>
                      <a:pt x="141" y="52"/>
                      <a:pt x="132" y="52"/>
                    </a:cubicBezTo>
                    <a:close/>
                    <a:moveTo>
                      <a:pt x="15" y="8"/>
                    </a:moveTo>
                    <a:cubicBezTo>
                      <a:pt x="11" y="8"/>
                      <a:pt x="8" y="11"/>
                      <a:pt x="8" y="15"/>
                    </a:cubicBezTo>
                    <a:cubicBezTo>
                      <a:pt x="8" y="36"/>
                      <a:pt x="8" y="36"/>
                      <a:pt x="8" y="36"/>
                    </a:cubicBezTo>
                    <a:cubicBezTo>
                      <a:pt x="8" y="40"/>
                      <a:pt x="11" y="44"/>
                      <a:pt x="15" y="44"/>
                    </a:cubicBezTo>
                    <a:cubicBezTo>
                      <a:pt x="132" y="44"/>
                      <a:pt x="132" y="44"/>
                      <a:pt x="132" y="44"/>
                    </a:cubicBezTo>
                    <a:cubicBezTo>
                      <a:pt x="136" y="44"/>
                      <a:pt x="140" y="40"/>
                      <a:pt x="140" y="36"/>
                    </a:cubicBezTo>
                    <a:cubicBezTo>
                      <a:pt x="140" y="15"/>
                      <a:pt x="140" y="15"/>
                      <a:pt x="140" y="15"/>
                    </a:cubicBezTo>
                    <a:cubicBezTo>
                      <a:pt x="140" y="11"/>
                      <a:pt x="136" y="8"/>
                      <a:pt x="132" y="8"/>
                    </a:cubicBezTo>
                    <a:lnTo>
                      <a:pt x="15" y="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defTabSz="932597">
                  <a:defRPr/>
                </a:pPr>
                <a:endParaRPr lang="en-US" sz="1836" kern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552" name="Oval 9"/>
              <p:cNvSpPr>
                <a:spLocks noChangeArrowheads="1"/>
              </p:cNvSpPr>
              <p:nvPr/>
            </p:nvSpPr>
            <p:spPr bwMode="auto">
              <a:xfrm>
                <a:off x="8243888" y="7364413"/>
                <a:ext cx="55563" cy="5556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defTabSz="932597">
                  <a:defRPr/>
                </a:pPr>
                <a:endParaRPr lang="en-US" sz="1836" kern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553" name="Rectangle 10"/>
              <p:cNvSpPr>
                <a:spLocks noChangeArrowheads="1"/>
              </p:cNvSpPr>
              <p:nvPr/>
            </p:nvSpPr>
            <p:spPr bwMode="auto">
              <a:xfrm>
                <a:off x="7837488" y="7372351"/>
                <a:ext cx="298450" cy="3492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defTabSz="932597">
                  <a:defRPr/>
                </a:pPr>
                <a:endParaRPr lang="en-US" sz="1836" kern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</p:grpSp>
      <p:grpSp>
        <p:nvGrpSpPr>
          <p:cNvPr id="554" name="Group 553"/>
          <p:cNvGrpSpPr/>
          <p:nvPr/>
        </p:nvGrpSpPr>
        <p:grpSpPr>
          <a:xfrm>
            <a:off x="495289" y="4565038"/>
            <a:ext cx="3302238" cy="2008929"/>
            <a:chOff x="484757" y="4437187"/>
            <a:chExt cx="3237782" cy="1969717"/>
          </a:xfrm>
        </p:grpSpPr>
        <p:sp>
          <p:nvSpPr>
            <p:cNvPr id="555" name="Rectangle 554"/>
            <p:cNvSpPr/>
            <p:nvPr/>
          </p:nvSpPr>
          <p:spPr>
            <a:xfrm>
              <a:off x="2236001" y="5813228"/>
              <a:ext cx="1486538" cy="593676"/>
            </a:xfrm>
            <a:prstGeom prst="rect">
              <a:avLst/>
            </a:prstGeom>
            <a:noFill/>
          </p:spPr>
          <p:txBody>
            <a:bodyPr wrap="square" anchor="ctr">
              <a:noAutofit/>
            </a:bodyPr>
            <a:lstStyle/>
            <a:p>
              <a:pPr algn="ctr" defTabSz="93229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IN" sz="1836" kern="0">
                  <a:solidFill>
                    <a:srgbClr val="FFFFFF"/>
                  </a:soli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rPr>
                <a:t>ACCESS APPROVAL</a:t>
              </a:r>
            </a:p>
          </p:txBody>
        </p:sp>
        <p:grpSp>
          <p:nvGrpSpPr>
            <p:cNvPr id="556" name="Group 555"/>
            <p:cNvGrpSpPr/>
            <p:nvPr/>
          </p:nvGrpSpPr>
          <p:grpSpPr>
            <a:xfrm>
              <a:off x="484757" y="5018913"/>
              <a:ext cx="1161344" cy="1021786"/>
              <a:chOff x="455751" y="4149648"/>
              <a:chExt cx="1161344" cy="1021786"/>
            </a:xfrm>
            <a:noFill/>
          </p:grpSpPr>
          <p:sp>
            <p:nvSpPr>
              <p:cNvPr id="568" name="Rectangle 567"/>
              <p:cNvSpPr/>
              <p:nvPr/>
            </p:nvSpPr>
            <p:spPr>
              <a:xfrm>
                <a:off x="455751" y="4740193"/>
                <a:ext cx="1161344" cy="431241"/>
              </a:xfrm>
              <a:prstGeom prst="rect">
                <a:avLst/>
              </a:prstGeom>
              <a:grpFill/>
              <a:ln w="3175">
                <a:noFill/>
                <a:prstDash val="sysDot"/>
                <a:miter lim="800000"/>
                <a:headEnd/>
                <a:tailEnd type="oval" w="lg" len="lg"/>
              </a:ln>
              <a:extLst/>
            </p:spPr>
            <p:txBody>
              <a:bodyPr wrap="none" lIns="46630" tIns="46630" rIns="46630" bIns="46630" anchor="ctr">
                <a:noAutofit/>
              </a:bodyPr>
              <a:lstStyle/>
              <a:p>
                <a:pPr algn="ctr" defTabSz="932597">
                  <a:defRPr/>
                </a:pPr>
                <a:r>
                  <a:rPr lang="en-US" sz="1224" kern="0">
                    <a:solidFill>
                      <a:srgbClr val="FFFFFF"/>
                    </a:solidFill>
                    <a:latin typeface="Segoe UI"/>
                    <a:cs typeface="Segoe UI" panose="020B0502040204020203" pitchFamily="34" charset="0"/>
                  </a:rPr>
                  <a:t>Background check</a:t>
                </a:r>
              </a:p>
            </p:txBody>
          </p:sp>
          <p:sp>
            <p:nvSpPr>
              <p:cNvPr id="569" name="Freeform 166"/>
              <p:cNvSpPr>
                <a:spLocks/>
              </p:cNvSpPr>
              <p:nvPr/>
            </p:nvSpPr>
            <p:spPr bwMode="auto">
              <a:xfrm>
                <a:off x="893380" y="4323013"/>
                <a:ext cx="60043" cy="58360"/>
              </a:xfrm>
              <a:custGeom>
                <a:avLst/>
                <a:gdLst>
                  <a:gd name="T0" fmla="*/ 26 w 51"/>
                  <a:gd name="T1" fmla="*/ 51 h 51"/>
                  <a:gd name="T2" fmla="*/ 26 w 51"/>
                  <a:gd name="T3" fmla="*/ 51 h 51"/>
                  <a:gd name="T4" fmla="*/ 0 w 51"/>
                  <a:gd name="T5" fmla="*/ 25 h 51"/>
                  <a:gd name="T6" fmla="*/ 26 w 51"/>
                  <a:gd name="T7" fmla="*/ 0 h 51"/>
                  <a:gd name="T8" fmla="*/ 51 w 51"/>
                  <a:gd name="T9" fmla="*/ 25 h 51"/>
                  <a:gd name="T10" fmla="*/ 26 w 51"/>
                  <a:gd name="T11" fmla="*/ 51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1" h="51">
                    <a:moveTo>
                      <a:pt x="26" y="51"/>
                    </a:moveTo>
                    <a:lnTo>
                      <a:pt x="26" y="51"/>
                    </a:lnTo>
                    <a:cubicBezTo>
                      <a:pt x="12" y="51"/>
                      <a:pt x="0" y="39"/>
                      <a:pt x="0" y="25"/>
                    </a:cubicBezTo>
                    <a:cubicBezTo>
                      <a:pt x="0" y="11"/>
                      <a:pt x="12" y="0"/>
                      <a:pt x="26" y="0"/>
                    </a:cubicBezTo>
                    <a:cubicBezTo>
                      <a:pt x="40" y="0"/>
                      <a:pt x="51" y="11"/>
                      <a:pt x="51" y="25"/>
                    </a:cubicBezTo>
                    <a:cubicBezTo>
                      <a:pt x="51" y="39"/>
                      <a:pt x="40" y="51"/>
                      <a:pt x="26" y="51"/>
                    </a:cubicBez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5117" tIns="47558" rIns="95117" bIns="47558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32559">
                  <a:defRPr/>
                </a:pPr>
                <a:endParaRPr lang="en-US" sz="1873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570" name="Freeform 167"/>
              <p:cNvSpPr>
                <a:spLocks/>
              </p:cNvSpPr>
              <p:nvPr/>
            </p:nvSpPr>
            <p:spPr bwMode="auto">
              <a:xfrm>
                <a:off x="870422" y="4391672"/>
                <a:ext cx="86533" cy="204261"/>
              </a:xfrm>
              <a:custGeom>
                <a:avLst/>
                <a:gdLst>
                  <a:gd name="T0" fmla="*/ 20 w 74"/>
                  <a:gd name="T1" fmla="*/ 0 h 179"/>
                  <a:gd name="T2" fmla="*/ 20 w 74"/>
                  <a:gd name="T3" fmla="*/ 0 h 179"/>
                  <a:gd name="T4" fmla="*/ 68 w 74"/>
                  <a:gd name="T5" fmla="*/ 0 h 179"/>
                  <a:gd name="T6" fmla="*/ 62 w 74"/>
                  <a:gd name="T7" fmla="*/ 19 h 179"/>
                  <a:gd name="T8" fmla="*/ 62 w 74"/>
                  <a:gd name="T9" fmla="*/ 90 h 179"/>
                  <a:gd name="T10" fmla="*/ 74 w 74"/>
                  <a:gd name="T11" fmla="*/ 114 h 179"/>
                  <a:gd name="T12" fmla="*/ 74 w 74"/>
                  <a:gd name="T13" fmla="*/ 164 h 179"/>
                  <a:gd name="T14" fmla="*/ 59 w 74"/>
                  <a:gd name="T15" fmla="*/ 179 h 179"/>
                  <a:gd name="T16" fmla="*/ 45 w 74"/>
                  <a:gd name="T17" fmla="*/ 167 h 179"/>
                  <a:gd name="T18" fmla="*/ 30 w 74"/>
                  <a:gd name="T19" fmla="*/ 179 h 179"/>
                  <a:gd name="T20" fmla="*/ 15 w 74"/>
                  <a:gd name="T21" fmla="*/ 164 h 179"/>
                  <a:gd name="T22" fmla="*/ 15 w 74"/>
                  <a:gd name="T23" fmla="*/ 94 h 179"/>
                  <a:gd name="T24" fmla="*/ 0 w 74"/>
                  <a:gd name="T25" fmla="*/ 76 h 179"/>
                  <a:gd name="T26" fmla="*/ 0 w 74"/>
                  <a:gd name="T27" fmla="*/ 20 h 179"/>
                  <a:gd name="T28" fmla="*/ 20 w 74"/>
                  <a:gd name="T29" fmla="*/ 0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4" h="179">
                    <a:moveTo>
                      <a:pt x="20" y="0"/>
                    </a:moveTo>
                    <a:lnTo>
                      <a:pt x="20" y="0"/>
                    </a:lnTo>
                    <a:lnTo>
                      <a:pt x="68" y="0"/>
                    </a:lnTo>
                    <a:cubicBezTo>
                      <a:pt x="64" y="5"/>
                      <a:pt x="62" y="12"/>
                      <a:pt x="62" y="19"/>
                    </a:cubicBezTo>
                    <a:lnTo>
                      <a:pt x="62" y="90"/>
                    </a:lnTo>
                    <a:cubicBezTo>
                      <a:pt x="62" y="100"/>
                      <a:pt x="67" y="109"/>
                      <a:pt x="74" y="114"/>
                    </a:cubicBezTo>
                    <a:lnTo>
                      <a:pt x="74" y="164"/>
                    </a:lnTo>
                    <a:cubicBezTo>
                      <a:pt x="74" y="172"/>
                      <a:pt x="68" y="179"/>
                      <a:pt x="59" y="179"/>
                    </a:cubicBezTo>
                    <a:cubicBezTo>
                      <a:pt x="52" y="179"/>
                      <a:pt x="46" y="174"/>
                      <a:pt x="45" y="167"/>
                    </a:cubicBezTo>
                    <a:cubicBezTo>
                      <a:pt x="43" y="174"/>
                      <a:pt x="37" y="179"/>
                      <a:pt x="30" y="179"/>
                    </a:cubicBezTo>
                    <a:cubicBezTo>
                      <a:pt x="22" y="179"/>
                      <a:pt x="15" y="172"/>
                      <a:pt x="15" y="164"/>
                    </a:cubicBezTo>
                    <a:lnTo>
                      <a:pt x="15" y="94"/>
                    </a:lnTo>
                    <a:cubicBezTo>
                      <a:pt x="7" y="92"/>
                      <a:pt x="0" y="85"/>
                      <a:pt x="0" y="76"/>
                    </a:cubicBezTo>
                    <a:lnTo>
                      <a:pt x="0" y="20"/>
                    </a:lnTo>
                    <a:cubicBezTo>
                      <a:pt x="0" y="9"/>
                      <a:pt x="9" y="0"/>
                      <a:pt x="20" y="0"/>
                    </a:cubicBez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5117" tIns="47558" rIns="95117" bIns="47558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32559">
                  <a:defRPr/>
                </a:pPr>
                <a:endParaRPr lang="en-US" sz="1873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571" name="Freeform 168"/>
              <p:cNvSpPr>
                <a:spLocks/>
              </p:cNvSpPr>
              <p:nvPr/>
            </p:nvSpPr>
            <p:spPr bwMode="auto">
              <a:xfrm>
                <a:off x="1114127" y="4391672"/>
                <a:ext cx="86533" cy="204261"/>
              </a:xfrm>
              <a:custGeom>
                <a:avLst/>
                <a:gdLst>
                  <a:gd name="T0" fmla="*/ 14 w 74"/>
                  <a:gd name="T1" fmla="*/ 90 h 179"/>
                  <a:gd name="T2" fmla="*/ 14 w 74"/>
                  <a:gd name="T3" fmla="*/ 90 h 179"/>
                  <a:gd name="T4" fmla="*/ 14 w 74"/>
                  <a:gd name="T5" fmla="*/ 19 h 179"/>
                  <a:gd name="T6" fmla="*/ 7 w 74"/>
                  <a:gd name="T7" fmla="*/ 0 h 179"/>
                  <a:gd name="T8" fmla="*/ 55 w 74"/>
                  <a:gd name="T9" fmla="*/ 0 h 179"/>
                  <a:gd name="T10" fmla="*/ 74 w 74"/>
                  <a:gd name="T11" fmla="*/ 20 h 179"/>
                  <a:gd name="T12" fmla="*/ 74 w 74"/>
                  <a:gd name="T13" fmla="*/ 76 h 179"/>
                  <a:gd name="T14" fmla="*/ 59 w 74"/>
                  <a:gd name="T15" fmla="*/ 94 h 179"/>
                  <a:gd name="T16" fmla="*/ 59 w 74"/>
                  <a:gd name="T17" fmla="*/ 164 h 179"/>
                  <a:gd name="T18" fmla="*/ 44 w 74"/>
                  <a:gd name="T19" fmla="*/ 179 h 179"/>
                  <a:gd name="T20" fmla="*/ 30 w 74"/>
                  <a:gd name="T21" fmla="*/ 167 h 179"/>
                  <a:gd name="T22" fmla="*/ 15 w 74"/>
                  <a:gd name="T23" fmla="*/ 179 h 179"/>
                  <a:gd name="T24" fmla="*/ 0 w 74"/>
                  <a:gd name="T25" fmla="*/ 164 h 179"/>
                  <a:gd name="T26" fmla="*/ 0 w 74"/>
                  <a:gd name="T27" fmla="*/ 115 h 179"/>
                  <a:gd name="T28" fmla="*/ 14 w 74"/>
                  <a:gd name="T29" fmla="*/ 90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4" h="179">
                    <a:moveTo>
                      <a:pt x="14" y="90"/>
                    </a:moveTo>
                    <a:lnTo>
                      <a:pt x="14" y="90"/>
                    </a:lnTo>
                    <a:lnTo>
                      <a:pt x="14" y="19"/>
                    </a:lnTo>
                    <a:cubicBezTo>
                      <a:pt x="14" y="12"/>
                      <a:pt x="11" y="5"/>
                      <a:pt x="7" y="0"/>
                    </a:cubicBezTo>
                    <a:lnTo>
                      <a:pt x="55" y="0"/>
                    </a:lnTo>
                    <a:cubicBezTo>
                      <a:pt x="66" y="0"/>
                      <a:pt x="74" y="9"/>
                      <a:pt x="74" y="20"/>
                    </a:cubicBezTo>
                    <a:lnTo>
                      <a:pt x="74" y="76"/>
                    </a:lnTo>
                    <a:cubicBezTo>
                      <a:pt x="74" y="85"/>
                      <a:pt x="68" y="92"/>
                      <a:pt x="59" y="94"/>
                    </a:cubicBezTo>
                    <a:lnTo>
                      <a:pt x="59" y="164"/>
                    </a:lnTo>
                    <a:cubicBezTo>
                      <a:pt x="59" y="172"/>
                      <a:pt x="53" y="179"/>
                      <a:pt x="44" y="179"/>
                    </a:cubicBezTo>
                    <a:cubicBezTo>
                      <a:pt x="37" y="179"/>
                      <a:pt x="31" y="174"/>
                      <a:pt x="30" y="167"/>
                    </a:cubicBezTo>
                    <a:cubicBezTo>
                      <a:pt x="28" y="174"/>
                      <a:pt x="22" y="179"/>
                      <a:pt x="15" y="179"/>
                    </a:cubicBezTo>
                    <a:cubicBezTo>
                      <a:pt x="7" y="179"/>
                      <a:pt x="0" y="172"/>
                      <a:pt x="0" y="164"/>
                    </a:cubicBezTo>
                    <a:lnTo>
                      <a:pt x="0" y="115"/>
                    </a:lnTo>
                    <a:cubicBezTo>
                      <a:pt x="8" y="110"/>
                      <a:pt x="14" y="100"/>
                      <a:pt x="14" y="90"/>
                    </a:cubicBez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5117" tIns="47558" rIns="95117" bIns="47558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32559">
                  <a:defRPr/>
                </a:pPr>
                <a:endParaRPr lang="en-US" sz="1873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572" name="Freeform 169"/>
              <p:cNvSpPr>
                <a:spLocks/>
              </p:cNvSpPr>
              <p:nvPr/>
            </p:nvSpPr>
            <p:spPr bwMode="auto">
              <a:xfrm>
                <a:off x="1119425" y="4323013"/>
                <a:ext cx="60043" cy="58360"/>
              </a:xfrm>
              <a:custGeom>
                <a:avLst/>
                <a:gdLst>
                  <a:gd name="T0" fmla="*/ 26 w 51"/>
                  <a:gd name="T1" fmla="*/ 51 h 51"/>
                  <a:gd name="T2" fmla="*/ 26 w 51"/>
                  <a:gd name="T3" fmla="*/ 51 h 51"/>
                  <a:gd name="T4" fmla="*/ 0 w 51"/>
                  <a:gd name="T5" fmla="*/ 25 h 51"/>
                  <a:gd name="T6" fmla="*/ 26 w 51"/>
                  <a:gd name="T7" fmla="*/ 0 h 51"/>
                  <a:gd name="T8" fmla="*/ 51 w 51"/>
                  <a:gd name="T9" fmla="*/ 25 h 51"/>
                  <a:gd name="T10" fmla="*/ 26 w 51"/>
                  <a:gd name="T11" fmla="*/ 51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1" h="51">
                    <a:moveTo>
                      <a:pt x="26" y="51"/>
                    </a:moveTo>
                    <a:lnTo>
                      <a:pt x="26" y="51"/>
                    </a:lnTo>
                    <a:cubicBezTo>
                      <a:pt x="12" y="51"/>
                      <a:pt x="0" y="39"/>
                      <a:pt x="0" y="25"/>
                    </a:cubicBezTo>
                    <a:cubicBezTo>
                      <a:pt x="0" y="11"/>
                      <a:pt x="12" y="0"/>
                      <a:pt x="26" y="0"/>
                    </a:cubicBezTo>
                    <a:cubicBezTo>
                      <a:pt x="40" y="0"/>
                      <a:pt x="51" y="11"/>
                      <a:pt x="51" y="25"/>
                    </a:cubicBezTo>
                    <a:cubicBezTo>
                      <a:pt x="51" y="39"/>
                      <a:pt x="40" y="51"/>
                      <a:pt x="26" y="51"/>
                    </a:cubicBez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5117" tIns="47558" rIns="95117" bIns="47558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32559">
                  <a:defRPr/>
                </a:pPr>
                <a:endParaRPr lang="en-US" sz="1873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573" name="Freeform 170"/>
              <p:cNvSpPr>
                <a:spLocks/>
              </p:cNvSpPr>
              <p:nvPr/>
            </p:nvSpPr>
            <p:spPr bwMode="auto">
              <a:xfrm>
                <a:off x="964019" y="4389955"/>
                <a:ext cx="146576" cy="252322"/>
              </a:xfrm>
              <a:custGeom>
                <a:avLst/>
                <a:gdLst>
                  <a:gd name="T0" fmla="*/ 19 w 125"/>
                  <a:gd name="T1" fmla="*/ 0 h 221"/>
                  <a:gd name="T2" fmla="*/ 19 w 125"/>
                  <a:gd name="T3" fmla="*/ 0 h 221"/>
                  <a:gd name="T4" fmla="*/ 44 w 125"/>
                  <a:gd name="T5" fmla="*/ 0 h 221"/>
                  <a:gd name="T6" fmla="*/ 63 w 125"/>
                  <a:gd name="T7" fmla="*/ 25 h 221"/>
                  <a:gd name="T8" fmla="*/ 82 w 125"/>
                  <a:gd name="T9" fmla="*/ 0 h 221"/>
                  <a:gd name="T10" fmla="*/ 106 w 125"/>
                  <a:gd name="T11" fmla="*/ 0 h 221"/>
                  <a:gd name="T12" fmla="*/ 125 w 125"/>
                  <a:gd name="T13" fmla="*/ 20 h 221"/>
                  <a:gd name="T14" fmla="*/ 125 w 125"/>
                  <a:gd name="T15" fmla="*/ 91 h 221"/>
                  <a:gd name="T16" fmla="*/ 106 w 125"/>
                  <a:gd name="T17" fmla="*/ 110 h 221"/>
                  <a:gd name="T18" fmla="*/ 100 w 125"/>
                  <a:gd name="T19" fmla="*/ 110 h 221"/>
                  <a:gd name="T20" fmla="*/ 100 w 125"/>
                  <a:gd name="T21" fmla="*/ 202 h 221"/>
                  <a:gd name="T22" fmla="*/ 81 w 125"/>
                  <a:gd name="T23" fmla="*/ 221 h 221"/>
                  <a:gd name="T24" fmla="*/ 63 w 125"/>
                  <a:gd name="T25" fmla="*/ 209 h 221"/>
                  <a:gd name="T26" fmla="*/ 45 w 125"/>
                  <a:gd name="T27" fmla="*/ 221 h 221"/>
                  <a:gd name="T28" fmla="*/ 26 w 125"/>
                  <a:gd name="T29" fmla="*/ 202 h 221"/>
                  <a:gd name="T30" fmla="*/ 26 w 125"/>
                  <a:gd name="T31" fmla="*/ 110 h 221"/>
                  <a:gd name="T32" fmla="*/ 19 w 125"/>
                  <a:gd name="T33" fmla="*/ 110 h 221"/>
                  <a:gd name="T34" fmla="*/ 0 w 125"/>
                  <a:gd name="T35" fmla="*/ 91 h 221"/>
                  <a:gd name="T36" fmla="*/ 0 w 125"/>
                  <a:gd name="T37" fmla="*/ 20 h 221"/>
                  <a:gd name="T38" fmla="*/ 19 w 125"/>
                  <a:gd name="T39" fmla="*/ 0 h 2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5" h="221">
                    <a:moveTo>
                      <a:pt x="19" y="0"/>
                    </a:moveTo>
                    <a:lnTo>
                      <a:pt x="19" y="0"/>
                    </a:lnTo>
                    <a:lnTo>
                      <a:pt x="44" y="0"/>
                    </a:lnTo>
                    <a:lnTo>
                      <a:pt x="63" y="25"/>
                    </a:lnTo>
                    <a:lnTo>
                      <a:pt x="82" y="0"/>
                    </a:lnTo>
                    <a:lnTo>
                      <a:pt x="106" y="0"/>
                    </a:lnTo>
                    <a:cubicBezTo>
                      <a:pt x="117" y="0"/>
                      <a:pt x="125" y="9"/>
                      <a:pt x="125" y="20"/>
                    </a:cubicBezTo>
                    <a:lnTo>
                      <a:pt x="125" y="91"/>
                    </a:lnTo>
                    <a:cubicBezTo>
                      <a:pt x="125" y="102"/>
                      <a:pt x="117" y="110"/>
                      <a:pt x="106" y="110"/>
                    </a:cubicBezTo>
                    <a:lnTo>
                      <a:pt x="100" y="110"/>
                    </a:lnTo>
                    <a:lnTo>
                      <a:pt x="100" y="202"/>
                    </a:lnTo>
                    <a:cubicBezTo>
                      <a:pt x="100" y="213"/>
                      <a:pt x="91" y="221"/>
                      <a:pt x="81" y="221"/>
                    </a:cubicBezTo>
                    <a:cubicBezTo>
                      <a:pt x="73" y="221"/>
                      <a:pt x="66" y="216"/>
                      <a:pt x="63" y="209"/>
                    </a:cubicBezTo>
                    <a:cubicBezTo>
                      <a:pt x="60" y="216"/>
                      <a:pt x="53" y="221"/>
                      <a:pt x="45" y="221"/>
                    </a:cubicBezTo>
                    <a:cubicBezTo>
                      <a:pt x="34" y="221"/>
                      <a:pt x="26" y="213"/>
                      <a:pt x="26" y="202"/>
                    </a:cubicBezTo>
                    <a:lnTo>
                      <a:pt x="26" y="110"/>
                    </a:lnTo>
                    <a:lnTo>
                      <a:pt x="19" y="110"/>
                    </a:lnTo>
                    <a:cubicBezTo>
                      <a:pt x="9" y="110"/>
                      <a:pt x="0" y="102"/>
                      <a:pt x="0" y="91"/>
                    </a:cubicBezTo>
                    <a:lnTo>
                      <a:pt x="0" y="20"/>
                    </a:lnTo>
                    <a:cubicBezTo>
                      <a:pt x="0" y="9"/>
                      <a:pt x="9" y="0"/>
                      <a:pt x="19" y="0"/>
                    </a:cubicBez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5117" tIns="47558" rIns="95117" bIns="47558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32559">
                  <a:defRPr/>
                </a:pPr>
                <a:endParaRPr lang="en-US" sz="1873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574" name="Freeform 171"/>
              <p:cNvSpPr>
                <a:spLocks/>
              </p:cNvSpPr>
              <p:nvPr/>
            </p:nvSpPr>
            <p:spPr bwMode="auto">
              <a:xfrm>
                <a:off x="999338" y="4304131"/>
                <a:ext cx="74171" cy="72092"/>
              </a:xfrm>
              <a:custGeom>
                <a:avLst/>
                <a:gdLst>
                  <a:gd name="T0" fmla="*/ 32 w 63"/>
                  <a:gd name="T1" fmla="*/ 63 h 63"/>
                  <a:gd name="T2" fmla="*/ 32 w 63"/>
                  <a:gd name="T3" fmla="*/ 63 h 63"/>
                  <a:gd name="T4" fmla="*/ 0 w 63"/>
                  <a:gd name="T5" fmla="*/ 32 h 63"/>
                  <a:gd name="T6" fmla="*/ 32 w 63"/>
                  <a:gd name="T7" fmla="*/ 0 h 63"/>
                  <a:gd name="T8" fmla="*/ 63 w 63"/>
                  <a:gd name="T9" fmla="*/ 32 h 63"/>
                  <a:gd name="T10" fmla="*/ 32 w 63"/>
                  <a:gd name="T11" fmla="*/ 6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3" h="63">
                    <a:moveTo>
                      <a:pt x="32" y="63"/>
                    </a:moveTo>
                    <a:lnTo>
                      <a:pt x="32" y="63"/>
                    </a:lnTo>
                    <a:cubicBezTo>
                      <a:pt x="16" y="63"/>
                      <a:pt x="0" y="50"/>
                      <a:pt x="0" y="32"/>
                    </a:cubicBezTo>
                    <a:cubicBezTo>
                      <a:pt x="0" y="14"/>
                      <a:pt x="14" y="0"/>
                      <a:pt x="32" y="0"/>
                    </a:cubicBezTo>
                    <a:cubicBezTo>
                      <a:pt x="49" y="0"/>
                      <a:pt x="63" y="14"/>
                      <a:pt x="63" y="32"/>
                    </a:cubicBezTo>
                    <a:cubicBezTo>
                      <a:pt x="63" y="50"/>
                      <a:pt x="48" y="63"/>
                      <a:pt x="32" y="63"/>
                    </a:cubicBez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5117" tIns="47558" rIns="95117" bIns="47558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32559">
                  <a:defRPr/>
                </a:pPr>
                <a:endParaRPr lang="en-US" sz="1873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575" name="Freeform 172"/>
              <p:cNvSpPr>
                <a:spLocks/>
              </p:cNvSpPr>
              <p:nvPr/>
            </p:nvSpPr>
            <p:spPr bwMode="auto">
              <a:xfrm>
                <a:off x="847464" y="4149648"/>
                <a:ext cx="377919" cy="152767"/>
              </a:xfrm>
              <a:custGeom>
                <a:avLst/>
                <a:gdLst>
                  <a:gd name="T0" fmla="*/ 4 w 323"/>
                  <a:gd name="T1" fmla="*/ 79 h 134"/>
                  <a:gd name="T2" fmla="*/ 4 w 323"/>
                  <a:gd name="T3" fmla="*/ 79 h 134"/>
                  <a:gd name="T4" fmla="*/ 319 w 323"/>
                  <a:gd name="T5" fmla="*/ 79 h 134"/>
                  <a:gd name="T6" fmla="*/ 323 w 323"/>
                  <a:gd name="T7" fmla="*/ 88 h 134"/>
                  <a:gd name="T8" fmla="*/ 319 w 323"/>
                  <a:gd name="T9" fmla="*/ 96 h 134"/>
                  <a:gd name="T10" fmla="*/ 286 w 323"/>
                  <a:gd name="T11" fmla="*/ 130 h 134"/>
                  <a:gd name="T12" fmla="*/ 272 w 323"/>
                  <a:gd name="T13" fmla="*/ 131 h 134"/>
                  <a:gd name="T14" fmla="*/ 223 w 323"/>
                  <a:gd name="T15" fmla="*/ 101 h 134"/>
                  <a:gd name="T16" fmla="*/ 210 w 323"/>
                  <a:gd name="T17" fmla="*/ 82 h 134"/>
                  <a:gd name="T18" fmla="*/ 210 w 323"/>
                  <a:gd name="T19" fmla="*/ 65 h 134"/>
                  <a:gd name="T20" fmla="*/ 113 w 323"/>
                  <a:gd name="T21" fmla="*/ 65 h 134"/>
                  <a:gd name="T22" fmla="*/ 113 w 323"/>
                  <a:gd name="T23" fmla="*/ 82 h 134"/>
                  <a:gd name="T24" fmla="*/ 100 w 323"/>
                  <a:gd name="T25" fmla="*/ 101 h 134"/>
                  <a:gd name="T26" fmla="*/ 51 w 323"/>
                  <a:gd name="T27" fmla="*/ 131 h 134"/>
                  <a:gd name="T28" fmla="*/ 36 w 323"/>
                  <a:gd name="T29" fmla="*/ 130 h 134"/>
                  <a:gd name="T30" fmla="*/ 3 w 323"/>
                  <a:gd name="T31" fmla="*/ 96 h 134"/>
                  <a:gd name="T32" fmla="*/ 0 w 323"/>
                  <a:gd name="T33" fmla="*/ 88 h 134"/>
                  <a:gd name="T34" fmla="*/ 4 w 323"/>
                  <a:gd name="T35" fmla="*/ 79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23" h="134">
                    <a:moveTo>
                      <a:pt x="4" y="79"/>
                    </a:moveTo>
                    <a:lnTo>
                      <a:pt x="4" y="79"/>
                    </a:lnTo>
                    <a:cubicBezTo>
                      <a:pt x="94" y="0"/>
                      <a:pt x="229" y="0"/>
                      <a:pt x="319" y="79"/>
                    </a:cubicBezTo>
                    <a:cubicBezTo>
                      <a:pt x="321" y="82"/>
                      <a:pt x="323" y="84"/>
                      <a:pt x="323" y="88"/>
                    </a:cubicBezTo>
                    <a:cubicBezTo>
                      <a:pt x="323" y="91"/>
                      <a:pt x="322" y="94"/>
                      <a:pt x="319" y="96"/>
                    </a:cubicBezTo>
                    <a:cubicBezTo>
                      <a:pt x="300" y="116"/>
                      <a:pt x="303" y="113"/>
                      <a:pt x="286" y="130"/>
                    </a:cubicBezTo>
                    <a:cubicBezTo>
                      <a:pt x="283" y="134"/>
                      <a:pt x="276" y="134"/>
                      <a:pt x="272" y="131"/>
                    </a:cubicBezTo>
                    <a:cubicBezTo>
                      <a:pt x="257" y="118"/>
                      <a:pt x="241" y="108"/>
                      <a:pt x="223" y="101"/>
                    </a:cubicBezTo>
                    <a:cubicBezTo>
                      <a:pt x="215" y="98"/>
                      <a:pt x="210" y="90"/>
                      <a:pt x="210" y="82"/>
                    </a:cubicBezTo>
                    <a:lnTo>
                      <a:pt x="210" y="65"/>
                    </a:lnTo>
                    <a:cubicBezTo>
                      <a:pt x="178" y="57"/>
                      <a:pt x="145" y="57"/>
                      <a:pt x="113" y="65"/>
                    </a:cubicBezTo>
                    <a:lnTo>
                      <a:pt x="113" y="82"/>
                    </a:lnTo>
                    <a:cubicBezTo>
                      <a:pt x="113" y="90"/>
                      <a:pt x="108" y="98"/>
                      <a:pt x="100" y="101"/>
                    </a:cubicBezTo>
                    <a:cubicBezTo>
                      <a:pt x="82" y="108"/>
                      <a:pt x="65" y="118"/>
                      <a:pt x="51" y="131"/>
                    </a:cubicBezTo>
                    <a:cubicBezTo>
                      <a:pt x="46" y="134"/>
                      <a:pt x="40" y="134"/>
                      <a:pt x="36" y="130"/>
                    </a:cubicBezTo>
                    <a:cubicBezTo>
                      <a:pt x="20" y="113"/>
                      <a:pt x="23" y="116"/>
                      <a:pt x="3" y="96"/>
                    </a:cubicBezTo>
                    <a:cubicBezTo>
                      <a:pt x="1" y="94"/>
                      <a:pt x="0" y="91"/>
                      <a:pt x="0" y="88"/>
                    </a:cubicBezTo>
                    <a:cubicBezTo>
                      <a:pt x="0" y="84"/>
                      <a:pt x="1" y="82"/>
                      <a:pt x="4" y="79"/>
                    </a:cubicBez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5117" tIns="47558" rIns="95117" bIns="47558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32559">
                  <a:defRPr/>
                </a:pPr>
                <a:endParaRPr lang="en-US" sz="1873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557" name="Group 556"/>
            <p:cNvGrpSpPr/>
            <p:nvPr/>
          </p:nvGrpSpPr>
          <p:grpSpPr>
            <a:xfrm>
              <a:off x="1429568" y="4437187"/>
              <a:ext cx="1161344" cy="946836"/>
              <a:chOff x="1671272" y="4224598"/>
              <a:chExt cx="1161344" cy="946836"/>
            </a:xfrm>
            <a:solidFill>
              <a:srgbClr val="FFFFFF"/>
            </a:solidFill>
          </p:grpSpPr>
          <p:grpSp>
            <p:nvGrpSpPr>
              <p:cNvPr id="558" name="Group 557"/>
              <p:cNvGrpSpPr/>
              <p:nvPr/>
            </p:nvGrpSpPr>
            <p:grpSpPr>
              <a:xfrm>
                <a:off x="2055896" y="4224598"/>
                <a:ext cx="392096" cy="368617"/>
                <a:chOff x="5277860" y="3548824"/>
                <a:chExt cx="1413454" cy="1386878"/>
              </a:xfrm>
              <a:grpFill/>
            </p:grpSpPr>
            <p:sp>
              <p:nvSpPr>
                <p:cNvPr id="560" name="Man's Body"/>
                <p:cNvSpPr>
                  <a:spLocks/>
                </p:cNvSpPr>
                <p:nvPr/>
              </p:nvSpPr>
              <p:spPr bwMode="auto">
                <a:xfrm>
                  <a:off x="5392664" y="3677502"/>
                  <a:ext cx="492497" cy="598735"/>
                </a:xfrm>
                <a:custGeom>
                  <a:avLst/>
                  <a:gdLst>
                    <a:gd name="connsiteX0" fmla="*/ 257122 w 716749"/>
                    <a:gd name="connsiteY0" fmla="*/ 499120 h 871362"/>
                    <a:gd name="connsiteX1" fmla="*/ 356917 w 716749"/>
                    <a:gd name="connsiteY1" fmla="*/ 556496 h 871362"/>
                    <a:gd name="connsiteX2" fmla="*/ 472065 w 716749"/>
                    <a:gd name="connsiteY2" fmla="*/ 500486 h 871362"/>
                    <a:gd name="connsiteX3" fmla="*/ 509922 w 716749"/>
                    <a:gd name="connsiteY3" fmla="*/ 569637 h 871362"/>
                    <a:gd name="connsiteX4" fmla="*/ 511216 w 716749"/>
                    <a:gd name="connsiteY4" fmla="*/ 570724 h 871362"/>
                    <a:gd name="connsiteX5" fmla="*/ 634175 w 716749"/>
                    <a:gd name="connsiteY5" fmla="*/ 619705 h 871362"/>
                    <a:gd name="connsiteX6" fmla="*/ 633245 w 716749"/>
                    <a:gd name="connsiteY6" fmla="*/ 620073 h 871362"/>
                    <a:gd name="connsiteX7" fmla="*/ 707810 w 716749"/>
                    <a:gd name="connsiteY7" fmla="*/ 666146 h 871362"/>
                    <a:gd name="connsiteX8" fmla="*/ 644614 w 716749"/>
                    <a:gd name="connsiteY8" fmla="*/ 863319 h 871362"/>
                    <a:gd name="connsiteX9" fmla="*/ 584427 w 716749"/>
                    <a:gd name="connsiteY9" fmla="*/ 762228 h 871362"/>
                    <a:gd name="connsiteX10" fmla="*/ 609361 w 716749"/>
                    <a:gd name="connsiteY10" fmla="*/ 866051 h 871362"/>
                    <a:gd name="connsiteX11" fmla="*/ 197152 w 716749"/>
                    <a:gd name="connsiteY11" fmla="*/ 871278 h 871362"/>
                    <a:gd name="connsiteX12" fmla="*/ 197125 w 716749"/>
                    <a:gd name="connsiteY12" fmla="*/ 871362 h 871362"/>
                    <a:gd name="connsiteX13" fmla="*/ 196057 w 716749"/>
                    <a:gd name="connsiteY13" fmla="*/ 871299 h 871362"/>
                    <a:gd name="connsiteX14" fmla="*/ 192768 w 716749"/>
                    <a:gd name="connsiteY14" fmla="*/ 871362 h 871362"/>
                    <a:gd name="connsiteX15" fmla="*/ 192433 w 716749"/>
                    <a:gd name="connsiteY15" fmla="*/ 871084 h 871362"/>
                    <a:gd name="connsiteX16" fmla="*/ 107388 w 716749"/>
                    <a:gd name="connsiteY16" fmla="*/ 866051 h 871362"/>
                    <a:gd name="connsiteX17" fmla="*/ 132322 w 716749"/>
                    <a:gd name="connsiteY17" fmla="*/ 762228 h 871362"/>
                    <a:gd name="connsiteX18" fmla="*/ 72135 w 716749"/>
                    <a:gd name="connsiteY18" fmla="*/ 863319 h 871362"/>
                    <a:gd name="connsiteX19" fmla="*/ 8939 w 716749"/>
                    <a:gd name="connsiteY19" fmla="*/ 666146 h 871362"/>
                    <a:gd name="connsiteX20" fmla="*/ 126514 w 716749"/>
                    <a:gd name="connsiteY20" fmla="*/ 602728 h 871362"/>
                    <a:gd name="connsiteX21" fmla="*/ 125721 w 716749"/>
                    <a:gd name="connsiteY21" fmla="*/ 601673 h 871362"/>
                    <a:gd name="connsiteX22" fmla="*/ 189649 w 716749"/>
                    <a:gd name="connsiteY22" fmla="*/ 578809 h 871362"/>
                    <a:gd name="connsiteX23" fmla="*/ 348432 w 716749"/>
                    <a:gd name="connsiteY23" fmla="*/ 647569 h 871362"/>
                    <a:gd name="connsiteX24" fmla="*/ 434280 w 716749"/>
                    <a:gd name="connsiteY24" fmla="*/ 621574 h 871362"/>
                    <a:gd name="connsiteX25" fmla="*/ 433343 w 716749"/>
                    <a:gd name="connsiteY25" fmla="*/ 617114 h 871362"/>
                    <a:gd name="connsiteX26" fmla="*/ 447663 w 716749"/>
                    <a:gd name="connsiteY26" fmla="*/ 603030 h 871362"/>
                    <a:gd name="connsiteX27" fmla="*/ 353281 w 716749"/>
                    <a:gd name="connsiteY27" fmla="*/ 622524 h 871362"/>
                    <a:gd name="connsiteX28" fmla="*/ 228840 w 716749"/>
                    <a:gd name="connsiteY28" fmla="*/ 558317 h 871362"/>
                    <a:gd name="connsiteX29" fmla="*/ 257122 w 716749"/>
                    <a:gd name="connsiteY29" fmla="*/ 499120 h 871362"/>
                    <a:gd name="connsiteX30" fmla="*/ 349093 w 716749"/>
                    <a:gd name="connsiteY30" fmla="*/ 167 h 871362"/>
                    <a:gd name="connsiteX31" fmla="*/ 475948 w 716749"/>
                    <a:gd name="connsiteY31" fmla="*/ 42250 h 871362"/>
                    <a:gd name="connsiteX32" fmla="*/ 523135 w 716749"/>
                    <a:gd name="connsiteY32" fmla="*/ 125796 h 871362"/>
                    <a:gd name="connsiteX33" fmla="*/ 517697 w 716749"/>
                    <a:gd name="connsiteY33" fmla="*/ 186030 h 871362"/>
                    <a:gd name="connsiteX34" fmla="*/ 504770 w 716749"/>
                    <a:gd name="connsiteY34" fmla="*/ 213819 h 871362"/>
                    <a:gd name="connsiteX35" fmla="*/ 504770 w 716749"/>
                    <a:gd name="connsiteY35" fmla="*/ 254364 h 871362"/>
                    <a:gd name="connsiteX36" fmla="*/ 523353 w 716749"/>
                    <a:gd name="connsiteY36" fmla="*/ 269398 h 871362"/>
                    <a:gd name="connsiteX37" fmla="*/ 503558 w 716749"/>
                    <a:gd name="connsiteY37" fmla="*/ 358232 h 871362"/>
                    <a:gd name="connsiteX38" fmla="*/ 492246 w 716749"/>
                    <a:gd name="connsiteY38" fmla="*/ 365977 h 871362"/>
                    <a:gd name="connsiteX39" fmla="*/ 444576 w 716749"/>
                    <a:gd name="connsiteY39" fmla="*/ 473034 h 871362"/>
                    <a:gd name="connsiteX40" fmla="*/ 356911 w 716749"/>
                    <a:gd name="connsiteY40" fmla="*/ 522690 h 871362"/>
                    <a:gd name="connsiteX41" fmla="*/ 262783 w 716749"/>
                    <a:gd name="connsiteY41" fmla="*/ 460734 h 871362"/>
                    <a:gd name="connsiteX42" fmla="*/ 221576 w 716749"/>
                    <a:gd name="connsiteY42" fmla="*/ 361421 h 871362"/>
                    <a:gd name="connsiteX43" fmla="*/ 188449 w 716749"/>
                    <a:gd name="connsiteY43" fmla="*/ 283520 h 871362"/>
                    <a:gd name="connsiteX44" fmla="*/ 201376 w 716749"/>
                    <a:gd name="connsiteY44" fmla="*/ 261653 h 871362"/>
                    <a:gd name="connsiteX45" fmla="*/ 173905 w 716749"/>
                    <a:gd name="connsiteY45" fmla="*/ 181930 h 871362"/>
                    <a:gd name="connsiteX46" fmla="*/ 283790 w 716749"/>
                    <a:gd name="connsiteY46" fmla="*/ 17472 h 871362"/>
                    <a:gd name="connsiteX47" fmla="*/ 349093 w 716749"/>
                    <a:gd name="connsiteY47" fmla="*/ 167 h 871362"/>
                    <a:gd name="connsiteX0" fmla="*/ 257122 w 716749"/>
                    <a:gd name="connsiteY0" fmla="*/ 499120 h 871362"/>
                    <a:gd name="connsiteX1" fmla="*/ 356917 w 716749"/>
                    <a:gd name="connsiteY1" fmla="*/ 556496 h 871362"/>
                    <a:gd name="connsiteX2" fmla="*/ 472065 w 716749"/>
                    <a:gd name="connsiteY2" fmla="*/ 500486 h 871362"/>
                    <a:gd name="connsiteX3" fmla="*/ 509922 w 716749"/>
                    <a:gd name="connsiteY3" fmla="*/ 569637 h 871362"/>
                    <a:gd name="connsiteX4" fmla="*/ 511216 w 716749"/>
                    <a:gd name="connsiteY4" fmla="*/ 570724 h 871362"/>
                    <a:gd name="connsiteX5" fmla="*/ 634175 w 716749"/>
                    <a:gd name="connsiteY5" fmla="*/ 619705 h 871362"/>
                    <a:gd name="connsiteX6" fmla="*/ 633245 w 716749"/>
                    <a:gd name="connsiteY6" fmla="*/ 620073 h 871362"/>
                    <a:gd name="connsiteX7" fmla="*/ 707810 w 716749"/>
                    <a:gd name="connsiteY7" fmla="*/ 666146 h 871362"/>
                    <a:gd name="connsiteX8" fmla="*/ 644614 w 716749"/>
                    <a:gd name="connsiteY8" fmla="*/ 863319 h 871362"/>
                    <a:gd name="connsiteX9" fmla="*/ 584427 w 716749"/>
                    <a:gd name="connsiteY9" fmla="*/ 762228 h 871362"/>
                    <a:gd name="connsiteX10" fmla="*/ 609361 w 716749"/>
                    <a:gd name="connsiteY10" fmla="*/ 866051 h 871362"/>
                    <a:gd name="connsiteX11" fmla="*/ 197152 w 716749"/>
                    <a:gd name="connsiteY11" fmla="*/ 871278 h 871362"/>
                    <a:gd name="connsiteX12" fmla="*/ 197125 w 716749"/>
                    <a:gd name="connsiteY12" fmla="*/ 871362 h 871362"/>
                    <a:gd name="connsiteX13" fmla="*/ 196057 w 716749"/>
                    <a:gd name="connsiteY13" fmla="*/ 871299 h 871362"/>
                    <a:gd name="connsiteX14" fmla="*/ 192768 w 716749"/>
                    <a:gd name="connsiteY14" fmla="*/ 871362 h 871362"/>
                    <a:gd name="connsiteX15" fmla="*/ 192433 w 716749"/>
                    <a:gd name="connsiteY15" fmla="*/ 871084 h 871362"/>
                    <a:gd name="connsiteX16" fmla="*/ 107388 w 716749"/>
                    <a:gd name="connsiteY16" fmla="*/ 866051 h 871362"/>
                    <a:gd name="connsiteX17" fmla="*/ 132322 w 716749"/>
                    <a:gd name="connsiteY17" fmla="*/ 762228 h 871362"/>
                    <a:gd name="connsiteX18" fmla="*/ 72135 w 716749"/>
                    <a:gd name="connsiteY18" fmla="*/ 863319 h 871362"/>
                    <a:gd name="connsiteX19" fmla="*/ 8939 w 716749"/>
                    <a:gd name="connsiteY19" fmla="*/ 666146 h 871362"/>
                    <a:gd name="connsiteX20" fmla="*/ 126514 w 716749"/>
                    <a:gd name="connsiteY20" fmla="*/ 602728 h 871362"/>
                    <a:gd name="connsiteX21" fmla="*/ 189649 w 716749"/>
                    <a:gd name="connsiteY21" fmla="*/ 578809 h 871362"/>
                    <a:gd name="connsiteX22" fmla="*/ 348432 w 716749"/>
                    <a:gd name="connsiteY22" fmla="*/ 647569 h 871362"/>
                    <a:gd name="connsiteX23" fmla="*/ 434280 w 716749"/>
                    <a:gd name="connsiteY23" fmla="*/ 621574 h 871362"/>
                    <a:gd name="connsiteX24" fmla="*/ 433343 w 716749"/>
                    <a:gd name="connsiteY24" fmla="*/ 617114 h 871362"/>
                    <a:gd name="connsiteX25" fmla="*/ 447663 w 716749"/>
                    <a:gd name="connsiteY25" fmla="*/ 603030 h 871362"/>
                    <a:gd name="connsiteX26" fmla="*/ 353281 w 716749"/>
                    <a:gd name="connsiteY26" fmla="*/ 622524 h 871362"/>
                    <a:gd name="connsiteX27" fmla="*/ 228840 w 716749"/>
                    <a:gd name="connsiteY27" fmla="*/ 558317 h 871362"/>
                    <a:gd name="connsiteX28" fmla="*/ 257122 w 716749"/>
                    <a:gd name="connsiteY28" fmla="*/ 499120 h 871362"/>
                    <a:gd name="connsiteX29" fmla="*/ 349093 w 716749"/>
                    <a:gd name="connsiteY29" fmla="*/ 167 h 871362"/>
                    <a:gd name="connsiteX30" fmla="*/ 475948 w 716749"/>
                    <a:gd name="connsiteY30" fmla="*/ 42250 h 871362"/>
                    <a:gd name="connsiteX31" fmla="*/ 523135 w 716749"/>
                    <a:gd name="connsiteY31" fmla="*/ 125796 h 871362"/>
                    <a:gd name="connsiteX32" fmla="*/ 517697 w 716749"/>
                    <a:gd name="connsiteY32" fmla="*/ 186030 h 871362"/>
                    <a:gd name="connsiteX33" fmla="*/ 504770 w 716749"/>
                    <a:gd name="connsiteY33" fmla="*/ 213819 h 871362"/>
                    <a:gd name="connsiteX34" fmla="*/ 504770 w 716749"/>
                    <a:gd name="connsiteY34" fmla="*/ 254364 h 871362"/>
                    <a:gd name="connsiteX35" fmla="*/ 523353 w 716749"/>
                    <a:gd name="connsiteY35" fmla="*/ 269398 h 871362"/>
                    <a:gd name="connsiteX36" fmla="*/ 503558 w 716749"/>
                    <a:gd name="connsiteY36" fmla="*/ 358232 h 871362"/>
                    <a:gd name="connsiteX37" fmla="*/ 492246 w 716749"/>
                    <a:gd name="connsiteY37" fmla="*/ 365977 h 871362"/>
                    <a:gd name="connsiteX38" fmla="*/ 444576 w 716749"/>
                    <a:gd name="connsiteY38" fmla="*/ 473034 h 871362"/>
                    <a:gd name="connsiteX39" fmla="*/ 356911 w 716749"/>
                    <a:gd name="connsiteY39" fmla="*/ 522690 h 871362"/>
                    <a:gd name="connsiteX40" fmla="*/ 262783 w 716749"/>
                    <a:gd name="connsiteY40" fmla="*/ 460734 h 871362"/>
                    <a:gd name="connsiteX41" fmla="*/ 221576 w 716749"/>
                    <a:gd name="connsiteY41" fmla="*/ 361421 h 871362"/>
                    <a:gd name="connsiteX42" fmla="*/ 188449 w 716749"/>
                    <a:gd name="connsiteY42" fmla="*/ 283520 h 871362"/>
                    <a:gd name="connsiteX43" fmla="*/ 201376 w 716749"/>
                    <a:gd name="connsiteY43" fmla="*/ 261653 h 871362"/>
                    <a:gd name="connsiteX44" fmla="*/ 173905 w 716749"/>
                    <a:gd name="connsiteY44" fmla="*/ 181930 h 871362"/>
                    <a:gd name="connsiteX45" fmla="*/ 283790 w 716749"/>
                    <a:gd name="connsiteY45" fmla="*/ 17472 h 871362"/>
                    <a:gd name="connsiteX46" fmla="*/ 349093 w 716749"/>
                    <a:gd name="connsiteY46" fmla="*/ 167 h 871362"/>
                    <a:gd name="connsiteX0" fmla="*/ 257122 w 716749"/>
                    <a:gd name="connsiteY0" fmla="*/ 499120 h 871362"/>
                    <a:gd name="connsiteX1" fmla="*/ 356917 w 716749"/>
                    <a:gd name="connsiteY1" fmla="*/ 556496 h 871362"/>
                    <a:gd name="connsiteX2" fmla="*/ 472065 w 716749"/>
                    <a:gd name="connsiteY2" fmla="*/ 500486 h 871362"/>
                    <a:gd name="connsiteX3" fmla="*/ 509922 w 716749"/>
                    <a:gd name="connsiteY3" fmla="*/ 569637 h 871362"/>
                    <a:gd name="connsiteX4" fmla="*/ 511216 w 716749"/>
                    <a:gd name="connsiteY4" fmla="*/ 570724 h 871362"/>
                    <a:gd name="connsiteX5" fmla="*/ 634175 w 716749"/>
                    <a:gd name="connsiteY5" fmla="*/ 619705 h 871362"/>
                    <a:gd name="connsiteX6" fmla="*/ 633245 w 716749"/>
                    <a:gd name="connsiteY6" fmla="*/ 620073 h 871362"/>
                    <a:gd name="connsiteX7" fmla="*/ 707810 w 716749"/>
                    <a:gd name="connsiteY7" fmla="*/ 666146 h 871362"/>
                    <a:gd name="connsiteX8" fmla="*/ 644614 w 716749"/>
                    <a:gd name="connsiteY8" fmla="*/ 863319 h 871362"/>
                    <a:gd name="connsiteX9" fmla="*/ 605858 w 716749"/>
                    <a:gd name="connsiteY9" fmla="*/ 805091 h 871362"/>
                    <a:gd name="connsiteX10" fmla="*/ 609361 w 716749"/>
                    <a:gd name="connsiteY10" fmla="*/ 866051 h 871362"/>
                    <a:gd name="connsiteX11" fmla="*/ 197152 w 716749"/>
                    <a:gd name="connsiteY11" fmla="*/ 871278 h 871362"/>
                    <a:gd name="connsiteX12" fmla="*/ 197125 w 716749"/>
                    <a:gd name="connsiteY12" fmla="*/ 871362 h 871362"/>
                    <a:gd name="connsiteX13" fmla="*/ 196057 w 716749"/>
                    <a:gd name="connsiteY13" fmla="*/ 871299 h 871362"/>
                    <a:gd name="connsiteX14" fmla="*/ 192768 w 716749"/>
                    <a:gd name="connsiteY14" fmla="*/ 871362 h 871362"/>
                    <a:gd name="connsiteX15" fmla="*/ 192433 w 716749"/>
                    <a:gd name="connsiteY15" fmla="*/ 871084 h 871362"/>
                    <a:gd name="connsiteX16" fmla="*/ 107388 w 716749"/>
                    <a:gd name="connsiteY16" fmla="*/ 866051 h 871362"/>
                    <a:gd name="connsiteX17" fmla="*/ 132322 w 716749"/>
                    <a:gd name="connsiteY17" fmla="*/ 762228 h 871362"/>
                    <a:gd name="connsiteX18" fmla="*/ 72135 w 716749"/>
                    <a:gd name="connsiteY18" fmla="*/ 863319 h 871362"/>
                    <a:gd name="connsiteX19" fmla="*/ 8939 w 716749"/>
                    <a:gd name="connsiteY19" fmla="*/ 666146 h 871362"/>
                    <a:gd name="connsiteX20" fmla="*/ 126514 w 716749"/>
                    <a:gd name="connsiteY20" fmla="*/ 602728 h 871362"/>
                    <a:gd name="connsiteX21" fmla="*/ 189649 w 716749"/>
                    <a:gd name="connsiteY21" fmla="*/ 578809 h 871362"/>
                    <a:gd name="connsiteX22" fmla="*/ 348432 w 716749"/>
                    <a:gd name="connsiteY22" fmla="*/ 647569 h 871362"/>
                    <a:gd name="connsiteX23" fmla="*/ 434280 w 716749"/>
                    <a:gd name="connsiteY23" fmla="*/ 621574 h 871362"/>
                    <a:gd name="connsiteX24" fmla="*/ 433343 w 716749"/>
                    <a:gd name="connsiteY24" fmla="*/ 617114 h 871362"/>
                    <a:gd name="connsiteX25" fmla="*/ 447663 w 716749"/>
                    <a:gd name="connsiteY25" fmla="*/ 603030 h 871362"/>
                    <a:gd name="connsiteX26" fmla="*/ 353281 w 716749"/>
                    <a:gd name="connsiteY26" fmla="*/ 622524 h 871362"/>
                    <a:gd name="connsiteX27" fmla="*/ 228840 w 716749"/>
                    <a:gd name="connsiteY27" fmla="*/ 558317 h 871362"/>
                    <a:gd name="connsiteX28" fmla="*/ 257122 w 716749"/>
                    <a:gd name="connsiteY28" fmla="*/ 499120 h 871362"/>
                    <a:gd name="connsiteX29" fmla="*/ 349093 w 716749"/>
                    <a:gd name="connsiteY29" fmla="*/ 167 h 871362"/>
                    <a:gd name="connsiteX30" fmla="*/ 475948 w 716749"/>
                    <a:gd name="connsiteY30" fmla="*/ 42250 h 871362"/>
                    <a:gd name="connsiteX31" fmla="*/ 523135 w 716749"/>
                    <a:gd name="connsiteY31" fmla="*/ 125796 h 871362"/>
                    <a:gd name="connsiteX32" fmla="*/ 517697 w 716749"/>
                    <a:gd name="connsiteY32" fmla="*/ 186030 h 871362"/>
                    <a:gd name="connsiteX33" fmla="*/ 504770 w 716749"/>
                    <a:gd name="connsiteY33" fmla="*/ 213819 h 871362"/>
                    <a:gd name="connsiteX34" fmla="*/ 504770 w 716749"/>
                    <a:gd name="connsiteY34" fmla="*/ 254364 h 871362"/>
                    <a:gd name="connsiteX35" fmla="*/ 523353 w 716749"/>
                    <a:gd name="connsiteY35" fmla="*/ 269398 h 871362"/>
                    <a:gd name="connsiteX36" fmla="*/ 503558 w 716749"/>
                    <a:gd name="connsiteY36" fmla="*/ 358232 h 871362"/>
                    <a:gd name="connsiteX37" fmla="*/ 492246 w 716749"/>
                    <a:gd name="connsiteY37" fmla="*/ 365977 h 871362"/>
                    <a:gd name="connsiteX38" fmla="*/ 444576 w 716749"/>
                    <a:gd name="connsiteY38" fmla="*/ 473034 h 871362"/>
                    <a:gd name="connsiteX39" fmla="*/ 356911 w 716749"/>
                    <a:gd name="connsiteY39" fmla="*/ 522690 h 871362"/>
                    <a:gd name="connsiteX40" fmla="*/ 262783 w 716749"/>
                    <a:gd name="connsiteY40" fmla="*/ 460734 h 871362"/>
                    <a:gd name="connsiteX41" fmla="*/ 221576 w 716749"/>
                    <a:gd name="connsiteY41" fmla="*/ 361421 h 871362"/>
                    <a:gd name="connsiteX42" fmla="*/ 188449 w 716749"/>
                    <a:gd name="connsiteY42" fmla="*/ 283520 h 871362"/>
                    <a:gd name="connsiteX43" fmla="*/ 201376 w 716749"/>
                    <a:gd name="connsiteY43" fmla="*/ 261653 h 871362"/>
                    <a:gd name="connsiteX44" fmla="*/ 173905 w 716749"/>
                    <a:gd name="connsiteY44" fmla="*/ 181930 h 871362"/>
                    <a:gd name="connsiteX45" fmla="*/ 283790 w 716749"/>
                    <a:gd name="connsiteY45" fmla="*/ 17472 h 871362"/>
                    <a:gd name="connsiteX46" fmla="*/ 349093 w 716749"/>
                    <a:gd name="connsiteY46" fmla="*/ 167 h 871362"/>
                    <a:gd name="connsiteX0" fmla="*/ 257122 w 716749"/>
                    <a:gd name="connsiteY0" fmla="*/ 499120 h 871362"/>
                    <a:gd name="connsiteX1" fmla="*/ 356917 w 716749"/>
                    <a:gd name="connsiteY1" fmla="*/ 556496 h 871362"/>
                    <a:gd name="connsiteX2" fmla="*/ 472065 w 716749"/>
                    <a:gd name="connsiteY2" fmla="*/ 500486 h 871362"/>
                    <a:gd name="connsiteX3" fmla="*/ 509922 w 716749"/>
                    <a:gd name="connsiteY3" fmla="*/ 569637 h 871362"/>
                    <a:gd name="connsiteX4" fmla="*/ 511216 w 716749"/>
                    <a:gd name="connsiteY4" fmla="*/ 570724 h 871362"/>
                    <a:gd name="connsiteX5" fmla="*/ 634175 w 716749"/>
                    <a:gd name="connsiteY5" fmla="*/ 619705 h 871362"/>
                    <a:gd name="connsiteX6" fmla="*/ 633245 w 716749"/>
                    <a:gd name="connsiteY6" fmla="*/ 620073 h 871362"/>
                    <a:gd name="connsiteX7" fmla="*/ 707810 w 716749"/>
                    <a:gd name="connsiteY7" fmla="*/ 666146 h 871362"/>
                    <a:gd name="connsiteX8" fmla="*/ 644614 w 716749"/>
                    <a:gd name="connsiteY8" fmla="*/ 863319 h 871362"/>
                    <a:gd name="connsiteX9" fmla="*/ 605858 w 716749"/>
                    <a:gd name="connsiteY9" fmla="*/ 805091 h 871362"/>
                    <a:gd name="connsiteX10" fmla="*/ 609361 w 716749"/>
                    <a:gd name="connsiteY10" fmla="*/ 866051 h 871362"/>
                    <a:gd name="connsiteX11" fmla="*/ 197152 w 716749"/>
                    <a:gd name="connsiteY11" fmla="*/ 871278 h 871362"/>
                    <a:gd name="connsiteX12" fmla="*/ 197125 w 716749"/>
                    <a:gd name="connsiteY12" fmla="*/ 871362 h 871362"/>
                    <a:gd name="connsiteX13" fmla="*/ 196057 w 716749"/>
                    <a:gd name="connsiteY13" fmla="*/ 871299 h 871362"/>
                    <a:gd name="connsiteX14" fmla="*/ 192768 w 716749"/>
                    <a:gd name="connsiteY14" fmla="*/ 871362 h 871362"/>
                    <a:gd name="connsiteX15" fmla="*/ 192433 w 716749"/>
                    <a:gd name="connsiteY15" fmla="*/ 871084 h 871362"/>
                    <a:gd name="connsiteX16" fmla="*/ 107388 w 716749"/>
                    <a:gd name="connsiteY16" fmla="*/ 866051 h 871362"/>
                    <a:gd name="connsiteX17" fmla="*/ 115653 w 716749"/>
                    <a:gd name="connsiteY17" fmla="*/ 802709 h 871362"/>
                    <a:gd name="connsiteX18" fmla="*/ 72135 w 716749"/>
                    <a:gd name="connsiteY18" fmla="*/ 863319 h 871362"/>
                    <a:gd name="connsiteX19" fmla="*/ 8939 w 716749"/>
                    <a:gd name="connsiteY19" fmla="*/ 666146 h 871362"/>
                    <a:gd name="connsiteX20" fmla="*/ 126514 w 716749"/>
                    <a:gd name="connsiteY20" fmla="*/ 602728 h 871362"/>
                    <a:gd name="connsiteX21" fmla="*/ 189649 w 716749"/>
                    <a:gd name="connsiteY21" fmla="*/ 578809 h 871362"/>
                    <a:gd name="connsiteX22" fmla="*/ 348432 w 716749"/>
                    <a:gd name="connsiteY22" fmla="*/ 647569 h 871362"/>
                    <a:gd name="connsiteX23" fmla="*/ 434280 w 716749"/>
                    <a:gd name="connsiteY23" fmla="*/ 621574 h 871362"/>
                    <a:gd name="connsiteX24" fmla="*/ 433343 w 716749"/>
                    <a:gd name="connsiteY24" fmla="*/ 617114 h 871362"/>
                    <a:gd name="connsiteX25" fmla="*/ 447663 w 716749"/>
                    <a:gd name="connsiteY25" fmla="*/ 603030 h 871362"/>
                    <a:gd name="connsiteX26" fmla="*/ 353281 w 716749"/>
                    <a:gd name="connsiteY26" fmla="*/ 622524 h 871362"/>
                    <a:gd name="connsiteX27" fmla="*/ 228840 w 716749"/>
                    <a:gd name="connsiteY27" fmla="*/ 558317 h 871362"/>
                    <a:gd name="connsiteX28" fmla="*/ 257122 w 716749"/>
                    <a:gd name="connsiteY28" fmla="*/ 499120 h 871362"/>
                    <a:gd name="connsiteX29" fmla="*/ 349093 w 716749"/>
                    <a:gd name="connsiteY29" fmla="*/ 167 h 871362"/>
                    <a:gd name="connsiteX30" fmla="*/ 475948 w 716749"/>
                    <a:gd name="connsiteY30" fmla="*/ 42250 h 871362"/>
                    <a:gd name="connsiteX31" fmla="*/ 523135 w 716749"/>
                    <a:gd name="connsiteY31" fmla="*/ 125796 h 871362"/>
                    <a:gd name="connsiteX32" fmla="*/ 517697 w 716749"/>
                    <a:gd name="connsiteY32" fmla="*/ 186030 h 871362"/>
                    <a:gd name="connsiteX33" fmla="*/ 504770 w 716749"/>
                    <a:gd name="connsiteY33" fmla="*/ 213819 h 871362"/>
                    <a:gd name="connsiteX34" fmla="*/ 504770 w 716749"/>
                    <a:gd name="connsiteY34" fmla="*/ 254364 h 871362"/>
                    <a:gd name="connsiteX35" fmla="*/ 523353 w 716749"/>
                    <a:gd name="connsiteY35" fmla="*/ 269398 h 871362"/>
                    <a:gd name="connsiteX36" fmla="*/ 503558 w 716749"/>
                    <a:gd name="connsiteY36" fmla="*/ 358232 h 871362"/>
                    <a:gd name="connsiteX37" fmla="*/ 492246 w 716749"/>
                    <a:gd name="connsiteY37" fmla="*/ 365977 h 871362"/>
                    <a:gd name="connsiteX38" fmla="*/ 444576 w 716749"/>
                    <a:gd name="connsiteY38" fmla="*/ 473034 h 871362"/>
                    <a:gd name="connsiteX39" fmla="*/ 356911 w 716749"/>
                    <a:gd name="connsiteY39" fmla="*/ 522690 h 871362"/>
                    <a:gd name="connsiteX40" fmla="*/ 262783 w 716749"/>
                    <a:gd name="connsiteY40" fmla="*/ 460734 h 871362"/>
                    <a:gd name="connsiteX41" fmla="*/ 221576 w 716749"/>
                    <a:gd name="connsiteY41" fmla="*/ 361421 h 871362"/>
                    <a:gd name="connsiteX42" fmla="*/ 188449 w 716749"/>
                    <a:gd name="connsiteY42" fmla="*/ 283520 h 871362"/>
                    <a:gd name="connsiteX43" fmla="*/ 201376 w 716749"/>
                    <a:gd name="connsiteY43" fmla="*/ 261653 h 871362"/>
                    <a:gd name="connsiteX44" fmla="*/ 173905 w 716749"/>
                    <a:gd name="connsiteY44" fmla="*/ 181930 h 871362"/>
                    <a:gd name="connsiteX45" fmla="*/ 283790 w 716749"/>
                    <a:gd name="connsiteY45" fmla="*/ 17472 h 871362"/>
                    <a:gd name="connsiteX46" fmla="*/ 349093 w 716749"/>
                    <a:gd name="connsiteY46" fmla="*/ 167 h 871362"/>
                    <a:gd name="connsiteX0" fmla="*/ 257122 w 716749"/>
                    <a:gd name="connsiteY0" fmla="*/ 499120 h 871362"/>
                    <a:gd name="connsiteX1" fmla="*/ 356917 w 716749"/>
                    <a:gd name="connsiteY1" fmla="*/ 556496 h 871362"/>
                    <a:gd name="connsiteX2" fmla="*/ 472065 w 716749"/>
                    <a:gd name="connsiteY2" fmla="*/ 500486 h 871362"/>
                    <a:gd name="connsiteX3" fmla="*/ 509922 w 716749"/>
                    <a:gd name="connsiteY3" fmla="*/ 569637 h 871362"/>
                    <a:gd name="connsiteX4" fmla="*/ 511216 w 716749"/>
                    <a:gd name="connsiteY4" fmla="*/ 570724 h 871362"/>
                    <a:gd name="connsiteX5" fmla="*/ 634175 w 716749"/>
                    <a:gd name="connsiteY5" fmla="*/ 619705 h 871362"/>
                    <a:gd name="connsiteX6" fmla="*/ 633245 w 716749"/>
                    <a:gd name="connsiteY6" fmla="*/ 620073 h 871362"/>
                    <a:gd name="connsiteX7" fmla="*/ 707810 w 716749"/>
                    <a:gd name="connsiteY7" fmla="*/ 666146 h 871362"/>
                    <a:gd name="connsiteX8" fmla="*/ 644614 w 716749"/>
                    <a:gd name="connsiteY8" fmla="*/ 863319 h 871362"/>
                    <a:gd name="connsiteX9" fmla="*/ 605858 w 716749"/>
                    <a:gd name="connsiteY9" fmla="*/ 805091 h 871362"/>
                    <a:gd name="connsiteX10" fmla="*/ 609361 w 716749"/>
                    <a:gd name="connsiteY10" fmla="*/ 866051 h 871362"/>
                    <a:gd name="connsiteX11" fmla="*/ 197152 w 716749"/>
                    <a:gd name="connsiteY11" fmla="*/ 871278 h 871362"/>
                    <a:gd name="connsiteX12" fmla="*/ 197125 w 716749"/>
                    <a:gd name="connsiteY12" fmla="*/ 871362 h 871362"/>
                    <a:gd name="connsiteX13" fmla="*/ 196057 w 716749"/>
                    <a:gd name="connsiteY13" fmla="*/ 871299 h 871362"/>
                    <a:gd name="connsiteX14" fmla="*/ 192768 w 716749"/>
                    <a:gd name="connsiteY14" fmla="*/ 871362 h 871362"/>
                    <a:gd name="connsiteX15" fmla="*/ 192433 w 716749"/>
                    <a:gd name="connsiteY15" fmla="*/ 871084 h 871362"/>
                    <a:gd name="connsiteX16" fmla="*/ 107388 w 716749"/>
                    <a:gd name="connsiteY16" fmla="*/ 866051 h 871362"/>
                    <a:gd name="connsiteX17" fmla="*/ 115653 w 716749"/>
                    <a:gd name="connsiteY17" fmla="*/ 802709 h 871362"/>
                    <a:gd name="connsiteX18" fmla="*/ 72135 w 716749"/>
                    <a:gd name="connsiteY18" fmla="*/ 863319 h 871362"/>
                    <a:gd name="connsiteX19" fmla="*/ 8939 w 716749"/>
                    <a:gd name="connsiteY19" fmla="*/ 666146 h 871362"/>
                    <a:gd name="connsiteX20" fmla="*/ 126514 w 716749"/>
                    <a:gd name="connsiteY20" fmla="*/ 602728 h 871362"/>
                    <a:gd name="connsiteX21" fmla="*/ 189649 w 716749"/>
                    <a:gd name="connsiteY21" fmla="*/ 578809 h 871362"/>
                    <a:gd name="connsiteX22" fmla="*/ 348432 w 716749"/>
                    <a:gd name="connsiteY22" fmla="*/ 647569 h 871362"/>
                    <a:gd name="connsiteX23" fmla="*/ 434280 w 716749"/>
                    <a:gd name="connsiteY23" fmla="*/ 621574 h 871362"/>
                    <a:gd name="connsiteX24" fmla="*/ 447663 w 716749"/>
                    <a:gd name="connsiteY24" fmla="*/ 603030 h 871362"/>
                    <a:gd name="connsiteX25" fmla="*/ 353281 w 716749"/>
                    <a:gd name="connsiteY25" fmla="*/ 622524 h 871362"/>
                    <a:gd name="connsiteX26" fmla="*/ 228840 w 716749"/>
                    <a:gd name="connsiteY26" fmla="*/ 558317 h 871362"/>
                    <a:gd name="connsiteX27" fmla="*/ 257122 w 716749"/>
                    <a:gd name="connsiteY27" fmla="*/ 499120 h 871362"/>
                    <a:gd name="connsiteX28" fmla="*/ 349093 w 716749"/>
                    <a:gd name="connsiteY28" fmla="*/ 167 h 871362"/>
                    <a:gd name="connsiteX29" fmla="*/ 475948 w 716749"/>
                    <a:gd name="connsiteY29" fmla="*/ 42250 h 871362"/>
                    <a:gd name="connsiteX30" fmla="*/ 523135 w 716749"/>
                    <a:gd name="connsiteY30" fmla="*/ 125796 h 871362"/>
                    <a:gd name="connsiteX31" fmla="*/ 517697 w 716749"/>
                    <a:gd name="connsiteY31" fmla="*/ 186030 h 871362"/>
                    <a:gd name="connsiteX32" fmla="*/ 504770 w 716749"/>
                    <a:gd name="connsiteY32" fmla="*/ 213819 h 871362"/>
                    <a:gd name="connsiteX33" fmla="*/ 504770 w 716749"/>
                    <a:gd name="connsiteY33" fmla="*/ 254364 h 871362"/>
                    <a:gd name="connsiteX34" fmla="*/ 523353 w 716749"/>
                    <a:gd name="connsiteY34" fmla="*/ 269398 h 871362"/>
                    <a:gd name="connsiteX35" fmla="*/ 503558 w 716749"/>
                    <a:gd name="connsiteY35" fmla="*/ 358232 h 871362"/>
                    <a:gd name="connsiteX36" fmla="*/ 492246 w 716749"/>
                    <a:gd name="connsiteY36" fmla="*/ 365977 h 871362"/>
                    <a:gd name="connsiteX37" fmla="*/ 444576 w 716749"/>
                    <a:gd name="connsiteY37" fmla="*/ 473034 h 871362"/>
                    <a:gd name="connsiteX38" fmla="*/ 356911 w 716749"/>
                    <a:gd name="connsiteY38" fmla="*/ 522690 h 871362"/>
                    <a:gd name="connsiteX39" fmla="*/ 262783 w 716749"/>
                    <a:gd name="connsiteY39" fmla="*/ 460734 h 871362"/>
                    <a:gd name="connsiteX40" fmla="*/ 221576 w 716749"/>
                    <a:gd name="connsiteY40" fmla="*/ 361421 h 871362"/>
                    <a:gd name="connsiteX41" fmla="*/ 188449 w 716749"/>
                    <a:gd name="connsiteY41" fmla="*/ 283520 h 871362"/>
                    <a:gd name="connsiteX42" fmla="*/ 201376 w 716749"/>
                    <a:gd name="connsiteY42" fmla="*/ 261653 h 871362"/>
                    <a:gd name="connsiteX43" fmla="*/ 173905 w 716749"/>
                    <a:gd name="connsiteY43" fmla="*/ 181930 h 871362"/>
                    <a:gd name="connsiteX44" fmla="*/ 283790 w 716749"/>
                    <a:gd name="connsiteY44" fmla="*/ 17472 h 871362"/>
                    <a:gd name="connsiteX45" fmla="*/ 349093 w 716749"/>
                    <a:gd name="connsiteY45" fmla="*/ 167 h 8713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</a:cxnLst>
                  <a:rect l="l" t="t" r="r" b="b"/>
                  <a:pathLst>
                    <a:path w="716749" h="871362">
                      <a:moveTo>
                        <a:pt x="257122" y="499120"/>
                      </a:moveTo>
                      <a:cubicBezTo>
                        <a:pt x="264799" y="497298"/>
                        <a:pt x="329443" y="557407"/>
                        <a:pt x="356917" y="556496"/>
                      </a:cubicBezTo>
                      <a:cubicBezTo>
                        <a:pt x="430854" y="553308"/>
                        <a:pt x="464793" y="497754"/>
                        <a:pt x="472065" y="500486"/>
                      </a:cubicBezTo>
                      <a:cubicBezTo>
                        <a:pt x="479560" y="502709"/>
                        <a:pt x="493602" y="563094"/>
                        <a:pt x="509922" y="569637"/>
                      </a:cubicBezTo>
                      <a:lnTo>
                        <a:pt x="511216" y="570724"/>
                      </a:lnTo>
                      <a:cubicBezTo>
                        <a:pt x="537268" y="577651"/>
                        <a:pt x="593709" y="598027"/>
                        <a:pt x="634175" y="619705"/>
                      </a:cubicBezTo>
                      <a:lnTo>
                        <a:pt x="633245" y="620073"/>
                      </a:lnTo>
                      <a:cubicBezTo>
                        <a:pt x="666648" y="634645"/>
                        <a:pt x="699453" y="652545"/>
                        <a:pt x="707810" y="666146"/>
                      </a:cubicBezTo>
                      <a:cubicBezTo>
                        <a:pt x="725866" y="695289"/>
                        <a:pt x="721997" y="769969"/>
                        <a:pt x="644614" y="863319"/>
                      </a:cubicBezTo>
                      <a:cubicBezTo>
                        <a:pt x="636445" y="809586"/>
                        <a:pt x="615745" y="811011"/>
                        <a:pt x="605858" y="805091"/>
                      </a:cubicBezTo>
                      <a:cubicBezTo>
                        <a:pt x="618755" y="831047"/>
                        <a:pt x="608931" y="836453"/>
                        <a:pt x="609361" y="866051"/>
                      </a:cubicBezTo>
                      <a:cubicBezTo>
                        <a:pt x="578994" y="868349"/>
                        <a:pt x="246530" y="870038"/>
                        <a:pt x="197152" y="871278"/>
                      </a:cubicBezTo>
                      <a:cubicBezTo>
                        <a:pt x="197145" y="871307"/>
                        <a:pt x="197135" y="871334"/>
                        <a:pt x="197125" y="871362"/>
                      </a:cubicBezTo>
                      <a:lnTo>
                        <a:pt x="196057" y="871299"/>
                      </a:lnTo>
                      <a:lnTo>
                        <a:pt x="192768" y="871362"/>
                      </a:lnTo>
                      <a:cubicBezTo>
                        <a:pt x="192638" y="871303"/>
                        <a:pt x="192508" y="871243"/>
                        <a:pt x="192433" y="871084"/>
                      </a:cubicBezTo>
                      <a:cubicBezTo>
                        <a:pt x="165787" y="869971"/>
                        <a:pt x="137155" y="868303"/>
                        <a:pt x="107388" y="866051"/>
                      </a:cubicBezTo>
                      <a:cubicBezTo>
                        <a:pt x="107817" y="836453"/>
                        <a:pt x="102756" y="828665"/>
                        <a:pt x="115653" y="802709"/>
                      </a:cubicBezTo>
                      <a:cubicBezTo>
                        <a:pt x="105766" y="808629"/>
                        <a:pt x="80304" y="809586"/>
                        <a:pt x="72135" y="863319"/>
                      </a:cubicBezTo>
                      <a:cubicBezTo>
                        <a:pt x="-5248" y="769969"/>
                        <a:pt x="-9117" y="695289"/>
                        <a:pt x="8939" y="666146"/>
                      </a:cubicBezTo>
                      <a:cubicBezTo>
                        <a:pt x="21048" y="646437"/>
                        <a:pt x="84495" y="617701"/>
                        <a:pt x="126514" y="602728"/>
                      </a:cubicBezTo>
                      <a:lnTo>
                        <a:pt x="189649" y="578809"/>
                      </a:lnTo>
                      <a:cubicBezTo>
                        <a:pt x="199346" y="580630"/>
                        <a:pt x="259142" y="648935"/>
                        <a:pt x="348432" y="647569"/>
                      </a:cubicBezTo>
                      <a:cubicBezTo>
                        <a:pt x="392274" y="646882"/>
                        <a:pt x="418782" y="634129"/>
                        <a:pt x="434280" y="621574"/>
                      </a:cubicBezTo>
                      <a:lnTo>
                        <a:pt x="447663" y="603030"/>
                      </a:lnTo>
                      <a:cubicBezTo>
                        <a:pt x="437487" y="611334"/>
                        <a:pt x="411701" y="623772"/>
                        <a:pt x="353281" y="622524"/>
                      </a:cubicBezTo>
                      <a:cubicBezTo>
                        <a:pt x="293081" y="621613"/>
                        <a:pt x="230052" y="568791"/>
                        <a:pt x="228840" y="558317"/>
                      </a:cubicBezTo>
                      <a:cubicBezTo>
                        <a:pt x="227628" y="547388"/>
                        <a:pt x="249042" y="500486"/>
                        <a:pt x="257122" y="499120"/>
                      </a:cubicBezTo>
                      <a:close/>
                      <a:moveTo>
                        <a:pt x="349093" y="167"/>
                      </a:moveTo>
                      <a:cubicBezTo>
                        <a:pt x="388971" y="2218"/>
                        <a:pt x="446942" y="21312"/>
                        <a:pt x="475948" y="42250"/>
                      </a:cubicBezTo>
                      <a:cubicBezTo>
                        <a:pt x="504955" y="63189"/>
                        <a:pt x="524347" y="113952"/>
                        <a:pt x="523135" y="125796"/>
                      </a:cubicBezTo>
                      <a:cubicBezTo>
                        <a:pt x="521923" y="137186"/>
                        <a:pt x="520758" y="171360"/>
                        <a:pt x="517697" y="186030"/>
                      </a:cubicBezTo>
                      <a:cubicBezTo>
                        <a:pt x="514637" y="200701"/>
                        <a:pt x="506925" y="202430"/>
                        <a:pt x="504770" y="213819"/>
                      </a:cubicBezTo>
                      <a:cubicBezTo>
                        <a:pt x="509213" y="224750"/>
                        <a:pt x="504772" y="254352"/>
                        <a:pt x="504770" y="254364"/>
                      </a:cubicBezTo>
                      <a:cubicBezTo>
                        <a:pt x="504801" y="254367"/>
                        <a:pt x="523353" y="255742"/>
                        <a:pt x="523353" y="269398"/>
                      </a:cubicBezTo>
                      <a:cubicBezTo>
                        <a:pt x="523353" y="283062"/>
                        <a:pt x="503565" y="358204"/>
                        <a:pt x="503558" y="358232"/>
                      </a:cubicBezTo>
                      <a:cubicBezTo>
                        <a:pt x="503542" y="358258"/>
                        <a:pt x="498297" y="367342"/>
                        <a:pt x="492246" y="365977"/>
                      </a:cubicBezTo>
                      <a:cubicBezTo>
                        <a:pt x="485783" y="421555"/>
                        <a:pt x="463563" y="456178"/>
                        <a:pt x="444576" y="473034"/>
                      </a:cubicBezTo>
                      <a:cubicBezTo>
                        <a:pt x="425993" y="489434"/>
                        <a:pt x="382766" y="522690"/>
                        <a:pt x="356911" y="522690"/>
                      </a:cubicBezTo>
                      <a:cubicBezTo>
                        <a:pt x="331056" y="522690"/>
                        <a:pt x="267630" y="469845"/>
                        <a:pt x="262783" y="460734"/>
                      </a:cubicBezTo>
                      <a:cubicBezTo>
                        <a:pt x="257531" y="451623"/>
                        <a:pt x="222788" y="411077"/>
                        <a:pt x="221576" y="361421"/>
                      </a:cubicBezTo>
                      <a:cubicBezTo>
                        <a:pt x="204608" y="360054"/>
                        <a:pt x="194913" y="309943"/>
                        <a:pt x="188449" y="283520"/>
                      </a:cubicBezTo>
                      <a:cubicBezTo>
                        <a:pt x="183199" y="261207"/>
                        <a:pt x="201363" y="261653"/>
                        <a:pt x="201376" y="261653"/>
                      </a:cubicBezTo>
                      <a:cubicBezTo>
                        <a:pt x="201357" y="261601"/>
                        <a:pt x="175925" y="191494"/>
                        <a:pt x="173905" y="181930"/>
                      </a:cubicBezTo>
                      <a:cubicBezTo>
                        <a:pt x="172289" y="172819"/>
                        <a:pt x="155322" y="11550"/>
                        <a:pt x="283790" y="17472"/>
                      </a:cubicBezTo>
                      <a:cubicBezTo>
                        <a:pt x="302575" y="4488"/>
                        <a:pt x="325167" y="-1064"/>
                        <a:pt x="349093" y="167"/>
                      </a:cubicBezTo>
                      <a:close/>
                    </a:path>
                  </a:pathLst>
                </a:custGeom>
                <a:grpFill/>
                <a:ln>
                  <a:noFill/>
                  <a:headEnd type="none" w="med" len="med"/>
                  <a:tailEnd type="none" w="med" len="med"/>
                </a:ln>
                <a:effectLst/>
                <a:scene3d>
                  <a:camera prst="orthographicFront" fov="0">
                    <a:rot lat="0" lon="0" rev="0"/>
                  </a:camera>
                  <a:lightRig rig="glow" dir="t">
                    <a:rot lat="0" lon="0" rev="6360000"/>
                  </a:lightRig>
                </a:scene3d>
                <a:sp3d prstMaterial="flat">
                  <a:contourClr>
                    <a:srgbClr val="B4009E">
                      <a:satMod val="300000"/>
                    </a:srgbClr>
                  </a:contourClr>
                </a:sp3d>
                <a:extLst/>
              </p:spPr>
              <p:txBody>
                <a:bodyPr vert="horz" wrap="square" lIns="114140" tIns="57070" rIns="114140" bIns="5707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1141011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2913" kern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Segoe UI"/>
                  </a:endParaRPr>
                </a:p>
              </p:txBody>
            </p:sp>
            <p:sp>
              <p:nvSpPr>
                <p:cNvPr id="561" name="Rectangle 560"/>
                <p:cNvSpPr/>
                <p:nvPr/>
              </p:nvSpPr>
              <p:spPr>
                <a:xfrm>
                  <a:off x="5962667" y="3904245"/>
                  <a:ext cx="611964" cy="45719"/>
                </a:xfrm>
                <a:prstGeom prst="rect">
                  <a:avLst/>
                </a:prstGeom>
                <a:grpFill/>
                <a:ln w="1079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32597">
                    <a:defRPr/>
                  </a:pPr>
                  <a:endParaRPr lang="en-US" sz="1873" kern="0">
                    <a:solidFill>
                      <a:srgbClr val="FFFFFF"/>
                    </a:solidFill>
                    <a:latin typeface="Segoe UI"/>
                  </a:endParaRPr>
                </a:p>
              </p:txBody>
            </p:sp>
            <p:sp>
              <p:nvSpPr>
                <p:cNvPr id="562" name="Rounded Rectangle 581"/>
                <p:cNvSpPr/>
                <p:nvPr/>
              </p:nvSpPr>
              <p:spPr>
                <a:xfrm>
                  <a:off x="5277860" y="3548824"/>
                  <a:ext cx="1413454" cy="13868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13454" h="1386878">
                      <a:moveTo>
                        <a:pt x="145143" y="44720"/>
                      </a:moveTo>
                      <a:cubicBezTo>
                        <a:pt x="90155" y="44720"/>
                        <a:pt x="45578" y="89297"/>
                        <a:pt x="45578" y="144285"/>
                      </a:cubicBezTo>
                      <a:lnTo>
                        <a:pt x="45578" y="1242592"/>
                      </a:lnTo>
                      <a:cubicBezTo>
                        <a:pt x="45578" y="1297580"/>
                        <a:pt x="90155" y="1342157"/>
                        <a:pt x="145143" y="1342157"/>
                      </a:cubicBezTo>
                      <a:lnTo>
                        <a:pt x="1268310" y="1342157"/>
                      </a:lnTo>
                      <a:cubicBezTo>
                        <a:pt x="1323298" y="1342157"/>
                        <a:pt x="1367875" y="1297580"/>
                        <a:pt x="1367875" y="1242592"/>
                      </a:cubicBezTo>
                      <a:lnTo>
                        <a:pt x="1367875" y="144285"/>
                      </a:lnTo>
                      <a:cubicBezTo>
                        <a:pt x="1367875" y="89297"/>
                        <a:pt x="1323298" y="44720"/>
                        <a:pt x="1268310" y="44720"/>
                      </a:cubicBezTo>
                      <a:close/>
                      <a:moveTo>
                        <a:pt x="144527" y="0"/>
                      </a:moveTo>
                      <a:lnTo>
                        <a:pt x="1268927" y="0"/>
                      </a:lnTo>
                      <a:cubicBezTo>
                        <a:pt x="1348747" y="0"/>
                        <a:pt x="1413454" y="64707"/>
                        <a:pt x="1413454" y="144527"/>
                      </a:cubicBezTo>
                      <a:lnTo>
                        <a:pt x="1413454" y="1242351"/>
                      </a:lnTo>
                      <a:cubicBezTo>
                        <a:pt x="1413454" y="1322171"/>
                        <a:pt x="1348747" y="1386878"/>
                        <a:pt x="1268927" y="1386878"/>
                      </a:cubicBezTo>
                      <a:lnTo>
                        <a:pt x="144527" y="1386878"/>
                      </a:lnTo>
                      <a:cubicBezTo>
                        <a:pt x="64707" y="1386878"/>
                        <a:pt x="0" y="1322171"/>
                        <a:pt x="0" y="1242351"/>
                      </a:cubicBezTo>
                      <a:lnTo>
                        <a:pt x="0" y="144527"/>
                      </a:lnTo>
                      <a:cubicBezTo>
                        <a:pt x="0" y="64707"/>
                        <a:pt x="64707" y="0"/>
                        <a:pt x="144527" y="0"/>
                      </a:cubicBezTo>
                      <a:close/>
                    </a:path>
                  </a:pathLst>
                </a:custGeom>
                <a:grpFill/>
                <a:ln w="38100">
                  <a:noFill/>
                  <a:headEnd type="none" w="med" len="med"/>
                  <a:tailEnd type="none" w="med" len="med"/>
                </a:ln>
                <a:effectLst/>
                <a:scene3d>
                  <a:camera prst="orthographicFront" fov="0">
                    <a:rot lat="0" lon="0" rev="0"/>
                  </a:camera>
                  <a:lightRig rig="glow" dir="t">
                    <a:rot lat="0" lon="0" rev="6360000"/>
                  </a:lightRig>
                </a:scene3d>
                <a:sp3d prstMaterial="flat">
                  <a:contourClr>
                    <a:srgbClr val="B4009E">
                      <a:satMod val="300000"/>
                    </a:srgbClr>
                  </a:contourClr>
                </a:sp3d>
              </p:spPr>
              <p:txBody>
                <a:bodyPr vert="horz" wrap="square" lIns="114140" tIns="57070" rIns="114140" bIns="5707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1141011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2913" kern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Segoe UI"/>
                  </a:endParaRPr>
                </a:p>
              </p:txBody>
            </p:sp>
            <p:sp>
              <p:nvSpPr>
                <p:cNvPr id="563" name="Rectangle 562"/>
                <p:cNvSpPr/>
                <p:nvPr/>
              </p:nvSpPr>
              <p:spPr>
                <a:xfrm>
                  <a:off x="5962667" y="4202921"/>
                  <a:ext cx="611964" cy="45719"/>
                </a:xfrm>
                <a:prstGeom prst="rect">
                  <a:avLst/>
                </a:prstGeom>
                <a:grpFill/>
                <a:ln w="1079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32597">
                    <a:defRPr/>
                  </a:pPr>
                  <a:endParaRPr lang="en-US" sz="1873" kern="0">
                    <a:solidFill>
                      <a:srgbClr val="FFFFFF"/>
                    </a:solidFill>
                    <a:latin typeface="Segoe UI"/>
                  </a:endParaRPr>
                </a:p>
              </p:txBody>
            </p:sp>
            <p:sp>
              <p:nvSpPr>
                <p:cNvPr id="564" name="Rectangle 563"/>
                <p:cNvSpPr/>
                <p:nvPr/>
              </p:nvSpPr>
              <p:spPr>
                <a:xfrm>
                  <a:off x="5962667" y="4053583"/>
                  <a:ext cx="611964" cy="45719"/>
                </a:xfrm>
                <a:prstGeom prst="rect">
                  <a:avLst/>
                </a:prstGeom>
                <a:grpFill/>
                <a:ln w="1079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32597">
                    <a:defRPr/>
                  </a:pPr>
                  <a:endParaRPr lang="en-US" sz="1873" kern="0">
                    <a:solidFill>
                      <a:srgbClr val="FFFFFF"/>
                    </a:solidFill>
                    <a:latin typeface="Segoe UI"/>
                  </a:endParaRPr>
                </a:p>
              </p:txBody>
            </p:sp>
            <p:sp>
              <p:nvSpPr>
                <p:cNvPr id="565" name="Rectangle 564"/>
                <p:cNvSpPr/>
                <p:nvPr/>
              </p:nvSpPr>
              <p:spPr>
                <a:xfrm>
                  <a:off x="5395465" y="4352259"/>
                  <a:ext cx="1179166" cy="45719"/>
                </a:xfrm>
                <a:prstGeom prst="rect">
                  <a:avLst/>
                </a:prstGeom>
                <a:grpFill/>
                <a:ln w="1079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32597">
                    <a:defRPr/>
                  </a:pPr>
                  <a:endParaRPr lang="en-US" sz="1873" kern="0">
                    <a:solidFill>
                      <a:srgbClr val="FFFFFF"/>
                    </a:solidFill>
                    <a:latin typeface="Segoe UI"/>
                  </a:endParaRPr>
                </a:p>
              </p:txBody>
            </p:sp>
            <p:sp>
              <p:nvSpPr>
                <p:cNvPr id="566" name="Rectangle 565"/>
                <p:cNvSpPr/>
                <p:nvPr/>
              </p:nvSpPr>
              <p:spPr>
                <a:xfrm>
                  <a:off x="5395465" y="4501597"/>
                  <a:ext cx="1179166" cy="45719"/>
                </a:xfrm>
                <a:prstGeom prst="rect">
                  <a:avLst/>
                </a:prstGeom>
                <a:grpFill/>
                <a:ln w="1079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32597">
                    <a:defRPr/>
                  </a:pPr>
                  <a:endParaRPr lang="en-US" sz="1873" kern="0">
                    <a:solidFill>
                      <a:srgbClr val="FFFFFF"/>
                    </a:solidFill>
                    <a:latin typeface="Segoe UI"/>
                  </a:endParaRPr>
                </a:p>
              </p:txBody>
            </p:sp>
            <p:sp>
              <p:nvSpPr>
                <p:cNvPr id="567" name="Rectangle 566"/>
                <p:cNvSpPr/>
                <p:nvPr/>
              </p:nvSpPr>
              <p:spPr>
                <a:xfrm>
                  <a:off x="5395465" y="4650933"/>
                  <a:ext cx="1179166" cy="45719"/>
                </a:xfrm>
                <a:prstGeom prst="rect">
                  <a:avLst/>
                </a:prstGeom>
                <a:grpFill/>
                <a:ln w="1079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32597">
                    <a:defRPr/>
                  </a:pPr>
                  <a:endParaRPr lang="en-US" sz="1873" kern="0">
                    <a:solidFill>
                      <a:srgbClr val="FFFFFF"/>
                    </a:solidFill>
                    <a:latin typeface="Segoe UI"/>
                  </a:endParaRPr>
                </a:p>
              </p:txBody>
            </p:sp>
          </p:grpSp>
          <p:sp>
            <p:nvSpPr>
              <p:cNvPr id="559" name="Rectangle 558"/>
              <p:cNvSpPr/>
              <p:nvPr/>
            </p:nvSpPr>
            <p:spPr>
              <a:xfrm>
                <a:off x="1671272" y="4740193"/>
                <a:ext cx="1161344" cy="43124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3175">
                    <a:solidFill>
                      <a:srgbClr val="000000"/>
                    </a:solidFill>
                    <a:prstDash val="sysDot"/>
                    <a:miter lim="800000"/>
                    <a:headEnd/>
                    <a:tailEnd type="oval" w="lg" len="lg"/>
                  </a14:hiddenLine>
                </a:ext>
              </a:extLst>
            </p:spPr>
            <p:txBody>
              <a:bodyPr wrap="none" lIns="46630" tIns="46630" rIns="46630" bIns="46630" anchor="ctr">
                <a:noAutofit/>
              </a:bodyPr>
              <a:lstStyle/>
              <a:p>
                <a:pPr algn="ctr" defTabSz="932597">
                  <a:defRPr/>
                </a:pPr>
                <a:r>
                  <a:rPr lang="en-US" sz="1224" kern="0">
                    <a:solidFill>
                      <a:srgbClr val="FFFFFF"/>
                    </a:solidFill>
                    <a:latin typeface="Segoe UI"/>
                    <a:cs typeface="Segoe UI" panose="020B0502040204020203" pitchFamily="34" charset="0"/>
                  </a:rPr>
                  <a:t>System</a:t>
                </a:r>
                <a:br>
                  <a:rPr lang="en-US" sz="1224" kern="0">
                    <a:solidFill>
                      <a:srgbClr val="FFFFFF"/>
                    </a:solidFill>
                    <a:latin typeface="Segoe UI"/>
                    <a:cs typeface="Segoe UI" panose="020B0502040204020203" pitchFamily="34" charset="0"/>
                  </a:rPr>
                </a:br>
                <a:r>
                  <a:rPr lang="en-US" sz="1224" kern="0">
                    <a:solidFill>
                      <a:srgbClr val="FFFFFF"/>
                    </a:solidFill>
                    <a:latin typeface="Segoe UI"/>
                    <a:cs typeface="Segoe UI" panose="020B0502040204020203" pitchFamily="34" charset="0"/>
                  </a:rPr>
                  <a:t>check</a:t>
                </a:r>
              </a:p>
            </p:txBody>
          </p:sp>
        </p:grpSp>
      </p:grpSp>
      <p:grpSp>
        <p:nvGrpSpPr>
          <p:cNvPr id="576" name="Group 575"/>
          <p:cNvGrpSpPr/>
          <p:nvPr/>
        </p:nvGrpSpPr>
        <p:grpSpPr>
          <a:xfrm>
            <a:off x="2616874" y="1959979"/>
            <a:ext cx="3279776" cy="2626177"/>
            <a:chOff x="2564931" y="1895727"/>
            <a:chExt cx="3215759" cy="2574917"/>
          </a:xfrm>
        </p:grpSpPr>
        <p:sp>
          <p:nvSpPr>
            <p:cNvPr id="577" name="Rectangle 576"/>
            <p:cNvSpPr/>
            <p:nvPr/>
          </p:nvSpPr>
          <p:spPr>
            <a:xfrm>
              <a:off x="4017321" y="4078399"/>
              <a:ext cx="1486538" cy="392245"/>
            </a:xfrm>
            <a:prstGeom prst="rect">
              <a:avLst/>
            </a:prstGeom>
            <a:noFill/>
          </p:spPr>
          <p:txBody>
            <a:bodyPr wrap="square" anchor="ctr">
              <a:noAutofit/>
            </a:bodyPr>
            <a:lstStyle/>
            <a:p>
              <a:pPr algn="ctr" defTabSz="93229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IN" sz="1836" kern="0">
                  <a:solidFill>
                    <a:srgbClr val="FFFFFF"/>
                  </a:soli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rPr>
                <a:t>PERIMETER</a:t>
              </a:r>
            </a:p>
          </p:txBody>
        </p:sp>
        <p:grpSp>
          <p:nvGrpSpPr>
            <p:cNvPr id="578" name="Group 577"/>
            <p:cNvGrpSpPr/>
            <p:nvPr/>
          </p:nvGrpSpPr>
          <p:grpSpPr>
            <a:xfrm>
              <a:off x="4545816" y="2563647"/>
              <a:ext cx="1234874" cy="815864"/>
              <a:chOff x="4431792" y="2219944"/>
              <a:chExt cx="1234874" cy="815864"/>
            </a:xfrm>
          </p:grpSpPr>
          <p:sp>
            <p:nvSpPr>
              <p:cNvPr id="588" name="Rectangle 587">
                <a:extLst/>
              </p:cNvPr>
              <p:cNvSpPr/>
              <p:nvPr/>
            </p:nvSpPr>
            <p:spPr bwMode="auto">
              <a:xfrm>
                <a:off x="4769550" y="2219944"/>
                <a:ext cx="559358" cy="353341"/>
              </a:xfrm>
              <a:prstGeom prst="rect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defTabSz="932597">
                  <a:defRPr/>
                </a:pPr>
                <a:endParaRPr lang="en-US" sz="1836" kern="0">
                  <a:ln>
                    <a:solidFill>
                      <a:srgbClr val="505050"/>
                    </a:solidFill>
                  </a:ln>
                  <a:solidFill>
                    <a:srgbClr val="FFFFFF"/>
                  </a:solidFill>
                  <a:latin typeface="Segoe UI Light"/>
                </a:endParaRPr>
              </a:p>
            </p:txBody>
          </p:sp>
          <p:sp>
            <p:nvSpPr>
              <p:cNvPr id="589" name="Rectangle 588">
                <a:extLst/>
              </p:cNvPr>
              <p:cNvSpPr/>
              <p:nvPr/>
            </p:nvSpPr>
            <p:spPr bwMode="auto">
              <a:xfrm>
                <a:off x="5120010" y="2374424"/>
                <a:ext cx="89528" cy="198861"/>
              </a:xfrm>
              <a:prstGeom prst="rect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defTabSz="932597">
                  <a:defRPr/>
                </a:pPr>
                <a:endParaRPr lang="en-US" sz="1836" kern="0">
                  <a:ln>
                    <a:solidFill>
                      <a:srgbClr val="505050"/>
                    </a:solidFill>
                  </a:ln>
                  <a:solidFill>
                    <a:srgbClr val="FFFFFF"/>
                  </a:solidFill>
                  <a:latin typeface="Segoe UI Light"/>
                </a:endParaRPr>
              </a:p>
            </p:txBody>
          </p:sp>
          <p:sp>
            <p:nvSpPr>
              <p:cNvPr id="590" name="TextBox 110"/>
              <p:cNvSpPr txBox="1">
                <a:spLocks noChangeArrowheads="1"/>
              </p:cNvSpPr>
              <p:nvPr/>
            </p:nvSpPr>
            <p:spPr bwMode="auto">
              <a:xfrm>
                <a:off x="5036774" y="2246992"/>
                <a:ext cx="279857" cy="326293"/>
              </a:xfrm>
              <a:prstGeom prst="rect">
                <a:avLst/>
              </a:prstGeom>
              <a:noFill/>
              <a:ln w="9525">
                <a:solidFill>
                  <a:srgbClr val="FFFFFF"/>
                </a:solidFill>
                <a:miter lim="800000"/>
                <a:headEnd/>
                <a:tailEnd/>
              </a:ln>
              <a:extLst/>
            </p:spPr>
            <p:txBody>
              <a:bodyPr wrap="square">
                <a:noAutofit/>
              </a:bodyPr>
              <a:lstStyle>
                <a:lvl1pPr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9pPr>
              </a:lstStyle>
              <a:p>
                <a:pPr algn="ctr" defTabSz="932597">
                  <a:defRPr/>
                </a:pPr>
                <a:endParaRPr lang="en-US" altLang="en-US" sz="918" kern="0">
                  <a:solidFill>
                    <a:srgbClr val="FFFFFF"/>
                  </a:solidFill>
                  <a:latin typeface="Segoe UI Light"/>
                </a:endParaRPr>
              </a:p>
            </p:txBody>
          </p:sp>
          <p:cxnSp>
            <p:nvCxnSpPr>
              <p:cNvPr id="591" name="Straight Arrow Connector 590">
                <a:extLst/>
              </p:cNvPr>
              <p:cNvCxnSpPr/>
              <p:nvPr/>
            </p:nvCxnSpPr>
            <p:spPr bwMode="auto">
              <a:xfrm>
                <a:off x="4827705" y="2314680"/>
                <a:ext cx="250219" cy="59743"/>
              </a:xfrm>
              <a:prstGeom prst="straightConnector1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  <a:tailEnd type="triangle"/>
              </a:ln>
              <a:effectLst/>
            </p:spPr>
          </p:cxnSp>
          <p:sp>
            <p:nvSpPr>
              <p:cNvPr id="592" name="TextBox 21"/>
              <p:cNvSpPr txBox="1">
                <a:spLocks noChangeArrowheads="1"/>
              </p:cNvSpPr>
              <p:nvPr/>
            </p:nvSpPr>
            <p:spPr bwMode="auto">
              <a:xfrm>
                <a:off x="4431792" y="2699624"/>
                <a:ext cx="1234874" cy="336184"/>
              </a:xfrm>
              <a:prstGeom prst="rect">
                <a:avLst/>
              </a:prstGeom>
              <a:noFill/>
              <a:ln w="3175">
                <a:noFill/>
                <a:prstDash val="sysDot"/>
                <a:miter lim="800000"/>
                <a:headEnd/>
                <a:tailEnd type="oval" w="lg" len="lg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124347" tIns="62174" rIns="124347" bIns="62174" anchor="ctr"/>
              <a:lstStyle>
                <a:lvl1pPr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9pPr>
              </a:lstStyle>
              <a:p>
                <a:pPr algn="ctr" defTabSz="932597">
                  <a:defRPr/>
                </a:pPr>
                <a:r>
                  <a:rPr lang="en-US" altLang="en-US" sz="1224" kern="0">
                    <a:solidFill>
                      <a:srgbClr val="FFFFFF"/>
                    </a:solidFill>
                    <a:latin typeface="Segoe UI"/>
                    <a:cs typeface="Segoe UI" panose="020B0502040204020203" pitchFamily="34" charset="0"/>
                  </a:rPr>
                  <a:t>One d</a:t>
                </a:r>
                <a:r>
                  <a:rPr lang="en-US" altLang="en-US" sz="1224" kern="0" err="1">
                    <a:solidFill>
                      <a:srgbClr val="FFFFFF"/>
                    </a:solidFill>
                    <a:latin typeface="Segoe UI"/>
                    <a:cs typeface="Segoe UI" panose="020B0502040204020203" pitchFamily="34" charset="0"/>
                  </a:rPr>
                  <a:t>efined</a:t>
                </a:r>
                <a:br>
                  <a:rPr lang="en-US" altLang="en-US" sz="1224" kern="0">
                    <a:solidFill>
                      <a:srgbClr val="FFFFFF"/>
                    </a:solidFill>
                    <a:latin typeface="Segoe UI"/>
                    <a:cs typeface="Segoe UI" panose="020B0502040204020203" pitchFamily="34" charset="0"/>
                  </a:rPr>
                </a:br>
                <a:r>
                  <a:rPr lang="en-US" altLang="en-US" sz="1224" kern="0">
                    <a:solidFill>
                      <a:srgbClr val="FFFFFF"/>
                    </a:solidFill>
                    <a:latin typeface="Segoe UI"/>
                    <a:cs typeface="Segoe UI" panose="020B0502040204020203" pitchFamily="34" charset="0"/>
                  </a:rPr>
                  <a:t>access point</a:t>
                </a:r>
              </a:p>
            </p:txBody>
          </p:sp>
        </p:grpSp>
        <p:grpSp>
          <p:nvGrpSpPr>
            <p:cNvPr id="579" name="Group 578"/>
            <p:cNvGrpSpPr/>
            <p:nvPr/>
          </p:nvGrpSpPr>
          <p:grpSpPr>
            <a:xfrm>
              <a:off x="2564931" y="2977072"/>
              <a:ext cx="1455150" cy="862592"/>
              <a:chOff x="2946189" y="3393280"/>
              <a:chExt cx="1455150" cy="862592"/>
            </a:xfrm>
          </p:grpSpPr>
          <p:sp>
            <p:nvSpPr>
              <p:cNvPr id="584" name="Freeform 7"/>
              <p:cNvSpPr>
                <a:spLocks/>
              </p:cNvSpPr>
              <p:nvPr/>
            </p:nvSpPr>
            <p:spPr bwMode="auto">
              <a:xfrm>
                <a:off x="3856790" y="3609015"/>
                <a:ext cx="110084" cy="75163"/>
              </a:xfrm>
              <a:custGeom>
                <a:avLst/>
                <a:gdLst>
                  <a:gd name="T0" fmla="*/ 76 w 175"/>
                  <a:gd name="T1" fmla="*/ 108 h 108"/>
                  <a:gd name="T2" fmla="*/ 85 w 175"/>
                  <a:gd name="T3" fmla="*/ 106 h 108"/>
                  <a:gd name="T4" fmla="*/ 168 w 175"/>
                  <a:gd name="T5" fmla="*/ 43 h 108"/>
                  <a:gd name="T6" fmla="*/ 165 w 175"/>
                  <a:gd name="T7" fmla="*/ 29 h 108"/>
                  <a:gd name="T8" fmla="*/ 104 w 175"/>
                  <a:gd name="T9" fmla="*/ 3 h 108"/>
                  <a:gd name="T10" fmla="*/ 88 w 175"/>
                  <a:gd name="T11" fmla="*/ 6 h 108"/>
                  <a:gd name="T12" fmla="*/ 12 w 175"/>
                  <a:gd name="T13" fmla="*/ 65 h 108"/>
                  <a:gd name="T14" fmla="*/ 10 w 175"/>
                  <a:gd name="T15" fmla="*/ 81 h 108"/>
                  <a:gd name="T16" fmla="*/ 76 w 175"/>
                  <a:gd name="T17" fmla="*/ 108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5" h="108">
                    <a:moveTo>
                      <a:pt x="76" y="108"/>
                    </a:moveTo>
                    <a:cubicBezTo>
                      <a:pt x="80" y="108"/>
                      <a:pt x="83" y="108"/>
                      <a:pt x="85" y="106"/>
                    </a:cubicBezTo>
                    <a:cubicBezTo>
                      <a:pt x="113" y="85"/>
                      <a:pt x="141" y="64"/>
                      <a:pt x="168" y="43"/>
                    </a:cubicBezTo>
                    <a:cubicBezTo>
                      <a:pt x="175" y="37"/>
                      <a:pt x="171" y="32"/>
                      <a:pt x="165" y="29"/>
                    </a:cubicBezTo>
                    <a:cubicBezTo>
                      <a:pt x="144" y="21"/>
                      <a:pt x="124" y="12"/>
                      <a:pt x="104" y="3"/>
                    </a:cubicBezTo>
                    <a:cubicBezTo>
                      <a:pt x="98" y="0"/>
                      <a:pt x="93" y="2"/>
                      <a:pt x="88" y="6"/>
                    </a:cubicBezTo>
                    <a:cubicBezTo>
                      <a:pt x="63" y="26"/>
                      <a:pt x="37" y="45"/>
                      <a:pt x="12" y="65"/>
                    </a:cubicBezTo>
                    <a:cubicBezTo>
                      <a:pt x="7" y="69"/>
                      <a:pt x="0" y="76"/>
                      <a:pt x="10" y="81"/>
                    </a:cubicBezTo>
                    <a:cubicBezTo>
                      <a:pt x="32" y="91"/>
                      <a:pt x="54" y="99"/>
                      <a:pt x="76" y="108"/>
                    </a:cubicBezTo>
                    <a:close/>
                  </a:path>
                </a:pathLst>
              </a:custGeom>
              <a:noFill/>
              <a:ln>
                <a:solidFill>
                  <a:srgbClr val="FFFFFF"/>
                </a:solidFill>
              </a:ln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defTabSz="932597">
                  <a:defRPr/>
                </a:pPr>
                <a:endParaRPr lang="en-US" sz="1836" kern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585" name="Freeform 9"/>
              <p:cNvSpPr>
                <a:spLocks/>
              </p:cNvSpPr>
              <p:nvPr/>
            </p:nvSpPr>
            <p:spPr bwMode="auto">
              <a:xfrm>
                <a:off x="3497214" y="3393280"/>
                <a:ext cx="423876" cy="437206"/>
              </a:xfrm>
              <a:custGeom>
                <a:avLst/>
                <a:gdLst>
                  <a:gd name="T0" fmla="*/ 1 w 675"/>
                  <a:gd name="T1" fmla="*/ 313 h 627"/>
                  <a:gd name="T2" fmla="*/ 1 w 675"/>
                  <a:gd name="T3" fmla="*/ 600 h 627"/>
                  <a:gd name="T4" fmla="*/ 22 w 675"/>
                  <a:gd name="T5" fmla="*/ 627 h 627"/>
                  <a:gd name="T6" fmla="*/ 44 w 675"/>
                  <a:gd name="T7" fmla="*/ 602 h 627"/>
                  <a:gd name="T8" fmla="*/ 43 w 675"/>
                  <a:gd name="T9" fmla="*/ 509 h 627"/>
                  <a:gd name="T10" fmla="*/ 64 w 675"/>
                  <a:gd name="T11" fmla="*/ 488 h 627"/>
                  <a:gd name="T12" fmla="*/ 178 w 675"/>
                  <a:gd name="T13" fmla="*/ 488 h 627"/>
                  <a:gd name="T14" fmla="*/ 314 w 675"/>
                  <a:gd name="T15" fmla="*/ 360 h 627"/>
                  <a:gd name="T16" fmla="*/ 337 w 675"/>
                  <a:gd name="T17" fmla="*/ 347 h 627"/>
                  <a:gd name="T18" fmla="*/ 461 w 675"/>
                  <a:gd name="T19" fmla="*/ 398 h 627"/>
                  <a:gd name="T20" fmla="*/ 491 w 675"/>
                  <a:gd name="T21" fmla="*/ 396 h 627"/>
                  <a:gd name="T22" fmla="*/ 655 w 675"/>
                  <a:gd name="T23" fmla="*/ 272 h 627"/>
                  <a:gd name="T24" fmla="*/ 650 w 675"/>
                  <a:gd name="T25" fmla="*/ 246 h 627"/>
                  <a:gd name="T26" fmla="*/ 382 w 675"/>
                  <a:gd name="T27" fmla="*/ 136 h 627"/>
                  <a:gd name="T28" fmla="*/ 208 w 675"/>
                  <a:gd name="T29" fmla="*/ 64 h 627"/>
                  <a:gd name="T30" fmla="*/ 179 w 675"/>
                  <a:gd name="T31" fmla="*/ 70 h 627"/>
                  <a:gd name="T32" fmla="*/ 113 w 675"/>
                  <a:gd name="T33" fmla="*/ 230 h 627"/>
                  <a:gd name="T34" fmla="*/ 129 w 675"/>
                  <a:gd name="T35" fmla="*/ 261 h 627"/>
                  <a:gd name="T36" fmla="*/ 253 w 675"/>
                  <a:gd name="T37" fmla="*/ 313 h 627"/>
                  <a:gd name="T38" fmla="*/ 272 w 675"/>
                  <a:gd name="T39" fmla="*/ 329 h 627"/>
                  <a:gd name="T40" fmla="*/ 185 w 675"/>
                  <a:gd name="T41" fmla="*/ 442 h 627"/>
                  <a:gd name="T42" fmla="*/ 71 w 675"/>
                  <a:gd name="T43" fmla="*/ 443 h 627"/>
                  <a:gd name="T44" fmla="*/ 43 w 675"/>
                  <a:gd name="T45" fmla="*/ 414 h 627"/>
                  <a:gd name="T46" fmla="*/ 43 w 675"/>
                  <a:gd name="T47" fmla="*/ 39 h 627"/>
                  <a:gd name="T48" fmla="*/ 43 w 675"/>
                  <a:gd name="T49" fmla="*/ 18 h 627"/>
                  <a:gd name="T50" fmla="*/ 30 w 675"/>
                  <a:gd name="T51" fmla="*/ 3 h 627"/>
                  <a:gd name="T52" fmla="*/ 1 w 675"/>
                  <a:gd name="T53" fmla="*/ 28 h 627"/>
                  <a:gd name="T54" fmla="*/ 1 w 675"/>
                  <a:gd name="T55" fmla="*/ 313 h 6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675" h="627">
                    <a:moveTo>
                      <a:pt x="1" y="313"/>
                    </a:moveTo>
                    <a:cubicBezTo>
                      <a:pt x="1" y="409"/>
                      <a:pt x="1" y="504"/>
                      <a:pt x="1" y="600"/>
                    </a:cubicBezTo>
                    <a:cubicBezTo>
                      <a:pt x="1" y="615"/>
                      <a:pt x="0" y="627"/>
                      <a:pt x="22" y="627"/>
                    </a:cubicBezTo>
                    <a:cubicBezTo>
                      <a:pt x="42" y="627"/>
                      <a:pt x="44" y="618"/>
                      <a:pt x="44" y="602"/>
                    </a:cubicBezTo>
                    <a:cubicBezTo>
                      <a:pt x="43" y="571"/>
                      <a:pt x="44" y="540"/>
                      <a:pt x="43" y="509"/>
                    </a:cubicBezTo>
                    <a:cubicBezTo>
                      <a:pt x="43" y="493"/>
                      <a:pt x="48" y="487"/>
                      <a:pt x="64" y="488"/>
                    </a:cubicBezTo>
                    <a:cubicBezTo>
                      <a:pt x="102" y="489"/>
                      <a:pt x="140" y="488"/>
                      <a:pt x="178" y="488"/>
                    </a:cubicBezTo>
                    <a:cubicBezTo>
                      <a:pt x="258" y="488"/>
                      <a:pt x="310" y="439"/>
                      <a:pt x="314" y="360"/>
                    </a:cubicBezTo>
                    <a:cubicBezTo>
                      <a:pt x="315" y="338"/>
                      <a:pt x="322" y="341"/>
                      <a:pt x="337" y="347"/>
                    </a:cubicBezTo>
                    <a:cubicBezTo>
                      <a:pt x="378" y="365"/>
                      <a:pt x="420" y="381"/>
                      <a:pt x="461" y="398"/>
                    </a:cubicBezTo>
                    <a:cubicBezTo>
                      <a:pt x="472" y="403"/>
                      <a:pt x="480" y="405"/>
                      <a:pt x="491" y="396"/>
                    </a:cubicBezTo>
                    <a:cubicBezTo>
                      <a:pt x="545" y="354"/>
                      <a:pt x="602" y="316"/>
                      <a:pt x="655" y="272"/>
                    </a:cubicBezTo>
                    <a:cubicBezTo>
                      <a:pt x="675" y="257"/>
                      <a:pt x="667" y="253"/>
                      <a:pt x="650" y="246"/>
                    </a:cubicBezTo>
                    <a:cubicBezTo>
                      <a:pt x="561" y="209"/>
                      <a:pt x="471" y="173"/>
                      <a:pt x="382" y="136"/>
                    </a:cubicBezTo>
                    <a:cubicBezTo>
                      <a:pt x="324" y="112"/>
                      <a:pt x="266" y="88"/>
                      <a:pt x="208" y="64"/>
                    </a:cubicBezTo>
                    <a:cubicBezTo>
                      <a:pt x="198" y="60"/>
                      <a:pt x="186" y="51"/>
                      <a:pt x="179" y="70"/>
                    </a:cubicBezTo>
                    <a:cubicBezTo>
                      <a:pt x="157" y="123"/>
                      <a:pt x="135" y="177"/>
                      <a:pt x="113" y="230"/>
                    </a:cubicBezTo>
                    <a:cubicBezTo>
                      <a:pt x="105" y="249"/>
                      <a:pt x="114" y="255"/>
                      <a:pt x="129" y="261"/>
                    </a:cubicBezTo>
                    <a:cubicBezTo>
                      <a:pt x="170" y="278"/>
                      <a:pt x="211" y="296"/>
                      <a:pt x="253" y="313"/>
                    </a:cubicBezTo>
                    <a:cubicBezTo>
                      <a:pt x="261" y="317"/>
                      <a:pt x="269" y="318"/>
                      <a:pt x="272" y="329"/>
                    </a:cubicBezTo>
                    <a:cubicBezTo>
                      <a:pt x="287" y="387"/>
                      <a:pt x="246" y="441"/>
                      <a:pt x="185" y="442"/>
                    </a:cubicBezTo>
                    <a:cubicBezTo>
                      <a:pt x="147" y="442"/>
                      <a:pt x="109" y="441"/>
                      <a:pt x="71" y="443"/>
                    </a:cubicBezTo>
                    <a:cubicBezTo>
                      <a:pt x="49" y="444"/>
                      <a:pt x="43" y="436"/>
                      <a:pt x="43" y="414"/>
                    </a:cubicBezTo>
                    <a:cubicBezTo>
                      <a:pt x="44" y="289"/>
                      <a:pt x="43" y="164"/>
                      <a:pt x="43" y="39"/>
                    </a:cubicBezTo>
                    <a:cubicBezTo>
                      <a:pt x="43" y="32"/>
                      <a:pt x="43" y="25"/>
                      <a:pt x="43" y="18"/>
                    </a:cubicBezTo>
                    <a:cubicBezTo>
                      <a:pt x="44" y="8"/>
                      <a:pt x="40" y="4"/>
                      <a:pt x="30" y="3"/>
                    </a:cubicBezTo>
                    <a:cubicBezTo>
                      <a:pt x="7" y="0"/>
                      <a:pt x="1" y="4"/>
                      <a:pt x="1" y="28"/>
                    </a:cubicBezTo>
                    <a:cubicBezTo>
                      <a:pt x="1" y="123"/>
                      <a:pt x="1" y="218"/>
                      <a:pt x="1" y="313"/>
                    </a:cubicBezTo>
                    <a:close/>
                  </a:path>
                </a:pathLst>
              </a:custGeom>
              <a:noFill/>
              <a:ln>
                <a:solidFill>
                  <a:srgbClr val="FFFFFF"/>
                </a:solidFill>
              </a:ln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defTabSz="932597">
                  <a:defRPr/>
                </a:pPr>
                <a:endParaRPr lang="en-US" sz="1836" kern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586" name="Freeform 13"/>
              <p:cNvSpPr>
                <a:spLocks/>
              </p:cNvSpPr>
              <p:nvPr/>
            </p:nvSpPr>
            <p:spPr bwMode="auto">
              <a:xfrm>
                <a:off x="3652568" y="3529262"/>
                <a:ext cx="57100" cy="63688"/>
              </a:xfrm>
              <a:custGeom>
                <a:avLst/>
                <a:gdLst>
                  <a:gd name="T0" fmla="*/ 44 w 91"/>
                  <a:gd name="T1" fmla="*/ 1 h 91"/>
                  <a:gd name="T2" fmla="*/ 1 w 91"/>
                  <a:gd name="T3" fmla="*/ 46 h 91"/>
                  <a:gd name="T4" fmla="*/ 48 w 91"/>
                  <a:gd name="T5" fmla="*/ 89 h 91"/>
                  <a:gd name="T6" fmla="*/ 90 w 91"/>
                  <a:gd name="T7" fmla="*/ 43 h 91"/>
                  <a:gd name="T8" fmla="*/ 44 w 91"/>
                  <a:gd name="T9" fmla="*/ 1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" h="91">
                    <a:moveTo>
                      <a:pt x="44" y="1"/>
                    </a:moveTo>
                    <a:cubicBezTo>
                      <a:pt x="20" y="1"/>
                      <a:pt x="0" y="22"/>
                      <a:pt x="1" y="46"/>
                    </a:cubicBezTo>
                    <a:cubicBezTo>
                      <a:pt x="1" y="70"/>
                      <a:pt x="24" y="91"/>
                      <a:pt x="48" y="89"/>
                    </a:cubicBezTo>
                    <a:cubicBezTo>
                      <a:pt x="71" y="88"/>
                      <a:pt x="91" y="66"/>
                      <a:pt x="90" y="43"/>
                    </a:cubicBezTo>
                    <a:cubicBezTo>
                      <a:pt x="88" y="20"/>
                      <a:pt x="67" y="0"/>
                      <a:pt x="44" y="1"/>
                    </a:cubicBezTo>
                    <a:close/>
                  </a:path>
                </a:pathLst>
              </a:cu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/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pPr defTabSz="932597">
                  <a:defRPr/>
                </a:pPr>
                <a:endParaRPr lang="en-US" sz="1836" kern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587" name="TextBox 20"/>
              <p:cNvSpPr txBox="1">
                <a:spLocks noChangeArrowheads="1"/>
              </p:cNvSpPr>
              <p:nvPr/>
            </p:nvSpPr>
            <p:spPr bwMode="auto">
              <a:xfrm>
                <a:off x="2946189" y="3917420"/>
                <a:ext cx="1455150" cy="338452"/>
              </a:xfrm>
              <a:prstGeom prst="rect">
                <a:avLst/>
              </a:prstGeom>
              <a:noFill/>
              <a:ln w="3175">
                <a:noFill/>
                <a:prstDash val="sysDot"/>
                <a:miter lim="800000"/>
                <a:headEnd/>
                <a:tailEnd type="oval" w="lg" len="lg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124347" tIns="62174" rIns="124347" bIns="62174" anchor="ctr"/>
              <a:lstStyle>
                <a:lvl1pPr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9pPr>
              </a:lstStyle>
              <a:p>
                <a:pPr algn="ctr" defTabSz="932597">
                  <a:defRPr/>
                </a:pPr>
                <a:r>
                  <a:rPr lang="en-US" altLang="en-US" sz="1224" kern="0">
                    <a:solidFill>
                      <a:srgbClr val="FFFFFF"/>
                    </a:solidFill>
                    <a:latin typeface="Segoe UI"/>
                    <a:cs typeface="Segoe UI" panose="020B0502040204020203" pitchFamily="34" charset="0"/>
                  </a:rPr>
                  <a:t>Video</a:t>
                </a:r>
                <a:br>
                  <a:rPr lang="en-US" altLang="en-US" sz="1224" kern="0">
                    <a:solidFill>
                      <a:srgbClr val="FFFFFF"/>
                    </a:solidFill>
                    <a:latin typeface="Segoe UI"/>
                    <a:cs typeface="Segoe UI" panose="020B0502040204020203" pitchFamily="34" charset="0"/>
                  </a:rPr>
                </a:br>
                <a:r>
                  <a:rPr lang="en-US" altLang="en-US" sz="1224" kern="0">
                    <a:solidFill>
                      <a:srgbClr val="FFFFFF"/>
                    </a:solidFill>
                    <a:latin typeface="Segoe UI"/>
                    <a:cs typeface="Segoe UI" panose="020B0502040204020203" pitchFamily="34" charset="0"/>
                  </a:rPr>
                  <a:t>coverage</a:t>
                </a:r>
              </a:p>
            </p:txBody>
          </p:sp>
        </p:grpSp>
        <p:grpSp>
          <p:nvGrpSpPr>
            <p:cNvPr id="580" name="Group 579"/>
            <p:cNvGrpSpPr/>
            <p:nvPr/>
          </p:nvGrpSpPr>
          <p:grpSpPr>
            <a:xfrm>
              <a:off x="3550200" y="1895727"/>
              <a:ext cx="905204" cy="848233"/>
              <a:chOff x="2002588" y="2187575"/>
              <a:chExt cx="905204" cy="848233"/>
            </a:xfrm>
          </p:grpSpPr>
          <p:sp>
            <p:nvSpPr>
              <p:cNvPr id="581" name="Freeform: Shape 315">
                <a:extLst/>
              </p:cNvPr>
              <p:cNvSpPr/>
              <p:nvPr/>
            </p:nvSpPr>
            <p:spPr bwMode="auto">
              <a:xfrm>
                <a:off x="2183721" y="2187575"/>
                <a:ext cx="418021" cy="418078"/>
              </a:xfrm>
              <a:custGeom>
                <a:avLst/>
                <a:gdLst>
                  <a:gd name="connsiteX0" fmla="*/ 87613 w 1632856"/>
                  <a:gd name="connsiteY0" fmla="*/ 887143 h 1633083"/>
                  <a:gd name="connsiteX1" fmla="*/ 980815 w 1632856"/>
                  <a:gd name="connsiteY1" fmla="*/ 887143 h 1633083"/>
                  <a:gd name="connsiteX2" fmla="*/ 980815 w 1632856"/>
                  <a:gd name="connsiteY2" fmla="*/ 1545395 h 1633083"/>
                  <a:gd name="connsiteX3" fmla="*/ 87613 w 1632856"/>
                  <a:gd name="connsiteY3" fmla="*/ 1545395 h 1633083"/>
                  <a:gd name="connsiteX4" fmla="*/ 0 w 1632856"/>
                  <a:gd name="connsiteY4" fmla="*/ 0 h 1633083"/>
                  <a:gd name="connsiteX5" fmla="*/ 1632856 w 1632856"/>
                  <a:gd name="connsiteY5" fmla="*/ 0 h 1633083"/>
                  <a:gd name="connsiteX6" fmla="*/ 1632856 w 1632856"/>
                  <a:gd name="connsiteY6" fmla="*/ 1633083 h 1633083"/>
                  <a:gd name="connsiteX7" fmla="*/ 1068428 w 1632856"/>
                  <a:gd name="connsiteY7" fmla="*/ 1633083 h 1633083"/>
                  <a:gd name="connsiteX8" fmla="*/ 1068428 w 1632856"/>
                  <a:gd name="connsiteY8" fmla="*/ 564506 h 1633083"/>
                  <a:gd name="connsiteX9" fmla="*/ 0 w 1632856"/>
                  <a:gd name="connsiteY9" fmla="*/ 564506 h 163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32856" h="1633083">
                    <a:moveTo>
                      <a:pt x="87613" y="887143"/>
                    </a:moveTo>
                    <a:lnTo>
                      <a:pt x="980815" y="887143"/>
                    </a:lnTo>
                    <a:lnTo>
                      <a:pt x="980815" y="1545395"/>
                    </a:lnTo>
                    <a:lnTo>
                      <a:pt x="87613" y="1545395"/>
                    </a:lnTo>
                    <a:close/>
                    <a:moveTo>
                      <a:pt x="0" y="0"/>
                    </a:moveTo>
                    <a:lnTo>
                      <a:pt x="1632856" y="0"/>
                    </a:lnTo>
                    <a:lnTo>
                      <a:pt x="1632856" y="1633083"/>
                    </a:lnTo>
                    <a:lnTo>
                      <a:pt x="1068428" y="1633083"/>
                    </a:lnTo>
                    <a:lnTo>
                      <a:pt x="1068428" y="564506"/>
                    </a:lnTo>
                    <a:lnTo>
                      <a:pt x="0" y="564506"/>
                    </a:lnTo>
                    <a:close/>
                  </a:path>
                </a:pathLst>
              </a:custGeom>
              <a:noFill/>
              <a:ln w="9525" cap="flat" cmpd="sng" algn="ctr">
                <a:solidFill>
                  <a:srgbClr val="FFFFFF"/>
                </a:solidFill>
                <a:prstDash val="dash"/>
                <a:headEnd type="none" w="med" len="med"/>
                <a:tailEnd type="none" w="med" len="med"/>
              </a:ln>
              <a:effectLst/>
            </p:spPr>
            <p:txBody>
              <a:bodyPr lIns="186521" tIns="149217" rIns="186521" bIns="149217"/>
              <a:lstStyle/>
              <a:p>
                <a:pPr algn="ctr" defTabSz="951028">
                  <a:defRPr/>
                </a:pPr>
                <a:endParaRPr lang="en-US" sz="2448" kern="0">
                  <a:solidFill>
                    <a:srgbClr val="FFFFFF"/>
                  </a:solidFill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82" name="Freeform: Shape 316">
                <a:extLst/>
              </p:cNvPr>
              <p:cNvSpPr/>
              <p:nvPr/>
            </p:nvSpPr>
            <p:spPr bwMode="auto">
              <a:xfrm>
                <a:off x="2183721" y="2204033"/>
                <a:ext cx="397804" cy="401620"/>
              </a:xfrm>
              <a:custGeom>
                <a:avLst/>
                <a:gdLst>
                  <a:gd name="connsiteX0" fmla="*/ 87613 w 1553886"/>
                  <a:gd name="connsiteY0" fmla="*/ 822854 h 1568794"/>
                  <a:gd name="connsiteX1" fmla="*/ 87613 w 1553886"/>
                  <a:gd name="connsiteY1" fmla="*/ 1481106 h 1568794"/>
                  <a:gd name="connsiteX2" fmla="*/ 980815 w 1553886"/>
                  <a:gd name="connsiteY2" fmla="*/ 1481106 h 1568794"/>
                  <a:gd name="connsiteX3" fmla="*/ 980815 w 1553886"/>
                  <a:gd name="connsiteY3" fmla="*/ 822854 h 1568794"/>
                  <a:gd name="connsiteX4" fmla="*/ 1553530 w 1553886"/>
                  <a:gd name="connsiteY4" fmla="*/ 0 h 1568794"/>
                  <a:gd name="connsiteX5" fmla="*/ 1553886 w 1553886"/>
                  <a:gd name="connsiteY5" fmla="*/ 128934 h 1568794"/>
                  <a:gd name="connsiteX6" fmla="*/ 1521563 w 1553886"/>
                  <a:gd name="connsiteY6" fmla="*/ 96789 h 1568794"/>
                  <a:gd name="connsiteX7" fmla="*/ 1068428 w 1553886"/>
                  <a:gd name="connsiteY7" fmla="*/ 552433 h 1568794"/>
                  <a:gd name="connsiteX8" fmla="*/ 1068428 w 1553886"/>
                  <a:gd name="connsiteY8" fmla="*/ 1568794 h 1568794"/>
                  <a:gd name="connsiteX9" fmla="*/ 0 w 1553886"/>
                  <a:gd name="connsiteY9" fmla="*/ 1568794 h 1568794"/>
                  <a:gd name="connsiteX10" fmla="*/ 0 w 1553886"/>
                  <a:gd name="connsiteY10" fmla="*/ 500217 h 1568794"/>
                  <a:gd name="connsiteX11" fmla="*/ 991776 w 1553886"/>
                  <a:gd name="connsiteY11" fmla="*/ 500217 h 1568794"/>
                  <a:gd name="connsiteX12" fmla="*/ 1456918 w 1553886"/>
                  <a:gd name="connsiteY12" fmla="*/ 32500 h 1568794"/>
                  <a:gd name="connsiteX13" fmla="*/ 1424596 w 1553886"/>
                  <a:gd name="connsiteY13" fmla="*/ 355 h 15687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553886" h="1568794">
                    <a:moveTo>
                      <a:pt x="87613" y="822854"/>
                    </a:moveTo>
                    <a:lnTo>
                      <a:pt x="87613" y="1481106"/>
                    </a:lnTo>
                    <a:lnTo>
                      <a:pt x="980815" y="1481106"/>
                    </a:lnTo>
                    <a:lnTo>
                      <a:pt x="980815" y="822854"/>
                    </a:lnTo>
                    <a:close/>
                    <a:moveTo>
                      <a:pt x="1553530" y="0"/>
                    </a:moveTo>
                    <a:lnTo>
                      <a:pt x="1553886" y="128934"/>
                    </a:lnTo>
                    <a:lnTo>
                      <a:pt x="1521563" y="96789"/>
                    </a:lnTo>
                    <a:lnTo>
                      <a:pt x="1068428" y="552433"/>
                    </a:lnTo>
                    <a:lnTo>
                      <a:pt x="1068428" y="1568794"/>
                    </a:lnTo>
                    <a:lnTo>
                      <a:pt x="0" y="1568794"/>
                    </a:lnTo>
                    <a:lnTo>
                      <a:pt x="0" y="500217"/>
                    </a:lnTo>
                    <a:lnTo>
                      <a:pt x="991776" y="500217"/>
                    </a:lnTo>
                    <a:lnTo>
                      <a:pt x="1456918" y="32500"/>
                    </a:lnTo>
                    <a:lnTo>
                      <a:pt x="1424596" y="355"/>
                    </a:lnTo>
                    <a:close/>
                  </a:path>
                </a:pathLst>
              </a:custGeom>
              <a:noFill/>
              <a:ln w="9525" cap="flat" cmpd="sng" algn="ctr">
                <a:solidFill>
                  <a:srgbClr val="FFFFFF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lIns="186521" tIns="149217" rIns="186521" bIns="149217"/>
              <a:lstStyle/>
              <a:p>
                <a:pPr algn="ctr" defTabSz="951028">
                  <a:defRPr/>
                </a:pPr>
                <a:endParaRPr lang="en-US" sz="2448" kern="0">
                  <a:solidFill>
                    <a:srgbClr val="FFFFFF"/>
                  </a:solidFill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83" name="TextBox 18"/>
              <p:cNvSpPr txBox="1">
                <a:spLocks noChangeArrowheads="1"/>
              </p:cNvSpPr>
              <p:nvPr/>
            </p:nvSpPr>
            <p:spPr bwMode="auto">
              <a:xfrm>
                <a:off x="2002588" y="2699624"/>
                <a:ext cx="905204" cy="336184"/>
              </a:xfrm>
              <a:prstGeom prst="rect">
                <a:avLst/>
              </a:prstGeom>
              <a:noFill/>
              <a:ln w="3175">
                <a:noFill/>
                <a:prstDash val="sysDot"/>
                <a:miter lim="800000"/>
                <a:headEnd/>
                <a:tailEnd type="oval" w="lg" len="lg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124347" tIns="62174" rIns="124347" bIns="62174" anchor="ctr"/>
              <a:lstStyle>
                <a:lvl1pPr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egoe UI" panose="020B0502040204020203" pitchFamily="34" charset="0"/>
                  </a:defRPr>
                </a:lvl9pPr>
              </a:lstStyle>
              <a:p>
                <a:pPr algn="ctr" defTabSz="932597">
                  <a:defRPr/>
                </a:pPr>
                <a:r>
                  <a:rPr lang="en-US" altLang="en-US" sz="1224" kern="0">
                    <a:solidFill>
                      <a:srgbClr val="FFFFFF"/>
                    </a:solidFill>
                    <a:latin typeface="Segoe UI"/>
                    <a:cs typeface="Segoe UI" panose="020B0502040204020203" pitchFamily="34" charset="0"/>
                  </a:rPr>
                  <a:t>Perimeter</a:t>
                </a:r>
                <a:br>
                  <a:rPr lang="en-US" altLang="en-US" sz="1224" kern="0">
                    <a:solidFill>
                      <a:srgbClr val="FFFFFF"/>
                    </a:solidFill>
                    <a:latin typeface="Segoe UI"/>
                    <a:cs typeface="Segoe UI" panose="020B0502040204020203" pitchFamily="34" charset="0"/>
                  </a:rPr>
                </a:br>
                <a:r>
                  <a:rPr lang="en-US" altLang="en-US" sz="1224" kern="0">
                    <a:solidFill>
                      <a:srgbClr val="FFFFFF"/>
                    </a:solidFill>
                    <a:latin typeface="Segoe UI"/>
                    <a:cs typeface="Segoe UI" panose="020B0502040204020203" pitchFamily="34" charset="0"/>
                  </a:rPr>
                  <a:t>fencing</a:t>
                </a:r>
              </a:p>
            </p:txBody>
          </p:sp>
        </p:grpSp>
      </p:grpSp>
      <p:grpSp>
        <p:nvGrpSpPr>
          <p:cNvPr id="593" name="Group 592"/>
          <p:cNvGrpSpPr/>
          <p:nvPr/>
        </p:nvGrpSpPr>
        <p:grpSpPr>
          <a:xfrm>
            <a:off x="6446513" y="1662363"/>
            <a:ext cx="3180652" cy="2911713"/>
            <a:chOff x="6495581" y="1615764"/>
            <a:chExt cx="3118569" cy="2854880"/>
          </a:xfrm>
        </p:grpSpPr>
        <p:sp>
          <p:nvSpPr>
            <p:cNvPr id="594" name="Rectangle 593"/>
            <p:cNvSpPr/>
            <p:nvPr/>
          </p:nvSpPr>
          <p:spPr>
            <a:xfrm>
              <a:off x="6790417" y="4078399"/>
              <a:ext cx="1318617" cy="392245"/>
            </a:xfrm>
            <a:prstGeom prst="rect">
              <a:avLst/>
            </a:prstGeom>
            <a:noFill/>
          </p:spPr>
          <p:txBody>
            <a:bodyPr wrap="square" anchor="ctr">
              <a:noAutofit/>
            </a:bodyPr>
            <a:lstStyle/>
            <a:p>
              <a:pPr algn="ctr" defTabSz="93229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IN" sz="1836" kern="0">
                  <a:solidFill>
                    <a:srgbClr val="FFFFFF"/>
                  </a:soli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rPr>
                <a:t>BUILDING</a:t>
              </a:r>
            </a:p>
          </p:txBody>
        </p:sp>
        <p:grpSp>
          <p:nvGrpSpPr>
            <p:cNvPr id="595" name="Group 594"/>
            <p:cNvGrpSpPr/>
            <p:nvPr/>
          </p:nvGrpSpPr>
          <p:grpSpPr>
            <a:xfrm>
              <a:off x="7508798" y="1615764"/>
              <a:ext cx="1532110" cy="982600"/>
              <a:chOff x="6339415" y="3483005"/>
              <a:chExt cx="1532110" cy="982600"/>
            </a:xfrm>
            <a:solidFill>
              <a:srgbClr val="FFFFFF"/>
            </a:solidFill>
          </p:grpSpPr>
          <p:sp>
            <p:nvSpPr>
              <p:cNvPr id="807" name="Rectangle 806"/>
              <p:cNvSpPr/>
              <p:nvPr/>
            </p:nvSpPr>
            <p:spPr>
              <a:xfrm>
                <a:off x="6339415" y="4003940"/>
                <a:ext cx="1532110" cy="461665"/>
              </a:xfrm>
              <a:prstGeom prst="rect">
                <a:avLst/>
              </a:prstGeom>
              <a:noFill/>
              <a:ln w="3175">
                <a:noFill/>
                <a:prstDash val="sysDot"/>
                <a:miter lim="800000"/>
                <a:headEnd/>
                <a:tailEnd type="oval" w="lg" len="lg"/>
              </a:ln>
              <a:extLst/>
            </p:spPr>
            <p:txBody>
              <a:bodyPr wrap="square" lIns="46630" tIns="46630" rIns="46630" bIns="46630" anchor="ctr">
                <a:noAutofit/>
              </a:bodyPr>
              <a:lstStyle/>
              <a:p>
                <a:pPr algn="ctr" defTabSz="932597">
                  <a:defRPr/>
                </a:pPr>
                <a:r>
                  <a:rPr lang="en-US" sz="1224" kern="0">
                    <a:solidFill>
                      <a:srgbClr val="FFFFFF"/>
                    </a:solidFill>
                    <a:latin typeface="Segoe UI"/>
                    <a:cs typeface="Segoe UI" panose="020B0502040204020203" pitchFamily="34" charset="0"/>
                  </a:rPr>
                  <a:t>Two-factor authentication with biometrics</a:t>
                </a:r>
              </a:p>
            </p:txBody>
          </p:sp>
          <p:sp>
            <p:nvSpPr>
              <p:cNvPr id="808" name="Freeform 164"/>
              <p:cNvSpPr>
                <a:spLocks noEditPoints="1"/>
              </p:cNvSpPr>
              <p:nvPr/>
            </p:nvSpPr>
            <p:spPr bwMode="black">
              <a:xfrm>
                <a:off x="6961154" y="3483005"/>
                <a:ext cx="324259" cy="403181"/>
              </a:xfrm>
              <a:custGeom>
                <a:avLst/>
                <a:gdLst>
                  <a:gd name="T0" fmla="*/ 346370 w 288"/>
                  <a:gd name="T1" fmla="*/ 585015 h 399"/>
                  <a:gd name="T2" fmla="*/ 304053 w 288"/>
                  <a:gd name="T3" fmla="*/ 548941 h 399"/>
                  <a:gd name="T4" fmla="*/ 214718 w 288"/>
                  <a:gd name="T5" fmla="*/ 235261 h 399"/>
                  <a:gd name="T6" fmla="*/ 258602 w 288"/>
                  <a:gd name="T7" fmla="*/ 624225 h 399"/>
                  <a:gd name="T8" fmla="*/ 147325 w 288"/>
                  <a:gd name="T9" fmla="*/ 509731 h 399"/>
                  <a:gd name="T10" fmla="*/ 300919 w 288"/>
                  <a:gd name="T11" fmla="*/ 421901 h 399"/>
                  <a:gd name="T12" fmla="*/ 349504 w 288"/>
                  <a:gd name="T13" fmla="*/ 581878 h 399"/>
                  <a:gd name="T14" fmla="*/ 211583 w 288"/>
                  <a:gd name="T15" fmla="*/ 266629 h 399"/>
                  <a:gd name="T16" fmla="*/ 280544 w 288"/>
                  <a:gd name="T17" fmla="*/ 619519 h 399"/>
                  <a:gd name="T18" fmla="*/ 211583 w 288"/>
                  <a:gd name="T19" fmla="*/ 508163 h 399"/>
                  <a:gd name="T20" fmla="*/ 241362 w 288"/>
                  <a:gd name="T21" fmla="*/ 483068 h 399"/>
                  <a:gd name="T22" fmla="*/ 325995 w 288"/>
                  <a:gd name="T23" fmla="*/ 599130 h 399"/>
                  <a:gd name="T24" fmla="*/ 133219 w 288"/>
                  <a:gd name="T25" fmla="*/ 595993 h 399"/>
                  <a:gd name="T26" fmla="*/ 224122 w 288"/>
                  <a:gd name="T27" fmla="*/ 128609 h 399"/>
                  <a:gd name="T28" fmla="*/ 357341 w 288"/>
                  <a:gd name="T29" fmla="*/ 451700 h 399"/>
                  <a:gd name="T30" fmla="*/ 396523 w 288"/>
                  <a:gd name="T31" fmla="*/ 533257 h 399"/>
                  <a:gd name="T32" fmla="*/ 387119 w 288"/>
                  <a:gd name="T33" fmla="*/ 365438 h 399"/>
                  <a:gd name="T34" fmla="*/ 31346 w 288"/>
                  <a:gd name="T35" fmla="*/ 412490 h 399"/>
                  <a:gd name="T36" fmla="*/ 133219 w 288"/>
                  <a:gd name="T37" fmla="*/ 595993 h 399"/>
                  <a:gd name="T38" fmla="*/ 343235 w 288"/>
                  <a:gd name="T39" fmla="*/ 379554 h 399"/>
                  <a:gd name="T40" fmla="*/ 87768 w 288"/>
                  <a:gd name="T41" fmla="*/ 478363 h 399"/>
                  <a:gd name="T42" fmla="*/ 202180 w 288"/>
                  <a:gd name="T43" fmla="*/ 622656 h 399"/>
                  <a:gd name="T44" fmla="*/ 214718 w 288"/>
                  <a:gd name="T45" fmla="*/ 180366 h 399"/>
                  <a:gd name="T46" fmla="*/ 329130 w 288"/>
                  <a:gd name="T47" fmla="*/ 523847 h 399"/>
                  <a:gd name="T48" fmla="*/ 374581 w 288"/>
                  <a:gd name="T49" fmla="*/ 559920 h 399"/>
                  <a:gd name="T50" fmla="*/ 0 w 288"/>
                  <a:gd name="T51" fmla="*/ 316818 h 399"/>
                  <a:gd name="T52" fmla="*/ 225689 w 288"/>
                  <a:gd name="T53" fmla="*/ 79989 h 399"/>
                  <a:gd name="T54" fmla="*/ 394956 w 288"/>
                  <a:gd name="T55" fmla="*/ 467384 h 399"/>
                  <a:gd name="T56" fmla="*/ 416898 w 288"/>
                  <a:gd name="T57" fmla="*/ 501889 h 399"/>
                  <a:gd name="T58" fmla="*/ 434138 w 288"/>
                  <a:gd name="T59" fmla="*/ 346617 h 399"/>
                  <a:gd name="T60" fmla="*/ 4702 w 288"/>
                  <a:gd name="T61" fmla="*/ 254081 h 399"/>
                  <a:gd name="T62" fmla="*/ 0 w 288"/>
                  <a:gd name="T63" fmla="*/ 316818 h 399"/>
                  <a:gd name="T64" fmla="*/ 227256 w 288"/>
                  <a:gd name="T65" fmla="*/ 0 h 399"/>
                  <a:gd name="T66" fmla="*/ 225689 w 288"/>
                  <a:gd name="T67" fmla="*/ 28231 h 399"/>
                  <a:gd name="T68" fmla="*/ 222554 w 288"/>
                  <a:gd name="T69" fmla="*/ 483068 h 399"/>
                  <a:gd name="T70" fmla="*/ 214718 w 288"/>
                  <a:gd name="T71" fmla="*/ 315249 h 399"/>
                  <a:gd name="T72" fmla="*/ 203747 w 288"/>
                  <a:gd name="T73" fmla="*/ 326228 h 399"/>
                  <a:gd name="T74" fmla="*/ 222554 w 288"/>
                  <a:gd name="T75" fmla="*/ 483068 h 399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288" h="399">
                    <a:moveTo>
                      <a:pt x="223" y="371"/>
                    </a:moveTo>
                    <a:cubicBezTo>
                      <a:pt x="221" y="373"/>
                      <a:pt x="221" y="373"/>
                      <a:pt x="221" y="373"/>
                    </a:cubicBezTo>
                    <a:cubicBezTo>
                      <a:pt x="220" y="374"/>
                      <a:pt x="218" y="375"/>
                      <a:pt x="217" y="376"/>
                    </a:cubicBezTo>
                    <a:cubicBezTo>
                      <a:pt x="215" y="374"/>
                      <a:pt x="205" y="366"/>
                      <a:pt x="194" y="350"/>
                    </a:cubicBezTo>
                    <a:cubicBezTo>
                      <a:pt x="181" y="332"/>
                      <a:pt x="177" y="299"/>
                      <a:pt x="180" y="268"/>
                    </a:cubicBezTo>
                    <a:cubicBezTo>
                      <a:pt x="186" y="212"/>
                      <a:pt x="180" y="148"/>
                      <a:pt x="137" y="150"/>
                    </a:cubicBezTo>
                    <a:cubicBezTo>
                      <a:pt x="90" y="152"/>
                      <a:pt x="69" y="245"/>
                      <a:pt x="106" y="319"/>
                    </a:cubicBezTo>
                    <a:cubicBezTo>
                      <a:pt x="125" y="357"/>
                      <a:pt x="150" y="384"/>
                      <a:pt x="165" y="398"/>
                    </a:cubicBezTo>
                    <a:cubicBezTo>
                      <a:pt x="161" y="398"/>
                      <a:pt x="157" y="399"/>
                      <a:pt x="153" y="399"/>
                    </a:cubicBezTo>
                    <a:cubicBezTo>
                      <a:pt x="137" y="384"/>
                      <a:pt x="115" y="364"/>
                      <a:pt x="94" y="325"/>
                    </a:cubicBezTo>
                    <a:cubicBezTo>
                      <a:pt x="46" y="236"/>
                      <a:pt x="82" y="134"/>
                      <a:pt x="137" y="134"/>
                    </a:cubicBezTo>
                    <a:cubicBezTo>
                      <a:pt x="195" y="134"/>
                      <a:pt x="201" y="201"/>
                      <a:pt x="192" y="269"/>
                    </a:cubicBezTo>
                    <a:cubicBezTo>
                      <a:pt x="188" y="301"/>
                      <a:pt x="191" y="329"/>
                      <a:pt x="202" y="346"/>
                    </a:cubicBezTo>
                    <a:cubicBezTo>
                      <a:pt x="213" y="363"/>
                      <a:pt x="224" y="370"/>
                      <a:pt x="223" y="371"/>
                    </a:cubicBezTo>
                    <a:close/>
                    <a:moveTo>
                      <a:pt x="166" y="306"/>
                    </a:moveTo>
                    <a:cubicBezTo>
                      <a:pt x="163" y="275"/>
                      <a:pt x="185" y="172"/>
                      <a:pt x="135" y="170"/>
                    </a:cubicBezTo>
                    <a:cubicBezTo>
                      <a:pt x="104" y="169"/>
                      <a:pt x="77" y="248"/>
                      <a:pt x="125" y="329"/>
                    </a:cubicBezTo>
                    <a:cubicBezTo>
                      <a:pt x="143" y="361"/>
                      <a:pt x="166" y="383"/>
                      <a:pt x="179" y="395"/>
                    </a:cubicBezTo>
                    <a:cubicBezTo>
                      <a:pt x="182" y="394"/>
                      <a:pt x="185" y="393"/>
                      <a:pt x="188" y="392"/>
                    </a:cubicBezTo>
                    <a:cubicBezTo>
                      <a:pt x="177" y="381"/>
                      <a:pt x="153" y="358"/>
                      <a:pt x="135" y="324"/>
                    </a:cubicBezTo>
                    <a:cubicBezTo>
                      <a:pt x="101" y="266"/>
                      <a:pt x="110" y="186"/>
                      <a:pt x="135" y="186"/>
                    </a:cubicBezTo>
                    <a:cubicBezTo>
                      <a:pt x="168" y="186"/>
                      <a:pt x="149" y="268"/>
                      <a:pt x="154" y="308"/>
                    </a:cubicBezTo>
                    <a:cubicBezTo>
                      <a:pt x="160" y="352"/>
                      <a:pt x="187" y="377"/>
                      <a:pt x="200" y="386"/>
                    </a:cubicBezTo>
                    <a:cubicBezTo>
                      <a:pt x="203" y="385"/>
                      <a:pt x="205" y="384"/>
                      <a:pt x="208" y="382"/>
                    </a:cubicBezTo>
                    <a:cubicBezTo>
                      <a:pt x="199" y="375"/>
                      <a:pt x="170" y="350"/>
                      <a:pt x="166" y="306"/>
                    </a:cubicBezTo>
                    <a:close/>
                    <a:moveTo>
                      <a:pt x="85" y="380"/>
                    </a:moveTo>
                    <a:cubicBezTo>
                      <a:pt x="65" y="357"/>
                      <a:pt x="36" y="313"/>
                      <a:pt x="31" y="261"/>
                    </a:cubicBezTo>
                    <a:cubicBezTo>
                      <a:pt x="25" y="164"/>
                      <a:pt x="66" y="82"/>
                      <a:pt x="143" y="82"/>
                    </a:cubicBezTo>
                    <a:cubicBezTo>
                      <a:pt x="213" y="82"/>
                      <a:pt x="241" y="157"/>
                      <a:pt x="235" y="231"/>
                    </a:cubicBezTo>
                    <a:cubicBezTo>
                      <a:pt x="234" y="251"/>
                      <a:pt x="228" y="269"/>
                      <a:pt x="228" y="288"/>
                    </a:cubicBezTo>
                    <a:cubicBezTo>
                      <a:pt x="227" y="320"/>
                      <a:pt x="236" y="334"/>
                      <a:pt x="248" y="347"/>
                    </a:cubicBezTo>
                    <a:cubicBezTo>
                      <a:pt x="250" y="345"/>
                      <a:pt x="251" y="343"/>
                      <a:pt x="253" y="340"/>
                    </a:cubicBezTo>
                    <a:cubicBezTo>
                      <a:pt x="246" y="330"/>
                      <a:pt x="237" y="313"/>
                      <a:pt x="238" y="289"/>
                    </a:cubicBezTo>
                    <a:cubicBezTo>
                      <a:pt x="239" y="273"/>
                      <a:pt x="243" y="254"/>
                      <a:pt x="247" y="233"/>
                    </a:cubicBezTo>
                    <a:cubicBezTo>
                      <a:pt x="257" y="169"/>
                      <a:pt x="233" y="66"/>
                      <a:pt x="143" y="65"/>
                    </a:cubicBezTo>
                    <a:cubicBezTo>
                      <a:pt x="77" y="64"/>
                      <a:pt x="7" y="129"/>
                      <a:pt x="20" y="263"/>
                    </a:cubicBezTo>
                    <a:cubicBezTo>
                      <a:pt x="24" y="299"/>
                      <a:pt x="39" y="330"/>
                      <a:pt x="54" y="354"/>
                    </a:cubicBezTo>
                    <a:cubicBezTo>
                      <a:pt x="64" y="365"/>
                      <a:pt x="74" y="373"/>
                      <a:pt x="85" y="380"/>
                    </a:cubicBezTo>
                    <a:close/>
                    <a:moveTo>
                      <a:pt x="219" y="331"/>
                    </a:moveTo>
                    <a:cubicBezTo>
                      <a:pt x="211" y="309"/>
                      <a:pt x="212" y="277"/>
                      <a:pt x="219" y="242"/>
                    </a:cubicBezTo>
                    <a:cubicBezTo>
                      <a:pt x="228" y="183"/>
                      <a:pt x="216" y="99"/>
                      <a:pt x="137" y="99"/>
                    </a:cubicBezTo>
                    <a:cubicBezTo>
                      <a:pt x="73" y="99"/>
                      <a:pt x="16" y="198"/>
                      <a:pt x="56" y="305"/>
                    </a:cubicBezTo>
                    <a:cubicBezTo>
                      <a:pt x="72" y="346"/>
                      <a:pt x="96" y="376"/>
                      <a:pt x="113" y="393"/>
                    </a:cubicBezTo>
                    <a:cubicBezTo>
                      <a:pt x="118" y="395"/>
                      <a:pt x="123" y="396"/>
                      <a:pt x="129" y="397"/>
                    </a:cubicBezTo>
                    <a:cubicBezTo>
                      <a:pt x="113" y="382"/>
                      <a:pt x="84" y="348"/>
                      <a:pt x="67" y="300"/>
                    </a:cubicBezTo>
                    <a:cubicBezTo>
                      <a:pt x="37" y="213"/>
                      <a:pt x="79" y="116"/>
                      <a:pt x="137" y="115"/>
                    </a:cubicBezTo>
                    <a:cubicBezTo>
                      <a:pt x="189" y="114"/>
                      <a:pt x="216" y="168"/>
                      <a:pt x="208" y="239"/>
                    </a:cubicBezTo>
                    <a:cubicBezTo>
                      <a:pt x="201" y="274"/>
                      <a:pt x="200" y="310"/>
                      <a:pt x="210" y="334"/>
                    </a:cubicBezTo>
                    <a:cubicBezTo>
                      <a:pt x="217" y="351"/>
                      <a:pt x="228" y="359"/>
                      <a:pt x="233" y="363"/>
                    </a:cubicBezTo>
                    <a:cubicBezTo>
                      <a:pt x="235" y="361"/>
                      <a:pt x="237" y="359"/>
                      <a:pt x="239" y="357"/>
                    </a:cubicBezTo>
                    <a:cubicBezTo>
                      <a:pt x="235" y="354"/>
                      <a:pt x="225" y="347"/>
                      <a:pt x="219" y="331"/>
                    </a:cubicBezTo>
                    <a:close/>
                    <a:moveTo>
                      <a:pt x="0" y="202"/>
                    </a:moveTo>
                    <a:cubicBezTo>
                      <a:pt x="0" y="217"/>
                      <a:pt x="1" y="231"/>
                      <a:pt x="4" y="245"/>
                    </a:cubicBezTo>
                    <a:cubicBezTo>
                      <a:pt x="6" y="146"/>
                      <a:pt x="40" y="49"/>
                      <a:pt x="144" y="51"/>
                    </a:cubicBezTo>
                    <a:cubicBezTo>
                      <a:pt x="230" y="51"/>
                      <a:pt x="271" y="143"/>
                      <a:pt x="262" y="219"/>
                    </a:cubicBezTo>
                    <a:cubicBezTo>
                      <a:pt x="259" y="248"/>
                      <a:pt x="252" y="276"/>
                      <a:pt x="252" y="298"/>
                    </a:cubicBezTo>
                    <a:cubicBezTo>
                      <a:pt x="252" y="315"/>
                      <a:pt x="258" y="326"/>
                      <a:pt x="260" y="330"/>
                    </a:cubicBezTo>
                    <a:cubicBezTo>
                      <a:pt x="262" y="327"/>
                      <a:pt x="264" y="323"/>
                      <a:pt x="266" y="320"/>
                    </a:cubicBezTo>
                    <a:cubicBezTo>
                      <a:pt x="263" y="314"/>
                      <a:pt x="261" y="308"/>
                      <a:pt x="262" y="298"/>
                    </a:cubicBezTo>
                    <a:cubicBezTo>
                      <a:pt x="262" y="279"/>
                      <a:pt x="272" y="252"/>
                      <a:pt x="277" y="221"/>
                    </a:cubicBezTo>
                    <a:cubicBezTo>
                      <a:pt x="288" y="144"/>
                      <a:pt x="247" y="31"/>
                      <a:pt x="144" y="31"/>
                    </a:cubicBezTo>
                    <a:cubicBezTo>
                      <a:pt x="62" y="32"/>
                      <a:pt x="18" y="92"/>
                      <a:pt x="3" y="162"/>
                    </a:cubicBezTo>
                    <a:cubicBezTo>
                      <a:pt x="1" y="175"/>
                      <a:pt x="0" y="188"/>
                      <a:pt x="0" y="201"/>
                    </a:cubicBezTo>
                    <a:cubicBezTo>
                      <a:pt x="0" y="201"/>
                      <a:pt x="0" y="202"/>
                      <a:pt x="0" y="202"/>
                    </a:cubicBezTo>
                    <a:close/>
                    <a:moveTo>
                      <a:pt x="262" y="75"/>
                    </a:moveTo>
                    <a:cubicBezTo>
                      <a:pt x="244" y="44"/>
                      <a:pt x="206" y="0"/>
                      <a:pt x="145" y="0"/>
                    </a:cubicBezTo>
                    <a:cubicBezTo>
                      <a:pt x="108" y="0"/>
                      <a:pt x="80" y="18"/>
                      <a:pt x="58" y="40"/>
                    </a:cubicBezTo>
                    <a:cubicBezTo>
                      <a:pt x="60" y="39"/>
                      <a:pt x="91" y="18"/>
                      <a:pt x="144" y="18"/>
                    </a:cubicBezTo>
                    <a:cubicBezTo>
                      <a:pt x="220" y="18"/>
                      <a:pt x="262" y="75"/>
                      <a:pt x="262" y="75"/>
                    </a:cubicBezTo>
                    <a:close/>
                    <a:moveTo>
                      <a:pt x="142" y="308"/>
                    </a:moveTo>
                    <a:cubicBezTo>
                      <a:pt x="140" y="294"/>
                      <a:pt x="141" y="277"/>
                      <a:pt x="142" y="260"/>
                    </a:cubicBezTo>
                    <a:cubicBezTo>
                      <a:pt x="143" y="238"/>
                      <a:pt x="144" y="209"/>
                      <a:pt x="137" y="201"/>
                    </a:cubicBezTo>
                    <a:cubicBezTo>
                      <a:pt x="137" y="201"/>
                      <a:pt x="137" y="201"/>
                      <a:pt x="135" y="201"/>
                    </a:cubicBezTo>
                    <a:cubicBezTo>
                      <a:pt x="135" y="201"/>
                      <a:pt x="132" y="202"/>
                      <a:pt x="130" y="208"/>
                    </a:cubicBezTo>
                    <a:cubicBezTo>
                      <a:pt x="122" y="227"/>
                      <a:pt x="122" y="271"/>
                      <a:pt x="141" y="308"/>
                    </a:cubicBezTo>
                    <a:cubicBezTo>
                      <a:pt x="141" y="309"/>
                      <a:pt x="142" y="309"/>
                      <a:pt x="142" y="308"/>
                    </a:cubicBez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  <a:extLst/>
            </p:spPr>
            <p:txBody>
              <a:bodyPr lIns="83943" tIns="41972" rIns="83943" bIns="41972"/>
              <a:lstStyle/>
              <a:p>
                <a:pPr defTabSz="932597">
                  <a:defRPr/>
                </a:pPr>
                <a:endParaRPr lang="en-US" sz="1836" kern="0">
                  <a:solidFill>
                    <a:srgbClr val="FFFFFF"/>
                  </a:solidFill>
                  <a:latin typeface="Segoe UI Light"/>
                </a:endParaRPr>
              </a:p>
            </p:txBody>
          </p:sp>
        </p:grpSp>
        <p:grpSp>
          <p:nvGrpSpPr>
            <p:cNvPr id="596" name="Group 595"/>
            <p:cNvGrpSpPr/>
            <p:nvPr/>
          </p:nvGrpSpPr>
          <p:grpSpPr>
            <a:xfrm>
              <a:off x="6495581" y="2614461"/>
              <a:ext cx="1364752" cy="980225"/>
              <a:chOff x="7091200" y="2345504"/>
              <a:chExt cx="1364752" cy="980225"/>
            </a:xfrm>
            <a:noFill/>
          </p:grpSpPr>
          <p:sp>
            <p:nvSpPr>
              <p:cNvPr id="799" name="Rectangle 798"/>
              <p:cNvSpPr/>
              <p:nvPr/>
            </p:nvSpPr>
            <p:spPr>
              <a:xfrm>
                <a:off x="7091200" y="2864064"/>
                <a:ext cx="1364752" cy="461665"/>
              </a:xfrm>
              <a:prstGeom prst="rect">
                <a:avLst/>
              </a:prstGeom>
              <a:grpFill/>
              <a:ln w="3175">
                <a:noFill/>
                <a:prstDash val="sysDot"/>
                <a:miter lim="800000"/>
                <a:headEnd/>
                <a:tailEnd type="oval" w="lg" len="lg"/>
              </a:ln>
              <a:extLst/>
            </p:spPr>
            <p:txBody>
              <a:bodyPr wrap="square" lIns="46630" tIns="46630" rIns="46630" bIns="46630" anchor="ctr">
                <a:noAutofit/>
              </a:bodyPr>
              <a:lstStyle/>
              <a:p>
                <a:pPr algn="ctr" defTabSz="932597">
                  <a:defRPr/>
                </a:pPr>
                <a:r>
                  <a:rPr lang="en-US" sz="1224" kern="0">
                    <a:solidFill>
                      <a:srgbClr val="FFFFFF"/>
                    </a:solidFill>
                    <a:latin typeface="Segoe UI"/>
                    <a:cs typeface="Segoe UI" panose="020B0502040204020203" pitchFamily="34" charset="0"/>
                  </a:rPr>
                  <a:t>24x7x365</a:t>
                </a:r>
                <a:br>
                  <a:rPr lang="en-US" sz="1224" kern="0">
                    <a:solidFill>
                      <a:srgbClr val="FFFFFF"/>
                    </a:solidFill>
                    <a:latin typeface="Segoe UI"/>
                    <a:cs typeface="Segoe UI" panose="020B0502040204020203" pitchFamily="34" charset="0"/>
                  </a:rPr>
                </a:br>
                <a:r>
                  <a:rPr lang="en-US" sz="1224" kern="0">
                    <a:solidFill>
                      <a:srgbClr val="FFFFFF"/>
                    </a:solidFill>
                    <a:latin typeface="Segoe UI"/>
                    <a:cs typeface="Segoe UI" panose="020B0502040204020203" pitchFamily="34" charset="0"/>
                  </a:rPr>
                  <a:t>security operations</a:t>
                </a:r>
              </a:p>
            </p:txBody>
          </p:sp>
          <p:grpSp>
            <p:nvGrpSpPr>
              <p:cNvPr id="800" name="Group 799"/>
              <p:cNvGrpSpPr/>
              <p:nvPr/>
            </p:nvGrpSpPr>
            <p:grpSpPr>
              <a:xfrm>
                <a:off x="7554120" y="2345504"/>
                <a:ext cx="438912" cy="441699"/>
                <a:chOff x="1000760" y="1482811"/>
                <a:chExt cx="2076072" cy="2076072"/>
              </a:xfrm>
              <a:grpFill/>
            </p:grpSpPr>
            <p:sp>
              <p:nvSpPr>
                <p:cNvPr id="801" name="Oval 800"/>
                <p:cNvSpPr/>
                <p:nvPr/>
              </p:nvSpPr>
              <p:spPr bwMode="auto">
                <a:xfrm>
                  <a:off x="1000760" y="1482811"/>
                  <a:ext cx="2076072" cy="2076072"/>
                </a:xfrm>
                <a:prstGeom prst="ellipse">
                  <a:avLst/>
                </a:prstGeom>
                <a:grpFill/>
                <a:ln w="9525" cap="flat" cmpd="sng" algn="ctr">
                  <a:solidFill>
                    <a:srgbClr val="FFFFFF"/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51028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2448" kern="0" err="1">
                    <a:solidFill>
                      <a:srgbClr val="FFFFFF"/>
                    </a:solidFill>
                    <a:latin typeface="Segoe UI 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802" name="Oval 801"/>
                <p:cNvSpPr/>
                <p:nvPr/>
              </p:nvSpPr>
              <p:spPr bwMode="auto">
                <a:xfrm>
                  <a:off x="1179109" y="1661160"/>
                  <a:ext cx="1719374" cy="1719374"/>
                </a:xfrm>
                <a:prstGeom prst="ellipse">
                  <a:avLst/>
                </a:prstGeom>
                <a:grpFill/>
                <a:ln w="9525" cap="flat" cmpd="sng" algn="ctr">
                  <a:solidFill>
                    <a:srgbClr val="FFFFFF"/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51028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2448" kern="0" err="1">
                    <a:solidFill>
                      <a:srgbClr val="FFFFFF"/>
                    </a:solidFill>
                    <a:latin typeface="Segoe UI 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803" name="Oval 802"/>
                <p:cNvSpPr/>
                <p:nvPr/>
              </p:nvSpPr>
              <p:spPr bwMode="auto">
                <a:xfrm>
                  <a:off x="2667000" y="2441283"/>
                  <a:ext cx="152400" cy="152400"/>
                </a:xfrm>
                <a:prstGeom prst="ellipse">
                  <a:avLst/>
                </a:prstGeom>
                <a:grpFill/>
                <a:ln w="9525" cap="flat" cmpd="sng" algn="ctr">
                  <a:solidFill>
                    <a:srgbClr val="FFFFFF"/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51028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2448" kern="0" err="1">
                    <a:solidFill>
                      <a:srgbClr val="FFFFFF"/>
                    </a:solidFill>
                    <a:latin typeface="Segoe UI 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804" name="Oval 803"/>
                <p:cNvSpPr/>
                <p:nvPr/>
              </p:nvSpPr>
              <p:spPr bwMode="auto">
                <a:xfrm>
                  <a:off x="1270000" y="2436203"/>
                  <a:ext cx="152400" cy="152400"/>
                </a:xfrm>
                <a:prstGeom prst="ellipse">
                  <a:avLst/>
                </a:prstGeom>
                <a:grpFill/>
                <a:ln w="9525" cap="flat" cmpd="sng" algn="ctr">
                  <a:solidFill>
                    <a:srgbClr val="FFFFFF"/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51028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2448" kern="0" err="1">
                    <a:solidFill>
                      <a:srgbClr val="FFFFFF"/>
                    </a:solidFill>
                    <a:latin typeface="Segoe UI 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805" name="Oval 804"/>
                <p:cNvSpPr/>
                <p:nvPr/>
              </p:nvSpPr>
              <p:spPr bwMode="auto">
                <a:xfrm>
                  <a:off x="1960880" y="3162643"/>
                  <a:ext cx="152400" cy="152400"/>
                </a:xfrm>
                <a:prstGeom prst="ellipse">
                  <a:avLst/>
                </a:prstGeom>
                <a:grpFill/>
                <a:ln w="9525" cap="flat" cmpd="sng" algn="ctr">
                  <a:solidFill>
                    <a:srgbClr val="FFFFFF"/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51028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2448" kern="0" err="1">
                    <a:solidFill>
                      <a:srgbClr val="FFFFFF"/>
                    </a:solidFill>
                    <a:latin typeface="Segoe UI 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806" name="Oval 805"/>
                <p:cNvSpPr/>
                <p:nvPr/>
              </p:nvSpPr>
              <p:spPr bwMode="auto">
                <a:xfrm>
                  <a:off x="1965960" y="1740243"/>
                  <a:ext cx="152400" cy="152400"/>
                </a:xfrm>
                <a:prstGeom prst="ellipse">
                  <a:avLst/>
                </a:prstGeom>
                <a:grpFill/>
                <a:ln w="9525" cap="flat" cmpd="sng" algn="ctr">
                  <a:solidFill>
                    <a:srgbClr val="FFFFFF"/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51028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2448" kern="0" err="1">
                    <a:solidFill>
                      <a:srgbClr val="FFFFFF"/>
                    </a:solidFill>
                    <a:latin typeface="Segoe UI Light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</p:grpSp>
        <p:grpSp>
          <p:nvGrpSpPr>
            <p:cNvPr id="597" name="Group 596"/>
            <p:cNvGrpSpPr/>
            <p:nvPr/>
          </p:nvGrpSpPr>
          <p:grpSpPr>
            <a:xfrm>
              <a:off x="8378193" y="2782400"/>
              <a:ext cx="1235957" cy="1036096"/>
              <a:chOff x="9161661" y="2271245"/>
              <a:chExt cx="1235957" cy="1036096"/>
            </a:xfrm>
          </p:grpSpPr>
          <p:sp>
            <p:nvSpPr>
              <p:cNvPr id="724" name="Rectangle 723"/>
              <p:cNvSpPr/>
              <p:nvPr/>
            </p:nvSpPr>
            <p:spPr>
              <a:xfrm>
                <a:off x="9161661" y="2845676"/>
                <a:ext cx="1235957" cy="461665"/>
              </a:xfrm>
              <a:prstGeom prst="rect">
                <a:avLst/>
              </a:prstGeom>
              <a:noFill/>
              <a:ln w="3175">
                <a:noFill/>
                <a:prstDash val="sysDot"/>
                <a:miter lim="800000"/>
                <a:headEnd/>
                <a:tailEnd type="oval" w="lg" len="lg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square" lIns="46630" tIns="46630" rIns="46630" bIns="46630" anchor="ctr">
                <a:noAutofit/>
              </a:bodyPr>
              <a:lstStyle/>
              <a:p>
                <a:pPr algn="ctr" defTabSz="932597">
                  <a:defRPr/>
                </a:pPr>
                <a:r>
                  <a:rPr lang="en-US" sz="1224" kern="0" dirty="0">
                    <a:solidFill>
                      <a:srgbClr val="FFFFFF"/>
                    </a:solidFill>
                    <a:latin typeface="Segoe UI"/>
                    <a:cs typeface="Segoe UI" panose="020B0502040204020203" pitchFamily="34" charset="0"/>
                  </a:rPr>
                  <a:t>Verified single-person entry</a:t>
                </a:r>
              </a:p>
            </p:txBody>
          </p:sp>
          <p:sp>
            <p:nvSpPr>
              <p:cNvPr id="798" name="Freeform: Shape 499"/>
              <p:cNvSpPr/>
              <p:nvPr/>
            </p:nvSpPr>
            <p:spPr bwMode="auto">
              <a:xfrm>
                <a:off x="9657597" y="2271245"/>
                <a:ext cx="217161" cy="534865"/>
              </a:xfrm>
              <a:custGeom>
                <a:avLst/>
                <a:gdLst>
                  <a:gd name="connsiteX0" fmla="*/ 341027 w 727774"/>
                  <a:gd name="connsiteY0" fmla="*/ 272730 h 1555223"/>
                  <a:gd name="connsiteX1" fmla="*/ 528670 w 727774"/>
                  <a:gd name="connsiteY1" fmla="*/ 293596 h 1555223"/>
                  <a:gd name="connsiteX2" fmla="*/ 528669 w 727774"/>
                  <a:gd name="connsiteY2" fmla="*/ 295029 h 1555223"/>
                  <a:gd name="connsiteX3" fmla="*/ 534517 w 727774"/>
                  <a:gd name="connsiteY3" fmla="*/ 294511 h 1555223"/>
                  <a:gd name="connsiteX4" fmla="*/ 586157 w 727774"/>
                  <a:gd name="connsiteY4" fmla="*/ 337807 h 1555223"/>
                  <a:gd name="connsiteX5" fmla="*/ 725253 w 727774"/>
                  <a:gd name="connsiteY5" fmla="*/ 807852 h 1555223"/>
                  <a:gd name="connsiteX6" fmla="*/ 684096 w 727774"/>
                  <a:gd name="connsiteY6" fmla="*/ 883604 h 1555223"/>
                  <a:gd name="connsiteX7" fmla="*/ 608345 w 727774"/>
                  <a:gd name="connsiteY7" fmla="*/ 842448 h 1555223"/>
                  <a:gd name="connsiteX8" fmla="*/ 528512 w 727774"/>
                  <a:gd name="connsiteY8" fmla="*/ 572670 h 1555223"/>
                  <a:gd name="connsiteX9" fmla="*/ 528511 w 727774"/>
                  <a:gd name="connsiteY9" fmla="*/ 1481246 h 1555223"/>
                  <a:gd name="connsiteX10" fmla="*/ 453049 w 727774"/>
                  <a:gd name="connsiteY10" fmla="*/ 1555223 h 1555223"/>
                  <a:gd name="connsiteX11" fmla="*/ 377588 w 727774"/>
                  <a:gd name="connsiteY11" fmla="*/ 1481247 h 1555223"/>
                  <a:gd name="connsiteX12" fmla="*/ 377589 w 727774"/>
                  <a:gd name="connsiteY12" fmla="*/ 908669 h 1555223"/>
                  <a:gd name="connsiteX13" fmla="*/ 347996 w 727774"/>
                  <a:gd name="connsiteY13" fmla="*/ 908669 h 1555223"/>
                  <a:gd name="connsiteX14" fmla="*/ 347996 w 727774"/>
                  <a:gd name="connsiteY14" fmla="*/ 1481247 h 1555223"/>
                  <a:gd name="connsiteX15" fmla="*/ 272533 w 727774"/>
                  <a:gd name="connsiteY15" fmla="*/ 1555222 h 1555223"/>
                  <a:gd name="connsiteX16" fmla="*/ 197073 w 727774"/>
                  <a:gd name="connsiteY16" fmla="*/ 1481247 h 1555223"/>
                  <a:gd name="connsiteX17" fmla="*/ 197073 w 727774"/>
                  <a:gd name="connsiteY17" fmla="*/ 1300374 h 1555223"/>
                  <a:gd name="connsiteX18" fmla="*/ 197073 w 727774"/>
                  <a:gd name="connsiteY18" fmla="*/ 1236839 h 1555223"/>
                  <a:gd name="connsiteX19" fmla="*/ 197199 w 727774"/>
                  <a:gd name="connsiteY19" fmla="*/ 1236839 h 1555223"/>
                  <a:gd name="connsiteX20" fmla="*/ 197199 w 727774"/>
                  <a:gd name="connsiteY20" fmla="*/ 579645 h 1555223"/>
                  <a:gd name="connsiteX21" fmla="*/ 119430 w 727774"/>
                  <a:gd name="connsiteY21" fmla="*/ 842448 h 1555223"/>
                  <a:gd name="connsiteX22" fmla="*/ 43678 w 727774"/>
                  <a:gd name="connsiteY22" fmla="*/ 883604 h 1555223"/>
                  <a:gd name="connsiteX23" fmla="*/ 2521 w 727774"/>
                  <a:gd name="connsiteY23" fmla="*/ 807852 h 1555223"/>
                  <a:gd name="connsiteX24" fmla="*/ 141618 w 727774"/>
                  <a:gd name="connsiteY24" fmla="*/ 337807 h 1555223"/>
                  <a:gd name="connsiteX25" fmla="*/ 193258 w 727774"/>
                  <a:gd name="connsiteY25" fmla="*/ 294511 h 1555223"/>
                  <a:gd name="connsiteX26" fmla="*/ 197199 w 727774"/>
                  <a:gd name="connsiteY26" fmla="*/ 294861 h 1555223"/>
                  <a:gd name="connsiteX27" fmla="*/ 197199 w 727774"/>
                  <a:gd name="connsiteY27" fmla="*/ 293772 h 1555223"/>
                  <a:gd name="connsiteX28" fmla="*/ 341027 w 727774"/>
                  <a:gd name="connsiteY28" fmla="*/ 272730 h 1555223"/>
                  <a:gd name="connsiteX29" fmla="*/ 363419 w 727774"/>
                  <a:gd name="connsiteY29" fmla="*/ 0 h 1555223"/>
                  <a:gd name="connsiteX30" fmla="*/ 491195 w 727774"/>
                  <a:gd name="connsiteY30" fmla="*/ 128089 h 1555223"/>
                  <a:gd name="connsiteX31" fmla="*/ 363419 w 727774"/>
                  <a:gd name="connsiteY31" fmla="*/ 256176 h 1555223"/>
                  <a:gd name="connsiteX32" fmla="*/ 235642 w 727774"/>
                  <a:gd name="connsiteY32" fmla="*/ 128089 h 1555223"/>
                  <a:gd name="connsiteX33" fmla="*/ 363419 w 727774"/>
                  <a:gd name="connsiteY33" fmla="*/ 0 h 15552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727774" h="1555223">
                    <a:moveTo>
                      <a:pt x="341027" y="272730"/>
                    </a:moveTo>
                    <a:cubicBezTo>
                      <a:pt x="397859" y="270795"/>
                      <a:pt x="461994" y="275845"/>
                      <a:pt x="528670" y="293596"/>
                    </a:cubicBezTo>
                    <a:lnTo>
                      <a:pt x="528669" y="295029"/>
                    </a:lnTo>
                    <a:lnTo>
                      <a:pt x="534517" y="294511"/>
                    </a:lnTo>
                    <a:cubicBezTo>
                      <a:pt x="558123" y="297176"/>
                      <a:pt x="578992" y="313595"/>
                      <a:pt x="586157" y="337807"/>
                    </a:cubicBezTo>
                    <a:lnTo>
                      <a:pt x="725253" y="807852"/>
                    </a:lnTo>
                    <a:cubicBezTo>
                      <a:pt x="734806" y="840136"/>
                      <a:pt x="716380" y="874051"/>
                      <a:pt x="684096" y="883604"/>
                    </a:cubicBezTo>
                    <a:cubicBezTo>
                      <a:pt x="651813" y="893157"/>
                      <a:pt x="617898" y="874731"/>
                      <a:pt x="608345" y="842448"/>
                    </a:cubicBezTo>
                    <a:lnTo>
                      <a:pt x="528512" y="572670"/>
                    </a:lnTo>
                    <a:lnTo>
                      <a:pt x="528511" y="1481246"/>
                    </a:lnTo>
                    <a:cubicBezTo>
                      <a:pt x="528512" y="1522673"/>
                      <a:pt x="494480" y="1555222"/>
                      <a:pt x="453049" y="1555223"/>
                    </a:cubicBezTo>
                    <a:cubicBezTo>
                      <a:pt x="411620" y="1555222"/>
                      <a:pt x="377588" y="1522673"/>
                      <a:pt x="377588" y="1481247"/>
                    </a:cubicBezTo>
                    <a:lnTo>
                      <a:pt x="377589" y="908669"/>
                    </a:lnTo>
                    <a:lnTo>
                      <a:pt x="347996" y="908669"/>
                    </a:lnTo>
                    <a:lnTo>
                      <a:pt x="347996" y="1481247"/>
                    </a:lnTo>
                    <a:cubicBezTo>
                      <a:pt x="347996" y="1522674"/>
                      <a:pt x="313963" y="1555222"/>
                      <a:pt x="272533" y="1555222"/>
                    </a:cubicBezTo>
                    <a:cubicBezTo>
                      <a:pt x="231105" y="1555222"/>
                      <a:pt x="197073" y="1522674"/>
                      <a:pt x="197073" y="1481247"/>
                    </a:cubicBezTo>
                    <a:lnTo>
                      <a:pt x="197073" y="1300374"/>
                    </a:lnTo>
                    <a:lnTo>
                      <a:pt x="197073" y="1236839"/>
                    </a:lnTo>
                    <a:lnTo>
                      <a:pt x="197199" y="1236839"/>
                    </a:lnTo>
                    <a:lnTo>
                      <a:pt x="197199" y="579645"/>
                    </a:lnTo>
                    <a:lnTo>
                      <a:pt x="119430" y="842448"/>
                    </a:lnTo>
                    <a:cubicBezTo>
                      <a:pt x="109877" y="874731"/>
                      <a:pt x="75961" y="893158"/>
                      <a:pt x="43678" y="883604"/>
                    </a:cubicBezTo>
                    <a:cubicBezTo>
                      <a:pt x="11395" y="874051"/>
                      <a:pt x="-7032" y="840135"/>
                      <a:pt x="2521" y="807852"/>
                    </a:cubicBezTo>
                    <a:lnTo>
                      <a:pt x="141618" y="337807"/>
                    </a:lnTo>
                    <a:cubicBezTo>
                      <a:pt x="148783" y="313595"/>
                      <a:pt x="169652" y="297177"/>
                      <a:pt x="193258" y="294511"/>
                    </a:cubicBezTo>
                    <a:lnTo>
                      <a:pt x="197199" y="294861"/>
                    </a:lnTo>
                    <a:lnTo>
                      <a:pt x="197199" y="293772"/>
                    </a:lnTo>
                    <a:cubicBezTo>
                      <a:pt x="234664" y="283582"/>
                      <a:pt x="284194" y="274663"/>
                      <a:pt x="341027" y="272730"/>
                    </a:cubicBezTo>
                    <a:close/>
                    <a:moveTo>
                      <a:pt x="363419" y="0"/>
                    </a:moveTo>
                    <a:cubicBezTo>
                      <a:pt x="433986" y="0"/>
                      <a:pt x="491194" y="57347"/>
                      <a:pt x="491195" y="128089"/>
                    </a:cubicBezTo>
                    <a:cubicBezTo>
                      <a:pt x="491194" y="198829"/>
                      <a:pt x="433986" y="256176"/>
                      <a:pt x="363419" y="256176"/>
                    </a:cubicBezTo>
                    <a:cubicBezTo>
                      <a:pt x="292850" y="256176"/>
                      <a:pt x="235642" y="198829"/>
                      <a:pt x="235642" y="128089"/>
                    </a:cubicBezTo>
                    <a:cubicBezTo>
                      <a:pt x="235642" y="57347"/>
                      <a:pt x="292850" y="0"/>
                      <a:pt x="363419" y="0"/>
                    </a:cubicBezTo>
                    <a:close/>
                  </a:path>
                </a:pathLst>
              </a:custGeom>
              <a:noFill/>
              <a:ln w="9525" cap="flat" cmpd="sng" algn="ctr">
                <a:solidFill>
                  <a:srgbClr val="FFFFFF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5102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48" kern="0" err="1">
                  <a:solidFill>
                    <a:srgbClr val="FFFFFF"/>
                  </a:solidFill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grpSp>
        <p:nvGrpSpPr>
          <p:cNvPr id="809" name="Group 808"/>
          <p:cNvGrpSpPr/>
          <p:nvPr/>
        </p:nvGrpSpPr>
        <p:grpSpPr>
          <a:xfrm>
            <a:off x="8647178" y="3482720"/>
            <a:ext cx="3683028" cy="3058899"/>
            <a:chOff x="8477531" y="3414741"/>
            <a:chExt cx="3611140" cy="2999193"/>
          </a:xfrm>
        </p:grpSpPr>
        <p:grpSp>
          <p:nvGrpSpPr>
            <p:cNvPr id="810" name="Group 809"/>
            <p:cNvGrpSpPr/>
            <p:nvPr/>
          </p:nvGrpSpPr>
          <p:grpSpPr>
            <a:xfrm>
              <a:off x="8477531" y="3414741"/>
              <a:ext cx="3611140" cy="2999193"/>
              <a:chOff x="8477531" y="3414741"/>
              <a:chExt cx="3611140" cy="2999193"/>
            </a:xfrm>
          </p:grpSpPr>
          <p:sp>
            <p:nvSpPr>
              <p:cNvPr id="812" name="Rectangle 811"/>
              <p:cNvSpPr/>
              <p:nvPr/>
            </p:nvSpPr>
            <p:spPr>
              <a:xfrm>
                <a:off x="8477531" y="5820258"/>
                <a:ext cx="1880908" cy="593676"/>
              </a:xfrm>
              <a:prstGeom prst="rect">
                <a:avLst/>
              </a:prstGeom>
              <a:noFill/>
            </p:spPr>
            <p:txBody>
              <a:bodyPr wrap="square" anchor="ctr">
                <a:noAutofit/>
              </a:bodyPr>
              <a:lstStyle/>
              <a:p>
                <a:pPr algn="ctr" defTabSz="93229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IN" sz="1836" kern="0">
                    <a:solidFill>
                      <a:srgbClr val="FFFFFF"/>
                    </a:solidFill>
                    <a:latin typeface="Segoe UI Semibold" panose="020B0702040204020203" pitchFamily="34" charset="0"/>
                    <a:ea typeface="Segoe UI" pitchFamily="34" charset="0"/>
                    <a:cs typeface="Segoe UI Semibold" panose="020B0702040204020203" pitchFamily="34" charset="0"/>
                  </a:rPr>
                  <a:t>SERVER ENVIRONMENT</a:t>
                </a:r>
              </a:p>
            </p:txBody>
          </p:sp>
          <p:grpSp>
            <p:nvGrpSpPr>
              <p:cNvPr id="813" name="Group 812"/>
              <p:cNvGrpSpPr/>
              <p:nvPr/>
            </p:nvGrpSpPr>
            <p:grpSpPr>
              <a:xfrm>
                <a:off x="10765213" y="5170410"/>
                <a:ext cx="1323458" cy="980213"/>
                <a:chOff x="9192260" y="3875424"/>
                <a:chExt cx="1323458" cy="980213"/>
              </a:xfrm>
            </p:grpSpPr>
            <p:sp>
              <p:nvSpPr>
                <p:cNvPr id="822" name="Rectangle 821"/>
                <p:cNvSpPr/>
                <p:nvPr/>
              </p:nvSpPr>
              <p:spPr>
                <a:xfrm>
                  <a:off x="9192260" y="4393972"/>
                  <a:ext cx="1323458" cy="461665"/>
                </a:xfrm>
                <a:prstGeom prst="rect">
                  <a:avLst/>
                </a:prstGeom>
                <a:noFill/>
                <a:ln w="3175">
                  <a:noFill/>
                  <a:prstDash val="sysDot"/>
                  <a:miter lim="800000"/>
                  <a:headEnd/>
                  <a:tailEnd type="oval" w="lg" len="lg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square" lIns="46630" tIns="46630" rIns="46630" bIns="46630" anchor="t">
                  <a:noAutofit/>
                </a:bodyPr>
                <a:lstStyle/>
                <a:p>
                  <a:pPr algn="ctr" defTabSz="932597">
                    <a:defRPr/>
                  </a:pPr>
                  <a:r>
                    <a:rPr lang="en-US" sz="1224" kern="0" dirty="0">
                      <a:solidFill>
                        <a:srgbClr val="FFFFFF"/>
                      </a:solidFill>
                      <a:latin typeface="Segoe UI"/>
                      <a:cs typeface="Segoe UI" panose="020B0502040204020203" pitchFamily="34" charset="0"/>
                    </a:rPr>
                    <a:t>Employee and contractor vetting</a:t>
                  </a:r>
                </a:p>
              </p:txBody>
            </p:sp>
            <p:sp>
              <p:nvSpPr>
                <p:cNvPr id="823" name="Rounded Rectangle 27">
                  <a:extLst/>
                </p:cNvPr>
                <p:cNvSpPr>
                  <a:spLocks noChangeAspect="1"/>
                </p:cNvSpPr>
                <p:nvPr/>
              </p:nvSpPr>
              <p:spPr>
                <a:xfrm>
                  <a:off x="9707999" y="3875424"/>
                  <a:ext cx="291980" cy="4599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331720" h="3676248">
                      <a:moveTo>
                        <a:pt x="785265" y="1981892"/>
                      </a:moveTo>
                      <a:cubicBezTo>
                        <a:pt x="872246" y="2096903"/>
                        <a:pt x="1010508" y="2170079"/>
                        <a:pt x="1165860" y="2170079"/>
                      </a:cubicBezTo>
                      <a:cubicBezTo>
                        <a:pt x="1321213" y="2170079"/>
                        <a:pt x="1459474" y="2096903"/>
                        <a:pt x="1546455" y="1981892"/>
                      </a:cubicBezTo>
                      <a:cubicBezTo>
                        <a:pt x="1785440" y="2003951"/>
                        <a:pt x="1971675" y="2205654"/>
                        <a:pt x="1971675" y="2450854"/>
                      </a:cubicBezTo>
                      <a:lnTo>
                        <a:pt x="1971675" y="2789788"/>
                      </a:lnTo>
                      <a:lnTo>
                        <a:pt x="360045" y="2789788"/>
                      </a:lnTo>
                      <a:lnTo>
                        <a:pt x="360045" y="2450854"/>
                      </a:lnTo>
                      <a:cubicBezTo>
                        <a:pt x="360045" y="2205654"/>
                        <a:pt x="546281" y="2003951"/>
                        <a:pt x="785265" y="1981892"/>
                      </a:cubicBezTo>
                      <a:close/>
                      <a:moveTo>
                        <a:pt x="1165860" y="1190671"/>
                      </a:moveTo>
                      <a:cubicBezTo>
                        <a:pt x="1404424" y="1190671"/>
                        <a:pt x="1597819" y="1384066"/>
                        <a:pt x="1597819" y="1622630"/>
                      </a:cubicBezTo>
                      <a:cubicBezTo>
                        <a:pt x="1597819" y="1861194"/>
                        <a:pt x="1404424" y="2054589"/>
                        <a:pt x="1165860" y="2054589"/>
                      </a:cubicBezTo>
                      <a:cubicBezTo>
                        <a:pt x="927296" y="2054589"/>
                        <a:pt x="733901" y="1861194"/>
                        <a:pt x="733901" y="1622630"/>
                      </a:cubicBezTo>
                      <a:cubicBezTo>
                        <a:pt x="733901" y="1384066"/>
                        <a:pt x="927296" y="1190671"/>
                        <a:pt x="1165860" y="1190671"/>
                      </a:cubicBezTo>
                      <a:close/>
                      <a:moveTo>
                        <a:pt x="243129" y="976862"/>
                      </a:moveTo>
                      <a:cubicBezTo>
                        <a:pt x="220113" y="976862"/>
                        <a:pt x="201454" y="995521"/>
                        <a:pt x="201454" y="1018537"/>
                      </a:cubicBezTo>
                      <a:lnTo>
                        <a:pt x="201454" y="2773512"/>
                      </a:lnTo>
                      <a:cubicBezTo>
                        <a:pt x="201454" y="2796528"/>
                        <a:pt x="220113" y="2815187"/>
                        <a:pt x="243129" y="2815187"/>
                      </a:cubicBezTo>
                      <a:lnTo>
                        <a:pt x="2088591" y="2815187"/>
                      </a:lnTo>
                      <a:cubicBezTo>
                        <a:pt x="2111607" y="2815187"/>
                        <a:pt x="2130266" y="2796528"/>
                        <a:pt x="2130266" y="2773512"/>
                      </a:cubicBezTo>
                      <a:lnTo>
                        <a:pt x="2130266" y="1018537"/>
                      </a:lnTo>
                      <a:cubicBezTo>
                        <a:pt x="2130266" y="995521"/>
                        <a:pt x="2111607" y="976862"/>
                        <a:pt x="2088591" y="976862"/>
                      </a:cubicBezTo>
                      <a:close/>
                      <a:moveTo>
                        <a:pt x="750570" y="756517"/>
                      </a:moveTo>
                      <a:cubicBezTo>
                        <a:pt x="727424" y="756517"/>
                        <a:pt x="708660" y="775281"/>
                        <a:pt x="708660" y="798427"/>
                      </a:cubicBezTo>
                      <a:cubicBezTo>
                        <a:pt x="708660" y="821573"/>
                        <a:pt x="727424" y="840337"/>
                        <a:pt x="750570" y="840337"/>
                      </a:cubicBezTo>
                      <a:lnTo>
                        <a:pt x="1581150" y="840337"/>
                      </a:lnTo>
                      <a:cubicBezTo>
                        <a:pt x="1604296" y="840337"/>
                        <a:pt x="1623060" y="821573"/>
                        <a:pt x="1623060" y="798427"/>
                      </a:cubicBezTo>
                      <a:cubicBezTo>
                        <a:pt x="1623060" y="775281"/>
                        <a:pt x="1604296" y="756517"/>
                        <a:pt x="1581150" y="756517"/>
                      </a:cubicBezTo>
                      <a:close/>
                      <a:moveTo>
                        <a:pt x="207663" y="567288"/>
                      </a:moveTo>
                      <a:lnTo>
                        <a:pt x="894398" y="567288"/>
                      </a:lnTo>
                      <a:lnTo>
                        <a:pt x="894398" y="722542"/>
                      </a:lnTo>
                      <a:cubicBezTo>
                        <a:pt x="894398" y="729171"/>
                        <a:pt x="899771" y="734544"/>
                        <a:pt x="906400" y="734544"/>
                      </a:cubicBezTo>
                      <a:lnTo>
                        <a:pt x="1425321" y="734544"/>
                      </a:lnTo>
                      <a:cubicBezTo>
                        <a:pt x="1431950" y="734544"/>
                        <a:pt x="1437323" y="729171"/>
                        <a:pt x="1437323" y="722542"/>
                      </a:cubicBezTo>
                      <a:lnTo>
                        <a:pt x="1437323" y="567288"/>
                      </a:lnTo>
                      <a:lnTo>
                        <a:pt x="2124057" y="567288"/>
                      </a:lnTo>
                      <a:cubicBezTo>
                        <a:pt x="2238746" y="567288"/>
                        <a:pt x="2331720" y="660262"/>
                        <a:pt x="2331720" y="774951"/>
                      </a:cubicBezTo>
                      <a:lnTo>
                        <a:pt x="2331720" y="3468585"/>
                      </a:lnTo>
                      <a:cubicBezTo>
                        <a:pt x="2331720" y="3583274"/>
                        <a:pt x="2238746" y="3676248"/>
                        <a:pt x="2124057" y="3676248"/>
                      </a:cubicBezTo>
                      <a:lnTo>
                        <a:pt x="207663" y="3676248"/>
                      </a:lnTo>
                      <a:cubicBezTo>
                        <a:pt x="92974" y="3676248"/>
                        <a:pt x="0" y="3583274"/>
                        <a:pt x="0" y="3468585"/>
                      </a:cubicBezTo>
                      <a:lnTo>
                        <a:pt x="0" y="774951"/>
                      </a:lnTo>
                      <a:cubicBezTo>
                        <a:pt x="0" y="660262"/>
                        <a:pt x="92974" y="567288"/>
                        <a:pt x="207663" y="567288"/>
                      </a:cubicBezTo>
                      <a:close/>
                      <a:moveTo>
                        <a:pt x="1165861" y="471845"/>
                      </a:moveTo>
                      <a:cubicBezTo>
                        <a:pt x="1111677" y="471845"/>
                        <a:pt x="1067753" y="515769"/>
                        <a:pt x="1067753" y="569953"/>
                      </a:cubicBezTo>
                      <a:cubicBezTo>
                        <a:pt x="1067753" y="624137"/>
                        <a:pt x="1111677" y="668061"/>
                        <a:pt x="1165861" y="668061"/>
                      </a:cubicBezTo>
                      <a:cubicBezTo>
                        <a:pt x="1220045" y="668061"/>
                        <a:pt x="1263969" y="624137"/>
                        <a:pt x="1263969" y="569953"/>
                      </a:cubicBezTo>
                      <a:cubicBezTo>
                        <a:pt x="1263969" y="515769"/>
                        <a:pt x="1220045" y="471845"/>
                        <a:pt x="1165861" y="471845"/>
                      </a:cubicBezTo>
                      <a:close/>
                      <a:moveTo>
                        <a:pt x="925402" y="419076"/>
                      </a:moveTo>
                      <a:lnTo>
                        <a:pt x="1406318" y="419076"/>
                      </a:lnTo>
                      <a:cubicBezTo>
                        <a:pt x="1412394" y="419076"/>
                        <a:pt x="1417320" y="424002"/>
                        <a:pt x="1417320" y="430078"/>
                      </a:cubicBezTo>
                      <a:lnTo>
                        <a:pt x="1417320" y="709826"/>
                      </a:lnTo>
                      <a:cubicBezTo>
                        <a:pt x="1417320" y="715902"/>
                        <a:pt x="1412394" y="720828"/>
                        <a:pt x="1406318" y="720828"/>
                      </a:cubicBezTo>
                      <a:lnTo>
                        <a:pt x="925402" y="720828"/>
                      </a:lnTo>
                      <a:cubicBezTo>
                        <a:pt x="919326" y="720828"/>
                        <a:pt x="914400" y="715902"/>
                        <a:pt x="914400" y="709826"/>
                      </a:cubicBezTo>
                      <a:lnTo>
                        <a:pt x="914400" y="430078"/>
                      </a:lnTo>
                      <a:cubicBezTo>
                        <a:pt x="914400" y="424002"/>
                        <a:pt x="919326" y="419076"/>
                        <a:pt x="925402" y="419076"/>
                      </a:cubicBezTo>
                      <a:close/>
                      <a:moveTo>
                        <a:pt x="657701" y="0"/>
                      </a:moveTo>
                      <a:lnTo>
                        <a:pt x="1044535" y="0"/>
                      </a:lnTo>
                      <a:lnTo>
                        <a:pt x="1165860" y="137192"/>
                      </a:lnTo>
                      <a:lnTo>
                        <a:pt x="1287185" y="0"/>
                      </a:lnTo>
                      <a:lnTo>
                        <a:pt x="1674019" y="0"/>
                      </a:lnTo>
                      <a:lnTo>
                        <a:pt x="1417896" y="395838"/>
                      </a:lnTo>
                      <a:lnTo>
                        <a:pt x="913824" y="395838"/>
                      </a:lnTo>
                      <a:close/>
                    </a:path>
                  </a:pathLst>
                </a:custGeom>
                <a:noFill/>
                <a:ln w="9525" cap="flat" cmpd="sng" algn="ctr">
                  <a:solidFill>
                    <a:srgbClr val="FFFFFF"/>
                  </a:solidFill>
                  <a:prstDash val="solid"/>
                </a:ln>
                <a:effectLst/>
              </p:spPr>
              <p:txBody>
                <a:bodyPr tIns="93260" bIns="93260" anchor="b"/>
                <a:lstStyle>
                  <a:defPPr>
                    <a:defRPr lang="en-US"/>
                  </a:defPPr>
                  <a:lvl1pPr marL="0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82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63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545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727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909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090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272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454" algn="l" defTabSz="914363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 defTabSz="932559">
                    <a:defRPr/>
                  </a:pPr>
                  <a:endParaRPr lang="en-US" sz="1224">
                    <a:solidFill>
                      <a:srgbClr val="FFFFFF"/>
                    </a:solidFill>
                    <a:latin typeface="Segoe UI Light"/>
                  </a:endParaRPr>
                </a:p>
              </p:txBody>
            </p:sp>
          </p:grpSp>
          <p:grpSp>
            <p:nvGrpSpPr>
              <p:cNvPr id="814" name="Group 813"/>
              <p:cNvGrpSpPr/>
              <p:nvPr/>
            </p:nvGrpSpPr>
            <p:grpSpPr>
              <a:xfrm>
                <a:off x="9105880" y="4363903"/>
                <a:ext cx="1983952" cy="865314"/>
                <a:chOff x="9939824" y="4927083"/>
                <a:chExt cx="1983952" cy="865314"/>
              </a:xfrm>
              <a:solidFill>
                <a:srgbClr val="FFFFFF"/>
              </a:solidFill>
            </p:grpSpPr>
            <p:sp>
              <p:nvSpPr>
                <p:cNvPr id="818" name="Rectangle 817"/>
                <p:cNvSpPr/>
                <p:nvPr/>
              </p:nvSpPr>
              <p:spPr>
                <a:xfrm>
                  <a:off x="9939824" y="5330732"/>
                  <a:ext cx="1983952" cy="46166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3175">
                      <a:solidFill>
                        <a:srgbClr val="000000"/>
                      </a:solidFill>
                      <a:prstDash val="sysDot"/>
                      <a:miter lim="800000"/>
                      <a:headEnd/>
                      <a:tailEnd type="oval" w="lg" len="lg"/>
                    </a14:hiddenLine>
                  </a:ext>
                </a:extLst>
              </p:spPr>
              <p:txBody>
                <a:bodyPr wrap="square" lIns="46630" tIns="46630" rIns="46630" bIns="46630" anchor="t">
                  <a:noAutofit/>
                </a:bodyPr>
                <a:lstStyle/>
                <a:p>
                  <a:pPr algn="ctr" defTabSz="932597">
                    <a:defRPr/>
                  </a:pPr>
                  <a:r>
                    <a:rPr lang="en-US" sz="1224" kern="0">
                      <a:solidFill>
                        <a:srgbClr val="FFFFFF"/>
                      </a:solidFill>
                      <a:latin typeface="Segoe UI"/>
                      <a:cs typeface="Segoe UI" panose="020B0502040204020203" pitchFamily="34" charset="0"/>
                    </a:rPr>
                    <a:t>Inability to identify location of specific customer data</a:t>
                  </a:r>
                </a:p>
              </p:txBody>
            </p:sp>
            <p:grpSp>
              <p:nvGrpSpPr>
                <p:cNvPr id="819" name="Group 818"/>
                <p:cNvGrpSpPr/>
                <p:nvPr/>
              </p:nvGrpSpPr>
              <p:grpSpPr>
                <a:xfrm>
                  <a:off x="10661904" y="4927083"/>
                  <a:ext cx="539793" cy="368084"/>
                  <a:chOff x="2852057" y="1015999"/>
                  <a:chExt cx="6053817" cy="4308476"/>
                </a:xfrm>
                <a:grpFill/>
              </p:grpSpPr>
              <p:sp>
                <p:nvSpPr>
                  <p:cNvPr id="820" name="Freeform 286"/>
                  <p:cNvSpPr/>
                  <p:nvPr/>
                </p:nvSpPr>
                <p:spPr>
                  <a:xfrm>
                    <a:off x="3367314" y="1015999"/>
                    <a:ext cx="5021943" cy="3611880"/>
                  </a:xfrm>
                  <a:custGeom>
                    <a:avLst/>
                    <a:gdLst>
                      <a:gd name="connsiteX0" fmla="*/ 446584 w 5021943"/>
                      <a:gd name="connsiteY0" fmla="*/ 352044 h 3611880"/>
                      <a:gd name="connsiteX1" fmla="*/ 330127 w 5021943"/>
                      <a:gd name="connsiteY1" fmla="*/ 468501 h 3611880"/>
                      <a:gd name="connsiteX2" fmla="*/ 330127 w 5021943"/>
                      <a:gd name="connsiteY2" fmla="*/ 3143379 h 3611880"/>
                      <a:gd name="connsiteX3" fmla="*/ 446584 w 5021943"/>
                      <a:gd name="connsiteY3" fmla="*/ 3259836 h 3611880"/>
                      <a:gd name="connsiteX4" fmla="*/ 4575358 w 5021943"/>
                      <a:gd name="connsiteY4" fmla="*/ 3259836 h 3611880"/>
                      <a:gd name="connsiteX5" fmla="*/ 4691815 w 5021943"/>
                      <a:gd name="connsiteY5" fmla="*/ 3143379 h 3611880"/>
                      <a:gd name="connsiteX6" fmla="*/ 4691815 w 5021943"/>
                      <a:gd name="connsiteY6" fmla="*/ 468501 h 3611880"/>
                      <a:gd name="connsiteX7" fmla="*/ 4575358 w 5021943"/>
                      <a:gd name="connsiteY7" fmla="*/ 352044 h 3611880"/>
                      <a:gd name="connsiteX8" fmla="*/ 327706 w 5021943"/>
                      <a:gd name="connsiteY8" fmla="*/ 0 h 3611880"/>
                      <a:gd name="connsiteX9" fmla="*/ 4694237 w 5021943"/>
                      <a:gd name="connsiteY9" fmla="*/ 0 h 3611880"/>
                      <a:gd name="connsiteX10" fmla="*/ 5021943 w 5021943"/>
                      <a:gd name="connsiteY10" fmla="*/ 327706 h 3611880"/>
                      <a:gd name="connsiteX11" fmla="*/ 5021943 w 5021943"/>
                      <a:gd name="connsiteY11" fmla="*/ 3284174 h 3611880"/>
                      <a:gd name="connsiteX12" fmla="*/ 4694237 w 5021943"/>
                      <a:gd name="connsiteY12" fmla="*/ 3611880 h 3611880"/>
                      <a:gd name="connsiteX13" fmla="*/ 327706 w 5021943"/>
                      <a:gd name="connsiteY13" fmla="*/ 3611880 h 3611880"/>
                      <a:gd name="connsiteX14" fmla="*/ 0 w 5021943"/>
                      <a:gd name="connsiteY14" fmla="*/ 3284174 h 3611880"/>
                      <a:gd name="connsiteX15" fmla="*/ 0 w 5021943"/>
                      <a:gd name="connsiteY15" fmla="*/ 327706 h 3611880"/>
                      <a:gd name="connsiteX16" fmla="*/ 327706 w 5021943"/>
                      <a:gd name="connsiteY16" fmla="*/ 0 h 36118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5021943" h="3611880">
                        <a:moveTo>
                          <a:pt x="446584" y="352044"/>
                        </a:moveTo>
                        <a:cubicBezTo>
                          <a:pt x="382267" y="352044"/>
                          <a:pt x="330127" y="404184"/>
                          <a:pt x="330127" y="468501"/>
                        </a:cubicBezTo>
                        <a:lnTo>
                          <a:pt x="330127" y="3143379"/>
                        </a:lnTo>
                        <a:cubicBezTo>
                          <a:pt x="330127" y="3207696"/>
                          <a:pt x="382267" y="3259836"/>
                          <a:pt x="446584" y="3259836"/>
                        </a:cubicBezTo>
                        <a:lnTo>
                          <a:pt x="4575358" y="3259836"/>
                        </a:lnTo>
                        <a:cubicBezTo>
                          <a:pt x="4639675" y="3259836"/>
                          <a:pt x="4691815" y="3207696"/>
                          <a:pt x="4691815" y="3143379"/>
                        </a:cubicBezTo>
                        <a:lnTo>
                          <a:pt x="4691815" y="468501"/>
                        </a:lnTo>
                        <a:cubicBezTo>
                          <a:pt x="4691815" y="404184"/>
                          <a:pt x="4639675" y="352044"/>
                          <a:pt x="4575358" y="352044"/>
                        </a:cubicBezTo>
                        <a:close/>
                        <a:moveTo>
                          <a:pt x="327706" y="0"/>
                        </a:moveTo>
                        <a:lnTo>
                          <a:pt x="4694237" y="0"/>
                        </a:lnTo>
                        <a:cubicBezTo>
                          <a:pt x="4875224" y="0"/>
                          <a:pt x="5021943" y="146719"/>
                          <a:pt x="5021943" y="327706"/>
                        </a:cubicBezTo>
                        <a:lnTo>
                          <a:pt x="5021943" y="3284174"/>
                        </a:lnTo>
                        <a:cubicBezTo>
                          <a:pt x="5021943" y="3465161"/>
                          <a:pt x="4875224" y="3611880"/>
                          <a:pt x="4694237" y="3611880"/>
                        </a:cubicBezTo>
                        <a:lnTo>
                          <a:pt x="327706" y="3611880"/>
                        </a:lnTo>
                        <a:cubicBezTo>
                          <a:pt x="146719" y="3611880"/>
                          <a:pt x="0" y="3465161"/>
                          <a:pt x="0" y="3284174"/>
                        </a:cubicBezTo>
                        <a:lnTo>
                          <a:pt x="0" y="327706"/>
                        </a:lnTo>
                        <a:cubicBezTo>
                          <a:pt x="0" y="146719"/>
                          <a:pt x="146719" y="0"/>
                          <a:pt x="327706" y="0"/>
                        </a:cubicBezTo>
                        <a:close/>
                      </a:path>
                    </a:pathLst>
                  </a:custGeom>
                  <a:noFill/>
                  <a:ln w="9525" cap="flat" cmpd="sng" algn="ctr">
                    <a:solidFill>
                      <a:srgbClr val="FFFFFF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932597">
                      <a:defRPr/>
                    </a:pPr>
                    <a:endParaRPr lang="en-US" sz="1836" kern="0">
                      <a:solidFill>
                        <a:srgbClr val="FFFFFF"/>
                      </a:solidFill>
                      <a:latin typeface="Segoe UI"/>
                    </a:endParaRPr>
                  </a:p>
                </p:txBody>
              </p:sp>
              <p:sp>
                <p:nvSpPr>
                  <p:cNvPr id="821" name="Freeform 287"/>
                  <p:cNvSpPr/>
                  <p:nvPr/>
                </p:nvSpPr>
                <p:spPr>
                  <a:xfrm>
                    <a:off x="2852057" y="4887459"/>
                    <a:ext cx="6053817" cy="437016"/>
                  </a:xfrm>
                  <a:custGeom>
                    <a:avLst/>
                    <a:gdLst>
                      <a:gd name="connsiteX0" fmla="*/ 2880278 w 6053817"/>
                      <a:gd name="connsiteY0" fmla="*/ 113679 h 437016"/>
                      <a:gd name="connsiteX1" fmla="*/ 2783686 w 6053817"/>
                      <a:gd name="connsiteY1" fmla="*/ 177705 h 437016"/>
                      <a:gd name="connsiteX2" fmla="*/ 2775448 w 6053817"/>
                      <a:gd name="connsiteY2" fmla="*/ 218509 h 437016"/>
                      <a:gd name="connsiteX3" fmla="*/ 2775448 w 6053817"/>
                      <a:gd name="connsiteY3" fmla="*/ 218508 h 437016"/>
                      <a:gd name="connsiteX4" fmla="*/ 2775448 w 6053817"/>
                      <a:gd name="connsiteY4" fmla="*/ 218509 h 437016"/>
                      <a:gd name="connsiteX5" fmla="*/ 2775448 w 6053817"/>
                      <a:gd name="connsiteY5" fmla="*/ 218509 h 437016"/>
                      <a:gd name="connsiteX6" fmla="*/ 2783686 w 6053817"/>
                      <a:gd name="connsiteY6" fmla="*/ 259313 h 437016"/>
                      <a:gd name="connsiteX7" fmla="*/ 2880278 w 6053817"/>
                      <a:gd name="connsiteY7" fmla="*/ 323338 h 437016"/>
                      <a:gd name="connsiteX8" fmla="*/ 3173538 w 6053817"/>
                      <a:gd name="connsiteY8" fmla="*/ 323339 h 437016"/>
                      <a:gd name="connsiteX9" fmla="*/ 3278368 w 6053817"/>
                      <a:gd name="connsiteY9" fmla="*/ 218509 h 437016"/>
                      <a:gd name="connsiteX10" fmla="*/ 3278369 w 6053817"/>
                      <a:gd name="connsiteY10" fmla="*/ 218509 h 437016"/>
                      <a:gd name="connsiteX11" fmla="*/ 3173539 w 6053817"/>
                      <a:gd name="connsiteY11" fmla="*/ 113679 h 437016"/>
                      <a:gd name="connsiteX12" fmla="*/ 0 w 6053817"/>
                      <a:gd name="connsiteY12" fmla="*/ 0 h 437016"/>
                      <a:gd name="connsiteX13" fmla="*/ 6053817 w 6053817"/>
                      <a:gd name="connsiteY13" fmla="*/ 0 h 437016"/>
                      <a:gd name="connsiteX14" fmla="*/ 6053817 w 6053817"/>
                      <a:gd name="connsiteY14" fmla="*/ 437016 h 437016"/>
                      <a:gd name="connsiteX15" fmla="*/ 0 w 6053817"/>
                      <a:gd name="connsiteY15" fmla="*/ 437016 h 4370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6053817" h="437016">
                        <a:moveTo>
                          <a:pt x="2880278" y="113679"/>
                        </a:moveTo>
                        <a:cubicBezTo>
                          <a:pt x="2836856" y="113679"/>
                          <a:pt x="2799600" y="140080"/>
                          <a:pt x="2783686" y="177705"/>
                        </a:cubicBezTo>
                        <a:lnTo>
                          <a:pt x="2775448" y="218509"/>
                        </a:lnTo>
                        <a:lnTo>
                          <a:pt x="2775448" y="218508"/>
                        </a:lnTo>
                        <a:lnTo>
                          <a:pt x="2775448" y="218509"/>
                        </a:lnTo>
                        <a:lnTo>
                          <a:pt x="2775448" y="218509"/>
                        </a:lnTo>
                        <a:lnTo>
                          <a:pt x="2783686" y="259313"/>
                        </a:lnTo>
                        <a:cubicBezTo>
                          <a:pt x="2799600" y="296938"/>
                          <a:pt x="2836856" y="323338"/>
                          <a:pt x="2880278" y="323338"/>
                        </a:cubicBezTo>
                        <a:lnTo>
                          <a:pt x="3173538" y="323339"/>
                        </a:lnTo>
                        <a:cubicBezTo>
                          <a:pt x="3231434" y="323339"/>
                          <a:pt x="3278368" y="276405"/>
                          <a:pt x="3278368" y="218509"/>
                        </a:cubicBezTo>
                        <a:lnTo>
                          <a:pt x="3278369" y="218509"/>
                        </a:lnTo>
                        <a:cubicBezTo>
                          <a:pt x="3278369" y="160613"/>
                          <a:pt x="3231435" y="113679"/>
                          <a:pt x="3173539" y="113679"/>
                        </a:cubicBezTo>
                        <a:close/>
                        <a:moveTo>
                          <a:pt x="0" y="0"/>
                        </a:moveTo>
                        <a:lnTo>
                          <a:pt x="6053817" y="0"/>
                        </a:lnTo>
                        <a:lnTo>
                          <a:pt x="6053817" y="437016"/>
                        </a:lnTo>
                        <a:lnTo>
                          <a:pt x="0" y="437016"/>
                        </a:lnTo>
                        <a:close/>
                      </a:path>
                    </a:pathLst>
                  </a:custGeom>
                  <a:noFill/>
                  <a:ln w="9525" cap="flat" cmpd="sng" algn="ctr">
                    <a:solidFill>
                      <a:srgbClr val="FFFFFF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932597">
                      <a:defRPr/>
                    </a:pPr>
                    <a:endParaRPr lang="en-US" sz="1836" kern="0">
                      <a:solidFill>
                        <a:srgbClr val="FFFFFF"/>
                      </a:solidFill>
                      <a:latin typeface="Segoe UI"/>
                    </a:endParaRPr>
                  </a:p>
                </p:txBody>
              </p:sp>
            </p:grpSp>
          </p:grpSp>
          <p:grpSp>
            <p:nvGrpSpPr>
              <p:cNvPr id="815" name="Group 814"/>
              <p:cNvGrpSpPr/>
              <p:nvPr/>
            </p:nvGrpSpPr>
            <p:grpSpPr>
              <a:xfrm>
                <a:off x="10717924" y="3414741"/>
                <a:ext cx="1170552" cy="873090"/>
                <a:chOff x="10960120" y="5854772"/>
                <a:chExt cx="1170552" cy="873090"/>
              </a:xfrm>
            </p:grpSpPr>
            <p:sp>
              <p:nvSpPr>
                <p:cNvPr id="816" name="Rectangle 815"/>
                <p:cNvSpPr/>
                <p:nvPr/>
              </p:nvSpPr>
              <p:spPr>
                <a:xfrm>
                  <a:off x="10960120" y="6266197"/>
                  <a:ext cx="1170552" cy="461665"/>
                </a:xfrm>
                <a:prstGeom prst="rect">
                  <a:avLst/>
                </a:prstGeom>
                <a:noFill/>
                <a:ln w="3175">
                  <a:noFill/>
                  <a:prstDash val="sysDot"/>
                  <a:miter lim="800000"/>
                  <a:headEnd/>
                  <a:tailEnd type="oval" w="lg" len="lg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square" lIns="46630" tIns="46630" rIns="46630" bIns="46630" anchor="t">
                  <a:noAutofit/>
                </a:bodyPr>
                <a:lstStyle/>
                <a:p>
                  <a:pPr algn="ctr" defTabSz="932597">
                    <a:defRPr/>
                  </a:pPr>
                  <a:r>
                    <a:rPr lang="en-US" sz="1224" kern="0">
                      <a:solidFill>
                        <a:srgbClr val="FFFFFF"/>
                      </a:solidFill>
                      <a:latin typeface="Segoe UI"/>
                      <a:cs typeface="Segoe UI" panose="020B0502040204020203" pitchFamily="34" charset="0"/>
                    </a:rPr>
                    <a:t>Secure destruction bins</a:t>
                  </a:r>
                </a:p>
              </p:txBody>
            </p:sp>
            <p:sp>
              <p:nvSpPr>
                <p:cNvPr id="817" name="Freeform 6"/>
                <p:cNvSpPr>
                  <a:spLocks/>
                </p:cNvSpPr>
                <p:nvPr/>
              </p:nvSpPr>
              <p:spPr bwMode="auto">
                <a:xfrm>
                  <a:off x="11338661" y="5854772"/>
                  <a:ext cx="390320" cy="374922"/>
                </a:xfrm>
                <a:custGeom>
                  <a:avLst/>
                  <a:gdLst>
                    <a:gd name="T0" fmla="*/ 229 w 458"/>
                    <a:gd name="T1" fmla="*/ 1 h 408"/>
                    <a:gd name="T2" fmla="*/ 418 w 458"/>
                    <a:gd name="T3" fmla="*/ 1 h 408"/>
                    <a:gd name="T4" fmla="*/ 440 w 458"/>
                    <a:gd name="T5" fmla="*/ 5 h 408"/>
                    <a:gd name="T6" fmla="*/ 456 w 458"/>
                    <a:gd name="T7" fmla="*/ 33 h 408"/>
                    <a:gd name="T8" fmla="*/ 434 w 458"/>
                    <a:gd name="T9" fmla="*/ 56 h 408"/>
                    <a:gd name="T10" fmla="*/ 421 w 458"/>
                    <a:gd name="T11" fmla="*/ 69 h 408"/>
                    <a:gd name="T12" fmla="*/ 387 w 458"/>
                    <a:gd name="T13" fmla="*/ 276 h 408"/>
                    <a:gd name="T14" fmla="*/ 369 w 458"/>
                    <a:gd name="T15" fmla="*/ 379 h 408"/>
                    <a:gd name="T16" fmla="*/ 335 w 458"/>
                    <a:gd name="T17" fmla="*/ 408 h 408"/>
                    <a:gd name="T18" fmla="*/ 120 w 458"/>
                    <a:gd name="T19" fmla="*/ 408 h 408"/>
                    <a:gd name="T20" fmla="*/ 88 w 458"/>
                    <a:gd name="T21" fmla="*/ 381 h 408"/>
                    <a:gd name="T22" fmla="*/ 59 w 458"/>
                    <a:gd name="T23" fmla="*/ 210 h 408"/>
                    <a:gd name="T24" fmla="*/ 36 w 458"/>
                    <a:gd name="T25" fmla="*/ 67 h 408"/>
                    <a:gd name="T26" fmla="*/ 25 w 458"/>
                    <a:gd name="T27" fmla="*/ 57 h 408"/>
                    <a:gd name="T28" fmla="*/ 0 w 458"/>
                    <a:gd name="T29" fmla="*/ 29 h 408"/>
                    <a:gd name="T30" fmla="*/ 32 w 458"/>
                    <a:gd name="T31" fmla="*/ 1 h 408"/>
                    <a:gd name="T32" fmla="*/ 112 w 458"/>
                    <a:gd name="T33" fmla="*/ 1 h 408"/>
                    <a:gd name="T34" fmla="*/ 229 w 458"/>
                    <a:gd name="T35" fmla="*/ 1 h 4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458" h="408">
                      <a:moveTo>
                        <a:pt x="229" y="1"/>
                      </a:moveTo>
                      <a:cubicBezTo>
                        <a:pt x="292" y="1"/>
                        <a:pt x="355" y="1"/>
                        <a:pt x="418" y="1"/>
                      </a:cubicBezTo>
                      <a:cubicBezTo>
                        <a:pt x="426" y="1"/>
                        <a:pt x="433" y="1"/>
                        <a:pt x="440" y="5"/>
                      </a:cubicBezTo>
                      <a:cubicBezTo>
                        <a:pt x="451" y="11"/>
                        <a:pt x="458" y="20"/>
                        <a:pt x="456" y="33"/>
                      </a:cubicBezTo>
                      <a:cubicBezTo>
                        <a:pt x="454" y="45"/>
                        <a:pt x="448" y="55"/>
                        <a:pt x="434" y="56"/>
                      </a:cubicBezTo>
                      <a:cubicBezTo>
                        <a:pt x="426" y="57"/>
                        <a:pt x="422" y="60"/>
                        <a:pt x="421" y="69"/>
                      </a:cubicBezTo>
                      <a:cubicBezTo>
                        <a:pt x="410" y="138"/>
                        <a:pt x="398" y="207"/>
                        <a:pt x="387" y="276"/>
                      </a:cubicBezTo>
                      <a:cubicBezTo>
                        <a:pt x="381" y="310"/>
                        <a:pt x="375" y="345"/>
                        <a:pt x="369" y="379"/>
                      </a:cubicBezTo>
                      <a:cubicBezTo>
                        <a:pt x="365" y="399"/>
                        <a:pt x="355" y="408"/>
                        <a:pt x="335" y="408"/>
                      </a:cubicBezTo>
                      <a:cubicBezTo>
                        <a:pt x="263" y="408"/>
                        <a:pt x="192" y="408"/>
                        <a:pt x="120" y="408"/>
                      </a:cubicBezTo>
                      <a:cubicBezTo>
                        <a:pt x="102" y="408"/>
                        <a:pt x="91" y="399"/>
                        <a:pt x="88" y="381"/>
                      </a:cubicBezTo>
                      <a:cubicBezTo>
                        <a:pt x="78" y="324"/>
                        <a:pt x="68" y="267"/>
                        <a:pt x="59" y="210"/>
                      </a:cubicBezTo>
                      <a:cubicBezTo>
                        <a:pt x="51" y="162"/>
                        <a:pt x="43" y="114"/>
                        <a:pt x="36" y="67"/>
                      </a:cubicBezTo>
                      <a:cubicBezTo>
                        <a:pt x="34" y="60"/>
                        <a:pt x="31" y="58"/>
                        <a:pt x="25" y="57"/>
                      </a:cubicBezTo>
                      <a:cubicBezTo>
                        <a:pt x="10" y="53"/>
                        <a:pt x="0" y="41"/>
                        <a:pt x="0" y="29"/>
                      </a:cubicBezTo>
                      <a:cubicBezTo>
                        <a:pt x="1" y="13"/>
                        <a:pt x="14" y="1"/>
                        <a:pt x="32" y="1"/>
                      </a:cubicBezTo>
                      <a:cubicBezTo>
                        <a:pt x="59" y="0"/>
                        <a:pt x="85" y="1"/>
                        <a:pt x="112" y="1"/>
                      </a:cubicBezTo>
                      <a:cubicBezTo>
                        <a:pt x="151" y="1"/>
                        <a:pt x="190" y="1"/>
                        <a:pt x="229" y="1"/>
                      </a:cubicBezTo>
                      <a:close/>
                    </a:path>
                  </a:pathLst>
                </a:custGeom>
                <a:no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extLst/>
              </p:spPr>
              <p:txBody>
                <a:bodyPr vert="horz" wrap="square" lIns="93260" tIns="46630" rIns="93260" bIns="4663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97">
                    <a:defRPr/>
                  </a:pPr>
                  <a:endParaRPr lang="en-US" sz="1836" kern="0">
                    <a:solidFill>
                      <a:srgbClr val="FFFFFF"/>
                    </a:solidFill>
                    <a:latin typeface="Segoe UI"/>
                  </a:endParaRPr>
                </a:p>
              </p:txBody>
            </p:sp>
          </p:grpSp>
        </p:grpSp>
        <p:sp>
          <p:nvSpPr>
            <p:cNvPr id="811" name="Rectangle 74"/>
            <p:cNvSpPr/>
            <p:nvPr/>
          </p:nvSpPr>
          <p:spPr>
            <a:xfrm>
              <a:off x="11191350" y="3474753"/>
              <a:ext cx="200446" cy="224089"/>
            </a:xfrm>
            <a:custGeom>
              <a:avLst/>
              <a:gdLst/>
              <a:ahLst/>
              <a:cxnLst/>
              <a:rect l="l" t="t" r="r" b="b"/>
              <a:pathLst>
                <a:path w="93101" h="119655">
                  <a:moveTo>
                    <a:pt x="46888" y="61255"/>
                  </a:moveTo>
                  <a:cubicBezTo>
                    <a:pt x="40157" y="61255"/>
                    <a:pt x="34700" y="66712"/>
                    <a:pt x="34700" y="73443"/>
                  </a:cubicBezTo>
                  <a:cubicBezTo>
                    <a:pt x="34700" y="78113"/>
                    <a:pt x="37327" y="82169"/>
                    <a:pt x="41596" y="83438"/>
                  </a:cubicBezTo>
                  <a:lnTo>
                    <a:pt x="38933" y="104741"/>
                  </a:lnTo>
                  <a:lnTo>
                    <a:pt x="55183" y="104741"/>
                  </a:lnTo>
                  <a:lnTo>
                    <a:pt x="52504" y="83305"/>
                  </a:lnTo>
                  <a:cubicBezTo>
                    <a:pt x="56597" y="81937"/>
                    <a:pt x="59076" y="77980"/>
                    <a:pt x="59076" y="73443"/>
                  </a:cubicBezTo>
                  <a:cubicBezTo>
                    <a:pt x="59076" y="66712"/>
                    <a:pt x="53619" y="61255"/>
                    <a:pt x="46888" y="61255"/>
                  </a:cubicBezTo>
                  <a:close/>
                  <a:moveTo>
                    <a:pt x="47468" y="17532"/>
                  </a:moveTo>
                  <a:cubicBezTo>
                    <a:pt x="43681" y="17333"/>
                    <a:pt x="39830" y="18360"/>
                    <a:pt x="36547" y="20648"/>
                  </a:cubicBezTo>
                  <a:cubicBezTo>
                    <a:pt x="29978" y="25222"/>
                    <a:pt x="27348" y="33667"/>
                    <a:pt x="30159" y="41162"/>
                  </a:cubicBezTo>
                  <a:lnTo>
                    <a:pt x="29615" y="41365"/>
                  </a:lnTo>
                  <a:lnTo>
                    <a:pt x="62407" y="41365"/>
                  </a:lnTo>
                  <a:cubicBezTo>
                    <a:pt x="65562" y="34644"/>
                    <a:pt x="63689" y="26692"/>
                    <a:pt x="58003" y="21774"/>
                  </a:cubicBezTo>
                  <a:cubicBezTo>
                    <a:pt x="54976" y="19155"/>
                    <a:pt x="51254" y="17730"/>
                    <a:pt x="47468" y="17532"/>
                  </a:cubicBezTo>
                  <a:close/>
                  <a:moveTo>
                    <a:pt x="48385" y="49"/>
                  </a:moveTo>
                  <a:cubicBezTo>
                    <a:pt x="55959" y="446"/>
                    <a:pt x="63402" y="3297"/>
                    <a:pt x="69456" y="8533"/>
                  </a:cubicBezTo>
                  <a:cubicBezTo>
                    <a:pt x="79598" y="17305"/>
                    <a:pt x="83675" y="30904"/>
                    <a:pt x="78885" y="43093"/>
                  </a:cubicBezTo>
                  <a:cubicBezTo>
                    <a:pt x="87177" y="43906"/>
                    <a:pt x="93101" y="51139"/>
                    <a:pt x="93101" y="59752"/>
                  </a:cubicBezTo>
                  <a:lnTo>
                    <a:pt x="93101" y="119654"/>
                  </a:lnTo>
                  <a:lnTo>
                    <a:pt x="0" y="119655"/>
                  </a:lnTo>
                  <a:lnTo>
                    <a:pt x="0" y="59752"/>
                  </a:lnTo>
                  <a:cubicBezTo>
                    <a:pt x="0" y="51365"/>
                    <a:pt x="5617" y="44289"/>
                    <a:pt x="13654" y="43326"/>
                  </a:cubicBezTo>
                  <a:cubicBezTo>
                    <a:pt x="9060" y="29605"/>
                    <a:pt x="14482" y="14678"/>
                    <a:pt x="26544" y="6281"/>
                  </a:cubicBezTo>
                  <a:cubicBezTo>
                    <a:pt x="33111" y="1706"/>
                    <a:pt x="40813" y="-348"/>
                    <a:pt x="48385" y="49"/>
                  </a:cubicBezTo>
                  <a:close/>
                </a:path>
              </a:pathLst>
            </a:custGeom>
            <a:noFill/>
            <a:ln w="952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32559">
                <a:defRPr/>
              </a:pPr>
              <a:endParaRPr lang="en-US" sz="1873">
                <a:solidFill>
                  <a:srgbClr val="FFFFFF"/>
                </a:solidFill>
                <a:latin typeface="Segoe UI"/>
              </a:endParaRPr>
            </a:p>
          </p:txBody>
        </p:sp>
      </p:grpSp>
      <p:sp>
        <p:nvSpPr>
          <p:cNvPr id="824" name="Title 1"/>
          <p:cNvSpPr>
            <a:spLocks noGrp="1"/>
          </p:cNvSpPr>
          <p:nvPr>
            <p:ph type="title"/>
          </p:nvPr>
        </p:nvSpPr>
        <p:spPr>
          <a:xfrm>
            <a:off x="275481" y="361890"/>
            <a:ext cx="11887878" cy="917575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Datacenter security</a:t>
            </a:r>
          </a:p>
        </p:txBody>
      </p:sp>
    </p:spTree>
    <p:extLst>
      <p:ext uri="{BB962C8B-B14F-4D97-AF65-F5344CB8AC3E}">
        <p14:creationId xmlns:p14="http://schemas.microsoft.com/office/powerpoint/2010/main" val="689887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50"/>
                                        <p:tgtEl>
                                          <p:spTgt spid="5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50"/>
                                        <p:tgtEl>
                                          <p:spTgt spid="5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50"/>
                                        <p:tgtEl>
                                          <p:spTgt spid="5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50"/>
                                        <p:tgtEl>
                                          <p:spTgt spid="5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8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50"/>
                                        <p:tgtEl>
                                          <p:spTgt spid="5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5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500"/>
                            </p:stCondLst>
                            <p:childTnLst>
                              <p:par>
                                <p:cTn id="3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8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0" dur="500"/>
                                        <p:tgtEl>
                                          <p:spTgt spid="5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5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6" dur="500"/>
                                        <p:tgtEl>
                                          <p:spTgt spid="5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500"/>
                                        <p:tgtEl>
                                          <p:spTgt spid="5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00"/>
                                        <p:tgtEl>
                                          <p:spTgt spid="5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" dur="500"/>
                                        <p:tgtEl>
                                          <p:spTgt spid="5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5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4" dur="500"/>
                                        <p:tgtEl>
                                          <p:spTgt spid="5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5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8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5" grpId="0" animBg="1"/>
      <p:bldP spid="530" grpId="0" animBg="1"/>
      <p:bldP spid="524" grpId="0" animBg="1"/>
      <p:bldP spid="523" grpId="0" animBg="1"/>
      <p:bldP spid="501" grpId="0" animBg="1"/>
      <p:bldP spid="531" grpId="0" animBg="1"/>
      <p:bldP spid="824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1F702F-02DA-4C30-A940-68FDEA8F5F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day’s Agend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9E2E8C6-0658-4ABB-A5FE-CAE8FAEF003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702" y="1211287"/>
            <a:ext cx="11888787" cy="4505849"/>
          </a:xfrm>
        </p:spPr>
        <p:txBody>
          <a:bodyPr/>
          <a:lstStyle/>
          <a:p>
            <a:r>
              <a:rPr lang="en-US" dirty="0"/>
              <a:t>9:00 AM </a:t>
            </a:r>
            <a:r>
              <a:rPr lang="en-US" b="1" dirty="0"/>
              <a:t>Azure in 60 minutes </a:t>
            </a:r>
            <a:r>
              <a:rPr lang="en-US" dirty="0"/>
              <a:t>by Shawn Weisfeld Microsoft CSA</a:t>
            </a:r>
          </a:p>
          <a:p>
            <a:r>
              <a:rPr lang="en-US" dirty="0"/>
              <a:t>10:15 AM </a:t>
            </a:r>
            <a:r>
              <a:rPr lang="en-US" b="1" dirty="0"/>
              <a:t>Microservices , Containers, </a:t>
            </a:r>
            <a:r>
              <a:rPr lang="en-US" b="1" dirty="0" err="1"/>
              <a:t>Devops</a:t>
            </a:r>
            <a:r>
              <a:rPr lang="en-US" b="1" dirty="0"/>
              <a:t> and Kubernetes in Azure Cloud</a:t>
            </a:r>
            <a:r>
              <a:rPr lang="en-US" dirty="0"/>
              <a:t> by Eddie </a:t>
            </a:r>
            <a:r>
              <a:rPr lang="en-US" dirty="0" err="1"/>
              <a:t>Vallalba</a:t>
            </a:r>
            <a:r>
              <a:rPr lang="en-US" dirty="0"/>
              <a:t> Microsoft GBB</a:t>
            </a:r>
          </a:p>
          <a:p>
            <a:r>
              <a:rPr lang="en-US" dirty="0"/>
              <a:t>11:30 AM </a:t>
            </a:r>
            <a:r>
              <a:rPr lang="en-US" b="1" dirty="0"/>
              <a:t>Azure SQL Database: Where Does My Data Belong? </a:t>
            </a:r>
            <a:r>
              <a:rPr lang="en-US" dirty="0"/>
              <a:t>by John Sterrett Microsoft Data Platform MVP &amp; Founder of Procure SQL LLC</a:t>
            </a:r>
          </a:p>
          <a:p>
            <a:r>
              <a:rPr lang="en-US" dirty="0"/>
              <a:t>12:30 PM LUNCH</a:t>
            </a:r>
          </a:p>
        </p:txBody>
      </p:sp>
    </p:spTree>
    <p:extLst>
      <p:ext uri="{BB962C8B-B14F-4D97-AF65-F5344CB8AC3E}">
        <p14:creationId xmlns:p14="http://schemas.microsoft.com/office/powerpoint/2010/main" val="1599219004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A159894-4777-4BD4-80D1-FD09090A8EAF}"/>
              </a:ext>
            </a:extLst>
          </p:cNvPr>
          <p:cNvSpPr/>
          <p:nvPr/>
        </p:nvSpPr>
        <p:spPr>
          <a:xfrm>
            <a:off x="412602" y="5684634"/>
            <a:ext cx="1273926" cy="4708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2400" kern="0" spc="50">
                <a:solidFill>
                  <a:srgbClr val="0078D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usted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008378F-748F-4973-91D2-AE64A243C214}"/>
              </a:ext>
            </a:extLst>
          </p:cNvPr>
          <p:cNvSpPr/>
          <p:nvPr/>
        </p:nvSpPr>
        <p:spPr>
          <a:xfrm>
            <a:off x="456745" y="4337287"/>
            <a:ext cx="1185640" cy="345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1599" kern="0" spc="50">
                <a:solidFill>
                  <a:srgbClr val="353535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telligent</a:t>
            </a: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D075AD67-B61E-4831-83EC-2AF66D0FDBB2}"/>
              </a:ext>
            </a:extLst>
          </p:cNvPr>
          <p:cNvCxnSpPr>
            <a:cxnSpLocks/>
          </p:cNvCxnSpPr>
          <p:nvPr/>
        </p:nvCxnSpPr>
        <p:spPr>
          <a:xfrm>
            <a:off x="1994007" y="496"/>
            <a:ext cx="0" cy="7025446"/>
          </a:xfrm>
          <a:prstGeom prst="line">
            <a:avLst/>
          </a:prstGeom>
          <a:noFill/>
          <a:ln w="19050" cap="flat">
            <a:solidFill>
              <a:schemeClr val="bg1">
                <a:lumMod val="75000"/>
                <a:alpha val="70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cxnSp>
      <p:sp>
        <p:nvSpPr>
          <p:cNvPr id="96" name="light">
            <a:extLst>
              <a:ext uri="{FF2B5EF4-FFF2-40B4-BE49-F238E27FC236}">
                <a16:creationId xmlns:a16="http://schemas.microsoft.com/office/drawing/2014/main" id="{38BAE752-BE22-4707-B0F9-4C08A401389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89768" y="3872325"/>
            <a:ext cx="291439" cy="432683"/>
          </a:xfrm>
          <a:custGeom>
            <a:avLst/>
            <a:gdLst>
              <a:gd name="T0" fmla="*/ 156 w 224"/>
              <a:gd name="T1" fmla="*/ 312 h 334"/>
              <a:gd name="T2" fmla="*/ 134 w 224"/>
              <a:gd name="T3" fmla="*/ 334 h 334"/>
              <a:gd name="T4" fmla="*/ 89 w 224"/>
              <a:gd name="T5" fmla="*/ 334 h 334"/>
              <a:gd name="T6" fmla="*/ 67 w 224"/>
              <a:gd name="T7" fmla="*/ 312 h 334"/>
              <a:gd name="T8" fmla="*/ 67 w 224"/>
              <a:gd name="T9" fmla="*/ 261 h 334"/>
              <a:gd name="T10" fmla="*/ 37 w 224"/>
              <a:gd name="T11" fmla="*/ 195 h 334"/>
              <a:gd name="T12" fmla="*/ 27 w 224"/>
              <a:gd name="T13" fmla="*/ 185 h 334"/>
              <a:gd name="T14" fmla="*/ 0 w 224"/>
              <a:gd name="T15" fmla="*/ 112 h 334"/>
              <a:gd name="T16" fmla="*/ 112 w 224"/>
              <a:gd name="T17" fmla="*/ 0 h 334"/>
              <a:gd name="T18" fmla="*/ 224 w 224"/>
              <a:gd name="T19" fmla="*/ 112 h 334"/>
              <a:gd name="T20" fmla="*/ 197 w 224"/>
              <a:gd name="T21" fmla="*/ 185 h 334"/>
              <a:gd name="T22" fmla="*/ 200 w 224"/>
              <a:gd name="T23" fmla="*/ 181 h 334"/>
              <a:gd name="T24" fmla="*/ 197 w 224"/>
              <a:gd name="T25" fmla="*/ 185 h 334"/>
              <a:gd name="T26" fmla="*/ 156 w 224"/>
              <a:gd name="T27" fmla="*/ 265 h 334"/>
              <a:gd name="T28" fmla="*/ 156 w 224"/>
              <a:gd name="T29" fmla="*/ 312 h 334"/>
              <a:gd name="T30" fmla="*/ 156 w 224"/>
              <a:gd name="T31" fmla="*/ 312 h 334"/>
              <a:gd name="T32" fmla="*/ 67 w 224"/>
              <a:gd name="T33" fmla="*/ 269 h 334"/>
              <a:gd name="T34" fmla="*/ 156 w 224"/>
              <a:gd name="T35" fmla="*/ 269 h 3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24" h="334">
                <a:moveTo>
                  <a:pt x="156" y="312"/>
                </a:moveTo>
                <a:cubicBezTo>
                  <a:pt x="156" y="324"/>
                  <a:pt x="146" y="334"/>
                  <a:pt x="134" y="334"/>
                </a:cubicBezTo>
                <a:cubicBezTo>
                  <a:pt x="89" y="334"/>
                  <a:pt x="89" y="334"/>
                  <a:pt x="89" y="334"/>
                </a:cubicBezTo>
                <a:cubicBezTo>
                  <a:pt x="76" y="334"/>
                  <a:pt x="67" y="324"/>
                  <a:pt x="67" y="312"/>
                </a:cubicBezTo>
                <a:cubicBezTo>
                  <a:pt x="67" y="312"/>
                  <a:pt x="67" y="300"/>
                  <a:pt x="67" y="261"/>
                </a:cubicBezTo>
                <a:cubicBezTo>
                  <a:pt x="67" y="221"/>
                  <a:pt x="37" y="195"/>
                  <a:pt x="37" y="195"/>
                </a:cubicBezTo>
                <a:cubicBezTo>
                  <a:pt x="27" y="185"/>
                  <a:pt x="27" y="185"/>
                  <a:pt x="27" y="185"/>
                </a:cubicBezTo>
                <a:cubicBezTo>
                  <a:pt x="10" y="166"/>
                  <a:pt x="0" y="140"/>
                  <a:pt x="0" y="112"/>
                </a:cubicBezTo>
                <a:cubicBezTo>
                  <a:pt x="0" y="50"/>
                  <a:pt x="50" y="0"/>
                  <a:pt x="112" y="0"/>
                </a:cubicBezTo>
                <a:cubicBezTo>
                  <a:pt x="174" y="0"/>
                  <a:pt x="224" y="50"/>
                  <a:pt x="224" y="112"/>
                </a:cubicBezTo>
                <a:cubicBezTo>
                  <a:pt x="224" y="140"/>
                  <a:pt x="214" y="166"/>
                  <a:pt x="197" y="185"/>
                </a:cubicBezTo>
                <a:moveTo>
                  <a:pt x="200" y="181"/>
                </a:moveTo>
                <a:cubicBezTo>
                  <a:pt x="197" y="185"/>
                  <a:pt x="197" y="185"/>
                  <a:pt x="197" y="185"/>
                </a:cubicBezTo>
                <a:cubicBezTo>
                  <a:pt x="197" y="185"/>
                  <a:pt x="156" y="217"/>
                  <a:pt x="156" y="265"/>
                </a:cubicBezTo>
                <a:cubicBezTo>
                  <a:pt x="156" y="312"/>
                  <a:pt x="156" y="312"/>
                  <a:pt x="156" y="312"/>
                </a:cubicBezTo>
                <a:cubicBezTo>
                  <a:pt x="156" y="312"/>
                  <a:pt x="156" y="312"/>
                  <a:pt x="156" y="312"/>
                </a:cubicBezTo>
                <a:moveTo>
                  <a:pt x="67" y="269"/>
                </a:moveTo>
                <a:cubicBezTo>
                  <a:pt x="156" y="269"/>
                  <a:pt x="156" y="269"/>
                  <a:pt x="156" y="269"/>
                </a:cubicBezTo>
              </a:path>
            </a:pathLst>
          </a:custGeom>
          <a:noFill/>
          <a:ln w="28575">
            <a:solidFill>
              <a:srgbClr val="B3B2B4"/>
            </a:solidFill>
            <a:headEnd type="none" w="med" len="med"/>
            <a:tailEnd type="none" w="med" len="med"/>
          </a:ln>
          <a:effectLst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sp>
        <p:nvSpPr>
          <p:cNvPr id="101" name="Freeform 100"/>
          <p:cNvSpPr>
            <a:spLocks noChangeArrowheads="1"/>
          </p:cNvSpPr>
          <p:nvPr/>
        </p:nvSpPr>
        <p:spPr bwMode="auto">
          <a:xfrm>
            <a:off x="711136" y="4920775"/>
            <a:ext cx="659508" cy="652579"/>
          </a:xfrm>
          <a:custGeom>
            <a:avLst/>
            <a:gdLst>
              <a:gd name="T0" fmla="*/ 3212 w 13440"/>
              <a:gd name="T1" fmla="*/ 3671 h 13299"/>
              <a:gd name="T2" fmla="*/ 3433 w 13440"/>
              <a:gd name="T3" fmla="*/ 3583 h 13299"/>
              <a:gd name="T4" fmla="*/ 3600 w 13440"/>
              <a:gd name="T5" fmla="*/ 3415 h 13299"/>
              <a:gd name="T6" fmla="*/ 3689 w 13440"/>
              <a:gd name="T7" fmla="*/ 3194 h 13299"/>
              <a:gd name="T8" fmla="*/ 3697 w 13440"/>
              <a:gd name="T9" fmla="*/ 3009 h 13299"/>
              <a:gd name="T10" fmla="*/ 3627 w 13440"/>
              <a:gd name="T11" fmla="*/ 2762 h 13299"/>
              <a:gd name="T12" fmla="*/ 3477 w 13440"/>
              <a:gd name="T13" fmla="*/ 2577 h 13299"/>
              <a:gd name="T14" fmla="*/ 3274 w 13440"/>
              <a:gd name="T15" fmla="*/ 2462 h 13299"/>
              <a:gd name="T16" fmla="*/ 3088 w 13440"/>
              <a:gd name="T17" fmla="*/ 2427 h 13299"/>
              <a:gd name="T18" fmla="*/ 2833 w 13440"/>
              <a:gd name="T19" fmla="*/ 2480 h 13299"/>
              <a:gd name="T20" fmla="*/ 2630 w 13440"/>
              <a:gd name="T21" fmla="*/ 2621 h 13299"/>
              <a:gd name="T22" fmla="*/ 2488 w 13440"/>
              <a:gd name="T23" fmla="*/ 2824 h 13299"/>
              <a:gd name="T24" fmla="*/ 2444 w 13440"/>
              <a:gd name="T25" fmla="*/ 3080 h 13299"/>
              <a:gd name="T26" fmla="*/ 2471 w 13440"/>
              <a:gd name="T27" fmla="*/ 3256 h 13299"/>
              <a:gd name="T28" fmla="*/ 2585 w 13440"/>
              <a:gd name="T29" fmla="*/ 3459 h 13299"/>
              <a:gd name="T30" fmla="*/ 2780 w 13440"/>
              <a:gd name="T31" fmla="*/ 3609 h 13299"/>
              <a:gd name="T32" fmla="*/ 3027 w 13440"/>
              <a:gd name="T33" fmla="*/ 3680 h 13299"/>
              <a:gd name="T34" fmla="*/ 6988 w 13440"/>
              <a:gd name="T35" fmla="*/ 8127 h 13299"/>
              <a:gd name="T36" fmla="*/ 6380 w 13440"/>
              <a:gd name="T37" fmla="*/ 8480 h 13299"/>
              <a:gd name="T38" fmla="*/ 5718 w 13440"/>
              <a:gd name="T39" fmla="*/ 8736 h 13299"/>
              <a:gd name="T40" fmla="*/ 5004 w 13440"/>
              <a:gd name="T41" fmla="*/ 8886 h 13299"/>
              <a:gd name="T42" fmla="*/ 4439 w 13440"/>
              <a:gd name="T43" fmla="*/ 8921 h 13299"/>
              <a:gd name="T44" fmla="*/ 3547 w 13440"/>
              <a:gd name="T45" fmla="*/ 8824 h 13299"/>
              <a:gd name="T46" fmla="*/ 2709 w 13440"/>
              <a:gd name="T47" fmla="*/ 8568 h 13299"/>
              <a:gd name="T48" fmla="*/ 1959 w 13440"/>
              <a:gd name="T49" fmla="*/ 8153 h 13299"/>
              <a:gd name="T50" fmla="*/ 1297 w 13440"/>
              <a:gd name="T51" fmla="*/ 7615 h 13299"/>
              <a:gd name="T52" fmla="*/ 759 w 13440"/>
              <a:gd name="T53" fmla="*/ 6953 h 13299"/>
              <a:gd name="T54" fmla="*/ 344 w 13440"/>
              <a:gd name="T55" fmla="*/ 6195 h 13299"/>
              <a:gd name="T56" fmla="*/ 88 w 13440"/>
              <a:gd name="T57" fmla="*/ 5357 h 13299"/>
              <a:gd name="T58" fmla="*/ 0 w 13440"/>
              <a:gd name="T59" fmla="*/ 4456 h 13299"/>
              <a:gd name="T60" fmla="*/ 44 w 13440"/>
              <a:gd name="T61" fmla="*/ 3777 h 13299"/>
              <a:gd name="T62" fmla="*/ 264 w 13440"/>
              <a:gd name="T63" fmla="*/ 2921 h 13299"/>
              <a:gd name="T64" fmla="*/ 644 w 13440"/>
              <a:gd name="T65" fmla="*/ 2135 h 13299"/>
              <a:gd name="T66" fmla="*/ 1156 w 13440"/>
              <a:gd name="T67" fmla="*/ 1456 h 13299"/>
              <a:gd name="T68" fmla="*/ 1782 w 13440"/>
              <a:gd name="T69" fmla="*/ 882 h 13299"/>
              <a:gd name="T70" fmla="*/ 2515 w 13440"/>
              <a:gd name="T71" fmla="*/ 432 h 13299"/>
              <a:gd name="T72" fmla="*/ 3327 w 13440"/>
              <a:gd name="T73" fmla="*/ 132 h 13299"/>
              <a:gd name="T74" fmla="*/ 4209 w 13440"/>
              <a:gd name="T75" fmla="*/ 0 h 13299"/>
              <a:gd name="T76" fmla="*/ 4898 w 13440"/>
              <a:gd name="T77" fmla="*/ 17 h 13299"/>
              <a:gd name="T78" fmla="*/ 5771 w 13440"/>
              <a:gd name="T79" fmla="*/ 194 h 13299"/>
              <a:gd name="T80" fmla="*/ 6574 w 13440"/>
              <a:gd name="T81" fmla="*/ 529 h 13299"/>
              <a:gd name="T82" fmla="*/ 7288 w 13440"/>
              <a:gd name="T83" fmla="*/ 1015 h 13299"/>
              <a:gd name="T84" fmla="*/ 7897 w 13440"/>
              <a:gd name="T85" fmla="*/ 1615 h 13299"/>
              <a:gd name="T86" fmla="*/ 8383 w 13440"/>
              <a:gd name="T87" fmla="*/ 2329 h 13299"/>
              <a:gd name="T88" fmla="*/ 8718 w 13440"/>
              <a:gd name="T89" fmla="*/ 3124 h 13299"/>
              <a:gd name="T90" fmla="*/ 8894 w 13440"/>
              <a:gd name="T91" fmla="*/ 3997 h 13299"/>
              <a:gd name="T92" fmla="*/ 8912 w 13440"/>
              <a:gd name="T93" fmla="*/ 4642 h 13299"/>
              <a:gd name="T94" fmla="*/ 8833 w 13440"/>
              <a:gd name="T95" fmla="*/ 5321 h 13299"/>
              <a:gd name="T96" fmla="*/ 13439 w 13440"/>
              <a:gd name="T97" fmla="*/ 10456 h 13299"/>
              <a:gd name="T98" fmla="*/ 10748 w 13440"/>
              <a:gd name="T99" fmla="*/ 13298 h 13299"/>
              <a:gd name="T100" fmla="*/ 9000 w 13440"/>
              <a:gd name="T101" fmla="*/ 11471 h 13299"/>
              <a:gd name="T102" fmla="*/ 7129 w 13440"/>
              <a:gd name="T103" fmla="*/ 9689 h 13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3440" h="13299">
                <a:moveTo>
                  <a:pt x="3088" y="3689"/>
                </a:moveTo>
                <a:lnTo>
                  <a:pt x="3088" y="3689"/>
                </a:lnTo>
                <a:lnTo>
                  <a:pt x="3150" y="3680"/>
                </a:lnTo>
                <a:lnTo>
                  <a:pt x="3212" y="3671"/>
                </a:lnTo>
                <a:lnTo>
                  <a:pt x="3274" y="3662"/>
                </a:lnTo>
                <a:lnTo>
                  <a:pt x="3327" y="3636"/>
                </a:lnTo>
                <a:lnTo>
                  <a:pt x="3380" y="3609"/>
                </a:lnTo>
                <a:lnTo>
                  <a:pt x="3433" y="3583"/>
                </a:lnTo>
                <a:lnTo>
                  <a:pt x="3477" y="3547"/>
                </a:lnTo>
                <a:lnTo>
                  <a:pt x="3521" y="3503"/>
                </a:lnTo>
                <a:lnTo>
                  <a:pt x="3556" y="3459"/>
                </a:lnTo>
                <a:lnTo>
                  <a:pt x="3600" y="3415"/>
                </a:lnTo>
                <a:lnTo>
                  <a:pt x="3627" y="3362"/>
                </a:lnTo>
                <a:lnTo>
                  <a:pt x="3653" y="3309"/>
                </a:lnTo>
                <a:lnTo>
                  <a:pt x="3671" y="3256"/>
                </a:lnTo>
                <a:lnTo>
                  <a:pt x="3689" y="3194"/>
                </a:lnTo>
                <a:lnTo>
                  <a:pt x="3697" y="3141"/>
                </a:lnTo>
                <a:lnTo>
                  <a:pt x="3706" y="3080"/>
                </a:lnTo>
                <a:lnTo>
                  <a:pt x="3706" y="3080"/>
                </a:lnTo>
                <a:lnTo>
                  <a:pt x="3697" y="3009"/>
                </a:lnTo>
                <a:lnTo>
                  <a:pt x="3689" y="2947"/>
                </a:lnTo>
                <a:lnTo>
                  <a:pt x="3671" y="2885"/>
                </a:lnTo>
                <a:lnTo>
                  <a:pt x="3653" y="2824"/>
                </a:lnTo>
                <a:lnTo>
                  <a:pt x="3627" y="2762"/>
                </a:lnTo>
                <a:lnTo>
                  <a:pt x="3600" y="2709"/>
                </a:lnTo>
                <a:lnTo>
                  <a:pt x="3556" y="2665"/>
                </a:lnTo>
                <a:lnTo>
                  <a:pt x="3521" y="2621"/>
                </a:lnTo>
                <a:lnTo>
                  <a:pt x="3477" y="2577"/>
                </a:lnTo>
                <a:lnTo>
                  <a:pt x="3433" y="2541"/>
                </a:lnTo>
                <a:lnTo>
                  <a:pt x="3380" y="2506"/>
                </a:lnTo>
                <a:lnTo>
                  <a:pt x="3327" y="2480"/>
                </a:lnTo>
                <a:lnTo>
                  <a:pt x="3274" y="2462"/>
                </a:lnTo>
                <a:lnTo>
                  <a:pt x="3212" y="2444"/>
                </a:lnTo>
                <a:lnTo>
                  <a:pt x="3150" y="2435"/>
                </a:lnTo>
                <a:lnTo>
                  <a:pt x="3088" y="2427"/>
                </a:lnTo>
                <a:lnTo>
                  <a:pt x="3088" y="2427"/>
                </a:lnTo>
                <a:lnTo>
                  <a:pt x="3027" y="2435"/>
                </a:lnTo>
                <a:lnTo>
                  <a:pt x="2956" y="2444"/>
                </a:lnTo>
                <a:lnTo>
                  <a:pt x="2894" y="2462"/>
                </a:lnTo>
                <a:lnTo>
                  <a:pt x="2833" y="2480"/>
                </a:lnTo>
                <a:lnTo>
                  <a:pt x="2780" y="2506"/>
                </a:lnTo>
                <a:lnTo>
                  <a:pt x="2727" y="2541"/>
                </a:lnTo>
                <a:lnTo>
                  <a:pt x="2674" y="2577"/>
                </a:lnTo>
                <a:lnTo>
                  <a:pt x="2630" y="2621"/>
                </a:lnTo>
                <a:lnTo>
                  <a:pt x="2585" y="2665"/>
                </a:lnTo>
                <a:lnTo>
                  <a:pt x="2550" y="2709"/>
                </a:lnTo>
                <a:lnTo>
                  <a:pt x="2515" y="2762"/>
                </a:lnTo>
                <a:lnTo>
                  <a:pt x="2488" y="2824"/>
                </a:lnTo>
                <a:lnTo>
                  <a:pt x="2471" y="2885"/>
                </a:lnTo>
                <a:lnTo>
                  <a:pt x="2453" y="2947"/>
                </a:lnTo>
                <a:lnTo>
                  <a:pt x="2444" y="3009"/>
                </a:lnTo>
                <a:lnTo>
                  <a:pt x="2444" y="3080"/>
                </a:lnTo>
                <a:lnTo>
                  <a:pt x="2444" y="3080"/>
                </a:lnTo>
                <a:lnTo>
                  <a:pt x="2444" y="3141"/>
                </a:lnTo>
                <a:lnTo>
                  <a:pt x="2453" y="3194"/>
                </a:lnTo>
                <a:lnTo>
                  <a:pt x="2471" y="3256"/>
                </a:lnTo>
                <a:lnTo>
                  <a:pt x="2488" y="3309"/>
                </a:lnTo>
                <a:lnTo>
                  <a:pt x="2515" y="3362"/>
                </a:lnTo>
                <a:lnTo>
                  <a:pt x="2550" y="3415"/>
                </a:lnTo>
                <a:lnTo>
                  <a:pt x="2585" y="3459"/>
                </a:lnTo>
                <a:lnTo>
                  <a:pt x="2630" y="3503"/>
                </a:lnTo>
                <a:lnTo>
                  <a:pt x="2674" y="3547"/>
                </a:lnTo>
                <a:lnTo>
                  <a:pt x="2727" y="3583"/>
                </a:lnTo>
                <a:lnTo>
                  <a:pt x="2780" y="3609"/>
                </a:lnTo>
                <a:lnTo>
                  <a:pt x="2833" y="3636"/>
                </a:lnTo>
                <a:lnTo>
                  <a:pt x="2894" y="3662"/>
                </a:lnTo>
                <a:lnTo>
                  <a:pt x="2956" y="3671"/>
                </a:lnTo>
                <a:lnTo>
                  <a:pt x="3027" y="3680"/>
                </a:lnTo>
                <a:lnTo>
                  <a:pt x="3088" y="3689"/>
                </a:lnTo>
                <a:close/>
                <a:moveTo>
                  <a:pt x="7129" y="8021"/>
                </a:moveTo>
                <a:lnTo>
                  <a:pt x="7129" y="8021"/>
                </a:lnTo>
                <a:lnTo>
                  <a:pt x="6988" y="8127"/>
                </a:lnTo>
                <a:lnTo>
                  <a:pt x="6838" y="8224"/>
                </a:lnTo>
                <a:lnTo>
                  <a:pt x="6689" y="8321"/>
                </a:lnTo>
                <a:lnTo>
                  <a:pt x="6539" y="8400"/>
                </a:lnTo>
                <a:lnTo>
                  <a:pt x="6380" y="8480"/>
                </a:lnTo>
                <a:lnTo>
                  <a:pt x="6221" y="8559"/>
                </a:lnTo>
                <a:lnTo>
                  <a:pt x="6054" y="8621"/>
                </a:lnTo>
                <a:lnTo>
                  <a:pt x="5886" y="8683"/>
                </a:lnTo>
                <a:lnTo>
                  <a:pt x="5718" y="8736"/>
                </a:lnTo>
                <a:lnTo>
                  <a:pt x="5542" y="8789"/>
                </a:lnTo>
                <a:lnTo>
                  <a:pt x="5365" y="8824"/>
                </a:lnTo>
                <a:lnTo>
                  <a:pt x="5180" y="8859"/>
                </a:lnTo>
                <a:lnTo>
                  <a:pt x="5004" y="8886"/>
                </a:lnTo>
                <a:lnTo>
                  <a:pt x="4818" y="8903"/>
                </a:lnTo>
                <a:lnTo>
                  <a:pt x="4624" y="8912"/>
                </a:lnTo>
                <a:lnTo>
                  <a:pt x="4439" y="8921"/>
                </a:lnTo>
                <a:lnTo>
                  <a:pt x="4439" y="8921"/>
                </a:lnTo>
                <a:lnTo>
                  <a:pt x="4209" y="8912"/>
                </a:lnTo>
                <a:lnTo>
                  <a:pt x="3989" y="8894"/>
                </a:lnTo>
                <a:lnTo>
                  <a:pt x="3759" y="8868"/>
                </a:lnTo>
                <a:lnTo>
                  <a:pt x="3547" y="8824"/>
                </a:lnTo>
                <a:lnTo>
                  <a:pt x="3327" y="8780"/>
                </a:lnTo>
                <a:lnTo>
                  <a:pt x="3124" y="8718"/>
                </a:lnTo>
                <a:lnTo>
                  <a:pt x="2912" y="8647"/>
                </a:lnTo>
                <a:lnTo>
                  <a:pt x="2709" y="8568"/>
                </a:lnTo>
                <a:lnTo>
                  <a:pt x="2515" y="8480"/>
                </a:lnTo>
                <a:lnTo>
                  <a:pt x="2321" y="8383"/>
                </a:lnTo>
                <a:lnTo>
                  <a:pt x="2135" y="8277"/>
                </a:lnTo>
                <a:lnTo>
                  <a:pt x="1959" y="8153"/>
                </a:lnTo>
                <a:lnTo>
                  <a:pt x="1782" y="8030"/>
                </a:lnTo>
                <a:lnTo>
                  <a:pt x="1615" y="7897"/>
                </a:lnTo>
                <a:lnTo>
                  <a:pt x="1456" y="7765"/>
                </a:lnTo>
                <a:lnTo>
                  <a:pt x="1297" y="7615"/>
                </a:lnTo>
                <a:lnTo>
                  <a:pt x="1156" y="7456"/>
                </a:lnTo>
                <a:lnTo>
                  <a:pt x="1015" y="7297"/>
                </a:lnTo>
                <a:lnTo>
                  <a:pt x="882" y="7129"/>
                </a:lnTo>
                <a:lnTo>
                  <a:pt x="759" y="6953"/>
                </a:lnTo>
                <a:lnTo>
                  <a:pt x="644" y="6776"/>
                </a:lnTo>
                <a:lnTo>
                  <a:pt x="529" y="6583"/>
                </a:lnTo>
                <a:lnTo>
                  <a:pt x="432" y="6398"/>
                </a:lnTo>
                <a:lnTo>
                  <a:pt x="344" y="6195"/>
                </a:lnTo>
                <a:lnTo>
                  <a:pt x="264" y="5992"/>
                </a:lnTo>
                <a:lnTo>
                  <a:pt x="194" y="5789"/>
                </a:lnTo>
                <a:lnTo>
                  <a:pt x="132" y="5577"/>
                </a:lnTo>
                <a:lnTo>
                  <a:pt x="88" y="5357"/>
                </a:lnTo>
                <a:lnTo>
                  <a:pt x="44" y="5136"/>
                </a:lnTo>
                <a:lnTo>
                  <a:pt x="17" y="4915"/>
                </a:lnTo>
                <a:lnTo>
                  <a:pt x="0" y="4686"/>
                </a:lnTo>
                <a:lnTo>
                  <a:pt x="0" y="4456"/>
                </a:lnTo>
                <a:lnTo>
                  <a:pt x="0" y="4456"/>
                </a:lnTo>
                <a:lnTo>
                  <a:pt x="0" y="4227"/>
                </a:lnTo>
                <a:lnTo>
                  <a:pt x="17" y="3997"/>
                </a:lnTo>
                <a:lnTo>
                  <a:pt x="44" y="3777"/>
                </a:lnTo>
                <a:lnTo>
                  <a:pt x="88" y="3556"/>
                </a:lnTo>
                <a:lnTo>
                  <a:pt x="132" y="3336"/>
                </a:lnTo>
                <a:lnTo>
                  <a:pt x="194" y="3124"/>
                </a:lnTo>
                <a:lnTo>
                  <a:pt x="264" y="2921"/>
                </a:lnTo>
                <a:lnTo>
                  <a:pt x="344" y="2718"/>
                </a:lnTo>
                <a:lnTo>
                  <a:pt x="432" y="2515"/>
                </a:lnTo>
                <a:lnTo>
                  <a:pt x="529" y="2329"/>
                </a:lnTo>
                <a:lnTo>
                  <a:pt x="644" y="2135"/>
                </a:lnTo>
                <a:lnTo>
                  <a:pt x="759" y="1959"/>
                </a:lnTo>
                <a:lnTo>
                  <a:pt x="882" y="1782"/>
                </a:lnTo>
                <a:lnTo>
                  <a:pt x="1015" y="1615"/>
                </a:lnTo>
                <a:lnTo>
                  <a:pt x="1156" y="1456"/>
                </a:lnTo>
                <a:lnTo>
                  <a:pt x="1297" y="1297"/>
                </a:lnTo>
                <a:lnTo>
                  <a:pt x="1456" y="1147"/>
                </a:lnTo>
                <a:lnTo>
                  <a:pt x="1615" y="1015"/>
                </a:lnTo>
                <a:lnTo>
                  <a:pt x="1782" y="882"/>
                </a:lnTo>
                <a:lnTo>
                  <a:pt x="1959" y="759"/>
                </a:lnTo>
                <a:lnTo>
                  <a:pt x="2135" y="635"/>
                </a:lnTo>
                <a:lnTo>
                  <a:pt x="2321" y="529"/>
                </a:lnTo>
                <a:lnTo>
                  <a:pt x="2515" y="432"/>
                </a:lnTo>
                <a:lnTo>
                  <a:pt x="2709" y="344"/>
                </a:lnTo>
                <a:lnTo>
                  <a:pt x="2912" y="264"/>
                </a:lnTo>
                <a:lnTo>
                  <a:pt x="3124" y="194"/>
                </a:lnTo>
                <a:lnTo>
                  <a:pt x="3327" y="132"/>
                </a:lnTo>
                <a:lnTo>
                  <a:pt x="3547" y="88"/>
                </a:lnTo>
                <a:lnTo>
                  <a:pt x="3759" y="44"/>
                </a:lnTo>
                <a:lnTo>
                  <a:pt x="3989" y="17"/>
                </a:lnTo>
                <a:lnTo>
                  <a:pt x="4209" y="0"/>
                </a:lnTo>
                <a:lnTo>
                  <a:pt x="4439" y="0"/>
                </a:lnTo>
                <a:lnTo>
                  <a:pt x="4439" y="0"/>
                </a:lnTo>
                <a:lnTo>
                  <a:pt x="4668" y="0"/>
                </a:lnTo>
                <a:lnTo>
                  <a:pt x="4898" y="17"/>
                </a:lnTo>
                <a:lnTo>
                  <a:pt x="5118" y="44"/>
                </a:lnTo>
                <a:lnTo>
                  <a:pt x="5348" y="88"/>
                </a:lnTo>
                <a:lnTo>
                  <a:pt x="5559" y="132"/>
                </a:lnTo>
                <a:lnTo>
                  <a:pt x="5771" y="194"/>
                </a:lnTo>
                <a:lnTo>
                  <a:pt x="5983" y="264"/>
                </a:lnTo>
                <a:lnTo>
                  <a:pt x="6186" y="344"/>
                </a:lnTo>
                <a:lnTo>
                  <a:pt x="6389" y="432"/>
                </a:lnTo>
                <a:lnTo>
                  <a:pt x="6574" y="529"/>
                </a:lnTo>
                <a:lnTo>
                  <a:pt x="6768" y="635"/>
                </a:lnTo>
                <a:lnTo>
                  <a:pt x="6944" y="759"/>
                </a:lnTo>
                <a:lnTo>
                  <a:pt x="7121" y="882"/>
                </a:lnTo>
                <a:lnTo>
                  <a:pt x="7288" y="1015"/>
                </a:lnTo>
                <a:lnTo>
                  <a:pt x="7456" y="1147"/>
                </a:lnTo>
                <a:lnTo>
                  <a:pt x="7606" y="1297"/>
                </a:lnTo>
                <a:lnTo>
                  <a:pt x="7756" y="1456"/>
                </a:lnTo>
                <a:lnTo>
                  <a:pt x="7897" y="1615"/>
                </a:lnTo>
                <a:lnTo>
                  <a:pt x="8030" y="1782"/>
                </a:lnTo>
                <a:lnTo>
                  <a:pt x="8153" y="1959"/>
                </a:lnTo>
                <a:lnTo>
                  <a:pt x="8268" y="2135"/>
                </a:lnTo>
                <a:lnTo>
                  <a:pt x="8383" y="2329"/>
                </a:lnTo>
                <a:lnTo>
                  <a:pt x="8480" y="2515"/>
                </a:lnTo>
                <a:lnTo>
                  <a:pt x="8568" y="2718"/>
                </a:lnTo>
                <a:lnTo>
                  <a:pt x="8647" y="2921"/>
                </a:lnTo>
                <a:lnTo>
                  <a:pt x="8718" y="3124"/>
                </a:lnTo>
                <a:lnTo>
                  <a:pt x="8780" y="3336"/>
                </a:lnTo>
                <a:lnTo>
                  <a:pt x="8824" y="3556"/>
                </a:lnTo>
                <a:lnTo>
                  <a:pt x="8868" y="3777"/>
                </a:lnTo>
                <a:lnTo>
                  <a:pt x="8894" y="3997"/>
                </a:lnTo>
                <a:lnTo>
                  <a:pt x="8912" y="4227"/>
                </a:lnTo>
                <a:lnTo>
                  <a:pt x="8921" y="4456"/>
                </a:lnTo>
                <a:lnTo>
                  <a:pt x="8921" y="4456"/>
                </a:lnTo>
                <a:lnTo>
                  <a:pt x="8912" y="4642"/>
                </a:lnTo>
                <a:lnTo>
                  <a:pt x="8903" y="4818"/>
                </a:lnTo>
                <a:lnTo>
                  <a:pt x="8886" y="4986"/>
                </a:lnTo>
                <a:lnTo>
                  <a:pt x="8859" y="5154"/>
                </a:lnTo>
                <a:lnTo>
                  <a:pt x="8833" y="5321"/>
                </a:lnTo>
                <a:lnTo>
                  <a:pt x="8797" y="5480"/>
                </a:lnTo>
                <a:lnTo>
                  <a:pt x="8718" y="5798"/>
                </a:lnTo>
                <a:lnTo>
                  <a:pt x="8718" y="5798"/>
                </a:lnTo>
                <a:lnTo>
                  <a:pt x="13439" y="10456"/>
                </a:lnTo>
                <a:lnTo>
                  <a:pt x="13439" y="10456"/>
                </a:lnTo>
                <a:lnTo>
                  <a:pt x="13439" y="13298"/>
                </a:lnTo>
                <a:lnTo>
                  <a:pt x="13439" y="13298"/>
                </a:lnTo>
                <a:lnTo>
                  <a:pt x="10748" y="13298"/>
                </a:lnTo>
                <a:lnTo>
                  <a:pt x="10748" y="13298"/>
                </a:lnTo>
                <a:lnTo>
                  <a:pt x="10748" y="11471"/>
                </a:lnTo>
                <a:lnTo>
                  <a:pt x="10748" y="11471"/>
                </a:lnTo>
                <a:lnTo>
                  <a:pt x="9000" y="11471"/>
                </a:lnTo>
                <a:lnTo>
                  <a:pt x="9000" y="11471"/>
                </a:lnTo>
                <a:lnTo>
                  <a:pt x="9000" y="9689"/>
                </a:lnTo>
                <a:lnTo>
                  <a:pt x="9000" y="9689"/>
                </a:lnTo>
                <a:lnTo>
                  <a:pt x="7129" y="9689"/>
                </a:lnTo>
                <a:lnTo>
                  <a:pt x="7129" y="8021"/>
                </a:lnTo>
                <a:close/>
              </a:path>
            </a:pathLst>
          </a:custGeom>
          <a:noFill/>
          <a:ln w="28575" cap="flat">
            <a:solidFill>
              <a:srgbClr val="001F50"/>
            </a:solidFill>
            <a:bevel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32597">
              <a:defRPr/>
            </a:pPr>
            <a:endParaRPr lang="en-US" sz="1836">
              <a:solidFill>
                <a:srgbClr val="505050"/>
              </a:solidFill>
              <a:latin typeface="Segoe UI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EA67D13E-22CD-4486-A9F2-CD3317A182A1}"/>
              </a:ext>
            </a:extLst>
          </p:cNvPr>
          <p:cNvSpPr/>
          <p:nvPr/>
        </p:nvSpPr>
        <p:spPr>
          <a:xfrm>
            <a:off x="607542" y="3164637"/>
            <a:ext cx="845579" cy="345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1599" kern="0" spc="50">
                <a:solidFill>
                  <a:srgbClr val="353535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ybrid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1F09D33A-7652-4476-AC65-D2723CB89576}"/>
              </a:ext>
            </a:extLst>
          </p:cNvPr>
          <p:cNvSpPr/>
          <p:nvPr/>
        </p:nvSpPr>
        <p:spPr>
          <a:xfrm>
            <a:off x="413806" y="1826914"/>
            <a:ext cx="1233053" cy="345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32509">
              <a:defRPr/>
            </a:pPr>
            <a:r>
              <a:rPr lang="en-US" sz="1599" kern="0" spc="50">
                <a:solidFill>
                  <a:srgbClr val="353535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ductive</a:t>
            </a:r>
          </a:p>
        </p:txBody>
      </p:sp>
      <p:sp>
        <p:nvSpPr>
          <p:cNvPr id="94" name="speedometer_2">
            <a:extLst>
              <a:ext uri="{FF2B5EF4-FFF2-40B4-BE49-F238E27FC236}">
                <a16:creationId xmlns:a16="http://schemas.microsoft.com/office/drawing/2014/main" id="{C66B6F8E-3B6A-4D8E-AF1A-5DB38875608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17775" y="1183560"/>
            <a:ext cx="439680" cy="439678"/>
          </a:xfrm>
          <a:custGeom>
            <a:avLst/>
            <a:gdLst>
              <a:gd name="T0" fmla="*/ 155 w 281"/>
              <a:gd name="T1" fmla="*/ 155 h 281"/>
              <a:gd name="T2" fmla="*/ 126 w 281"/>
              <a:gd name="T3" fmla="*/ 155 h 281"/>
              <a:gd name="T4" fmla="*/ 126 w 281"/>
              <a:gd name="T5" fmla="*/ 126 h 281"/>
              <a:gd name="T6" fmla="*/ 155 w 281"/>
              <a:gd name="T7" fmla="*/ 126 h 281"/>
              <a:gd name="T8" fmla="*/ 155 w 281"/>
              <a:gd name="T9" fmla="*/ 155 h 281"/>
              <a:gd name="T10" fmla="*/ 140 w 281"/>
              <a:gd name="T11" fmla="*/ 0 h 281"/>
              <a:gd name="T12" fmla="*/ 0 w 281"/>
              <a:gd name="T13" fmla="*/ 141 h 281"/>
              <a:gd name="T14" fmla="*/ 140 w 281"/>
              <a:gd name="T15" fmla="*/ 281 h 281"/>
              <a:gd name="T16" fmla="*/ 281 w 281"/>
              <a:gd name="T17" fmla="*/ 141 h 281"/>
              <a:gd name="T18" fmla="*/ 140 w 281"/>
              <a:gd name="T19" fmla="*/ 0 h 281"/>
              <a:gd name="T20" fmla="*/ 214 w 281"/>
              <a:gd name="T21" fmla="*/ 210 h 281"/>
              <a:gd name="T22" fmla="*/ 241 w 281"/>
              <a:gd name="T23" fmla="*/ 141 h 281"/>
              <a:gd name="T24" fmla="*/ 235 w 281"/>
              <a:gd name="T25" fmla="*/ 105 h 281"/>
              <a:gd name="T26" fmla="*/ 174 w 281"/>
              <a:gd name="T27" fmla="*/ 45 h 281"/>
              <a:gd name="T28" fmla="*/ 140 w 281"/>
              <a:gd name="T29" fmla="*/ 40 h 281"/>
              <a:gd name="T30" fmla="*/ 40 w 281"/>
              <a:gd name="T31" fmla="*/ 141 h 281"/>
              <a:gd name="T32" fmla="*/ 67 w 281"/>
              <a:gd name="T33" fmla="*/ 210 h 281"/>
              <a:gd name="T34" fmla="*/ 212 w 281"/>
              <a:gd name="T35" fmla="*/ 69 h 281"/>
              <a:gd name="T36" fmla="*/ 157 w 281"/>
              <a:gd name="T37" fmla="*/ 124 h 2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81" h="281">
                <a:moveTo>
                  <a:pt x="155" y="155"/>
                </a:moveTo>
                <a:cubicBezTo>
                  <a:pt x="147" y="164"/>
                  <a:pt x="134" y="164"/>
                  <a:pt x="126" y="155"/>
                </a:cubicBezTo>
                <a:cubicBezTo>
                  <a:pt x="117" y="147"/>
                  <a:pt x="117" y="134"/>
                  <a:pt x="126" y="126"/>
                </a:cubicBezTo>
                <a:cubicBezTo>
                  <a:pt x="134" y="118"/>
                  <a:pt x="147" y="117"/>
                  <a:pt x="155" y="126"/>
                </a:cubicBezTo>
                <a:cubicBezTo>
                  <a:pt x="164" y="134"/>
                  <a:pt x="164" y="147"/>
                  <a:pt x="155" y="155"/>
                </a:cubicBezTo>
                <a:close/>
                <a:moveTo>
                  <a:pt x="140" y="0"/>
                </a:moveTo>
                <a:cubicBezTo>
                  <a:pt x="63" y="0"/>
                  <a:pt x="0" y="63"/>
                  <a:pt x="0" y="141"/>
                </a:cubicBezTo>
                <a:cubicBezTo>
                  <a:pt x="0" y="218"/>
                  <a:pt x="63" y="281"/>
                  <a:pt x="140" y="281"/>
                </a:cubicBezTo>
                <a:cubicBezTo>
                  <a:pt x="218" y="281"/>
                  <a:pt x="281" y="218"/>
                  <a:pt x="281" y="141"/>
                </a:cubicBezTo>
                <a:cubicBezTo>
                  <a:pt x="281" y="63"/>
                  <a:pt x="218" y="0"/>
                  <a:pt x="140" y="0"/>
                </a:cubicBezTo>
                <a:close/>
                <a:moveTo>
                  <a:pt x="214" y="210"/>
                </a:moveTo>
                <a:cubicBezTo>
                  <a:pt x="231" y="192"/>
                  <a:pt x="241" y="168"/>
                  <a:pt x="241" y="141"/>
                </a:cubicBezTo>
                <a:cubicBezTo>
                  <a:pt x="241" y="128"/>
                  <a:pt x="239" y="116"/>
                  <a:pt x="235" y="105"/>
                </a:cubicBezTo>
                <a:moveTo>
                  <a:pt x="174" y="45"/>
                </a:moveTo>
                <a:cubicBezTo>
                  <a:pt x="163" y="42"/>
                  <a:pt x="152" y="40"/>
                  <a:pt x="140" y="40"/>
                </a:cubicBezTo>
                <a:cubicBezTo>
                  <a:pt x="85" y="40"/>
                  <a:pt x="40" y="85"/>
                  <a:pt x="40" y="141"/>
                </a:cubicBezTo>
                <a:cubicBezTo>
                  <a:pt x="40" y="168"/>
                  <a:pt x="50" y="192"/>
                  <a:pt x="67" y="210"/>
                </a:cubicBezTo>
                <a:moveTo>
                  <a:pt x="212" y="69"/>
                </a:moveTo>
                <a:cubicBezTo>
                  <a:pt x="157" y="124"/>
                  <a:pt x="157" y="124"/>
                  <a:pt x="157" y="124"/>
                </a:cubicBezTo>
              </a:path>
            </a:pathLst>
          </a:custGeom>
          <a:noFill/>
          <a:ln w="28575">
            <a:solidFill>
              <a:srgbClr val="B3B2B4"/>
            </a:solidFill>
            <a:headEnd type="none" w="med" len="med"/>
            <a:tailEnd type="none" w="med" len="med"/>
          </a:ln>
          <a:effectLst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407C8F82-925F-4342-9824-1D96908E08E1}"/>
              </a:ext>
            </a:extLst>
          </p:cNvPr>
          <p:cNvGrpSpPr/>
          <p:nvPr/>
        </p:nvGrpSpPr>
        <p:grpSpPr>
          <a:xfrm>
            <a:off x="791606" y="2574304"/>
            <a:ext cx="460244" cy="449535"/>
            <a:chOff x="2088630" y="3287843"/>
            <a:chExt cx="429718" cy="419725"/>
          </a:xfrm>
          <a:noFill/>
        </p:grpSpPr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9220230F-20DF-40DA-A6AA-6C38E47DBA31}"/>
                </a:ext>
              </a:extLst>
            </p:cNvPr>
            <p:cNvSpPr/>
            <p:nvPr/>
          </p:nvSpPr>
          <p:spPr bwMode="auto">
            <a:xfrm>
              <a:off x="2213548" y="3287843"/>
              <a:ext cx="304800" cy="304800"/>
            </a:xfrm>
            <a:prstGeom prst="rect">
              <a:avLst/>
            </a:prstGeom>
            <a:noFill/>
            <a:ln w="28575">
              <a:solidFill>
                <a:srgbClr val="B3B2B4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" pitchFamily="34" charset="0"/>
              </a:endParaRPr>
            </a:p>
          </p:txBody>
        </p:sp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45BA0F79-6846-48AF-8284-BFA9A30557EE}"/>
                </a:ext>
              </a:extLst>
            </p:cNvPr>
            <p:cNvSpPr/>
            <p:nvPr/>
          </p:nvSpPr>
          <p:spPr bwMode="auto">
            <a:xfrm>
              <a:off x="2088630" y="3402768"/>
              <a:ext cx="304800" cy="304800"/>
            </a:xfrm>
            <a:prstGeom prst="rect">
              <a:avLst/>
            </a:prstGeom>
            <a:noFill/>
            <a:ln w="28575">
              <a:solidFill>
                <a:srgbClr val="B3B2B4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" pitchFamily="34" charset="0"/>
              </a:endParaRPr>
            </a:p>
          </p:txBody>
        </p:sp>
      </p:grpSp>
      <p:sp>
        <p:nvSpPr>
          <p:cNvPr id="131" name="Title 1">
            <a:extLst>
              <a:ext uri="{FF2B5EF4-FFF2-40B4-BE49-F238E27FC236}">
                <a16:creationId xmlns:a16="http://schemas.microsoft.com/office/drawing/2014/main" id="{D4509856-EB69-4A09-8BB9-F5633A22593E}"/>
              </a:ext>
            </a:extLst>
          </p:cNvPr>
          <p:cNvSpPr txBox="1">
            <a:spLocks/>
          </p:cNvSpPr>
          <p:nvPr/>
        </p:nvSpPr>
        <p:spPr>
          <a:xfrm>
            <a:off x="2404815" y="72745"/>
            <a:ext cx="9435761" cy="917444"/>
          </a:xfrm>
          <a:prstGeom prst="rect">
            <a:avLst/>
          </a:prstGeom>
        </p:spPr>
        <p:txBody>
          <a:bodyPr vert="horz" wrap="square" lIns="146283" tIns="91427" rIns="146283" bIns="91427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 defTabSz="932563">
              <a:spcAft>
                <a:spcPts val="600"/>
              </a:spcAft>
              <a:defRPr/>
            </a:pPr>
            <a:r>
              <a:rPr lang="en-US" sz="3672" dirty="0">
                <a:solidFill>
                  <a:srgbClr val="4F504F"/>
                </a:solidFill>
                <a:latin typeface="Segoe UI Light"/>
              </a:rPr>
              <a:t>Azure Region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A154D64-3992-446E-96D0-5B08116002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57049" y="1100550"/>
            <a:ext cx="9734550" cy="5543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7138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75E-6 4.81481E-6 L 3.75E-6 0.04583 " pathEditMode="relative" rAng="0" ptsTypes="AA">
                                      <p:cBhvr>
                                        <p:cTn id="9" dur="500" spd="-10000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29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1" grpId="0"/>
      <p:bldP spid="131" grpId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6E87DE3-80FE-40F5-B204-B49AA0F8C2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w Featur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03E9F44-1E9B-4A00-9AAC-DFA0649231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3237" y="2201862"/>
            <a:ext cx="3464304" cy="40386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0D011A2-6D54-40F4-858D-72CA963CEF5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41495" y="2201862"/>
            <a:ext cx="3276600" cy="4216698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20F19DF8-7166-48F7-9CF3-97CDA9F36909}"/>
              </a:ext>
            </a:extLst>
          </p:cNvPr>
          <p:cNvSpPr/>
          <p:nvPr/>
        </p:nvSpPr>
        <p:spPr>
          <a:xfrm>
            <a:off x="387675" y="6505052"/>
            <a:ext cx="387978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hlinkClick r:id="rId5"/>
              </a:rPr>
              <a:t>https://azure.microsoft.com/updates</a:t>
            </a:r>
            <a:r>
              <a:rPr lang="en-US" dirty="0"/>
              <a:t>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FB95FFF-C1EE-4463-9CE1-94369C9011D8}"/>
              </a:ext>
            </a:extLst>
          </p:cNvPr>
          <p:cNvSpPr/>
          <p:nvPr/>
        </p:nvSpPr>
        <p:spPr>
          <a:xfrm>
            <a:off x="4237037" y="6499741"/>
            <a:ext cx="398295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hlinkClick r:id="rId6"/>
              </a:rPr>
              <a:t>https://azure.microsoft.com/roadmap</a:t>
            </a:r>
            <a:r>
              <a:rPr lang="en-US" dirty="0"/>
              <a:t>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FD9A089-FD65-4A5C-8D1E-77CEF89E95CE}"/>
              </a:ext>
            </a:extLst>
          </p:cNvPr>
          <p:cNvSpPr/>
          <p:nvPr/>
        </p:nvSpPr>
        <p:spPr>
          <a:xfrm>
            <a:off x="8504237" y="6499741"/>
            <a:ext cx="286007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hlinkClick r:id="rId7"/>
              </a:rPr>
              <a:t>http://feedback.azure.com</a:t>
            </a:r>
            <a:r>
              <a:rPr lang="en-US" dirty="0"/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D7CDAD3-2C81-4CB3-B25E-4C6C021C40DF}"/>
              </a:ext>
            </a:extLst>
          </p:cNvPr>
          <p:cNvSpPr txBox="1"/>
          <p:nvPr/>
        </p:nvSpPr>
        <p:spPr>
          <a:xfrm>
            <a:off x="387675" y="1592783"/>
            <a:ext cx="2238562" cy="627864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What we did…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EF5809B-5096-4CAB-803D-9F488198BFA9}"/>
              </a:ext>
            </a:extLst>
          </p:cNvPr>
          <p:cNvSpPr txBox="1"/>
          <p:nvPr/>
        </p:nvSpPr>
        <p:spPr>
          <a:xfrm>
            <a:off x="4160273" y="1592783"/>
            <a:ext cx="3468835" cy="627864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What we are planning…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8104774-B499-42EA-9716-D244C4DB5B30}"/>
              </a:ext>
            </a:extLst>
          </p:cNvPr>
          <p:cNvSpPr txBox="1"/>
          <p:nvPr/>
        </p:nvSpPr>
        <p:spPr>
          <a:xfrm>
            <a:off x="8275637" y="1573998"/>
            <a:ext cx="3744551" cy="627864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What you want us to do…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99FE0D3A-1619-4297-BCAC-472CB73CE3E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428037" y="2201862"/>
            <a:ext cx="3200400" cy="4346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5626800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792532-FBFA-4C4F-B59D-CF2471BECF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MG! What Should I Pick?</a:t>
            </a:r>
            <a:br>
              <a:rPr lang="en-US" dirty="0"/>
            </a:b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1F8589-39A4-4EAC-BFBC-8EF9FE3B8CE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9502" y="2049462"/>
            <a:ext cx="3428935" cy="3120854"/>
          </a:xfrm>
        </p:spPr>
        <p:txBody>
          <a:bodyPr/>
          <a:lstStyle/>
          <a:p>
            <a:r>
              <a:rPr lang="en-US" dirty="0"/>
              <a:t>VMs</a:t>
            </a:r>
          </a:p>
          <a:p>
            <a:r>
              <a:rPr lang="en-US" dirty="0"/>
              <a:t>Containers</a:t>
            </a:r>
          </a:p>
          <a:p>
            <a:r>
              <a:rPr lang="en-US" dirty="0"/>
              <a:t>Service Fabric</a:t>
            </a:r>
          </a:p>
          <a:p>
            <a:r>
              <a:rPr lang="en-US" dirty="0"/>
              <a:t>AppService</a:t>
            </a:r>
          </a:p>
          <a:p>
            <a:r>
              <a:rPr lang="en-US" dirty="0"/>
              <a:t>Function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054D68A-006A-437B-9D43-11FA28FE9C38}"/>
              </a:ext>
            </a:extLst>
          </p:cNvPr>
          <p:cNvSpPr/>
          <p:nvPr/>
        </p:nvSpPr>
        <p:spPr>
          <a:xfrm>
            <a:off x="198437" y="6392862"/>
            <a:ext cx="886936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https://docs.microsoft.com/en-us/azure/app-service/choose-web-site-cloud-service-vm</a:t>
            </a:r>
          </a:p>
        </p:txBody>
      </p:sp>
      <p:sp>
        <p:nvSpPr>
          <p:cNvPr id="5" name="Arrow: Up-Down 4">
            <a:extLst>
              <a:ext uri="{FF2B5EF4-FFF2-40B4-BE49-F238E27FC236}">
                <a16:creationId xmlns:a16="http://schemas.microsoft.com/office/drawing/2014/main" id="{7A6F800C-D947-4B43-B61E-36223E7AA5A8}"/>
              </a:ext>
            </a:extLst>
          </p:cNvPr>
          <p:cNvSpPr/>
          <p:nvPr/>
        </p:nvSpPr>
        <p:spPr bwMode="auto">
          <a:xfrm>
            <a:off x="4252118" y="2049462"/>
            <a:ext cx="685800" cy="3120854"/>
          </a:xfrm>
          <a:prstGeom prst="upDown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DA570548-4EA5-458F-AC0F-B2C38A37CDEE}"/>
              </a:ext>
            </a:extLst>
          </p:cNvPr>
          <p:cNvSpPr txBox="1">
            <a:spLocks/>
          </p:cNvSpPr>
          <p:nvPr/>
        </p:nvSpPr>
        <p:spPr>
          <a:xfrm>
            <a:off x="5456237" y="2049462"/>
            <a:ext cx="3428935" cy="312085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4572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858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144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430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Iaa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PaaS</a:t>
            </a:r>
          </a:p>
        </p:txBody>
      </p:sp>
      <p:sp>
        <p:nvSpPr>
          <p:cNvPr id="7" name="Arrow: Up-Down 6">
            <a:extLst>
              <a:ext uri="{FF2B5EF4-FFF2-40B4-BE49-F238E27FC236}">
                <a16:creationId xmlns:a16="http://schemas.microsoft.com/office/drawing/2014/main" id="{4492D604-5F47-4292-8CF1-5C46AB0CBC45}"/>
              </a:ext>
            </a:extLst>
          </p:cNvPr>
          <p:cNvSpPr/>
          <p:nvPr/>
        </p:nvSpPr>
        <p:spPr bwMode="auto">
          <a:xfrm>
            <a:off x="7361237" y="2049462"/>
            <a:ext cx="685800" cy="3120854"/>
          </a:xfrm>
          <a:prstGeom prst="upDown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92401252-3B6A-4BD7-B80E-F154E246E839}"/>
              </a:ext>
            </a:extLst>
          </p:cNvPr>
          <p:cNvSpPr txBox="1">
            <a:spLocks/>
          </p:cNvSpPr>
          <p:nvPr/>
        </p:nvSpPr>
        <p:spPr>
          <a:xfrm>
            <a:off x="8428037" y="2049462"/>
            <a:ext cx="3428935" cy="312085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4572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858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144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430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ontrol</a:t>
            </a:r>
          </a:p>
          <a:p>
            <a:endParaRPr lang="en-US" dirty="0"/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Agility</a:t>
            </a:r>
          </a:p>
        </p:txBody>
      </p:sp>
    </p:spTree>
    <p:extLst>
      <p:ext uri="{BB962C8B-B14F-4D97-AF65-F5344CB8AC3E}">
        <p14:creationId xmlns:p14="http://schemas.microsoft.com/office/powerpoint/2010/main" val="2548305000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2C02E5-D277-48BB-AFD4-27C11FF5C5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on Options for working with Azu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979CC70-44F1-40F5-B6DE-16101ED5EF0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702" y="1211287"/>
            <a:ext cx="11888787" cy="4542782"/>
          </a:xfrm>
        </p:spPr>
        <p:txBody>
          <a:bodyPr/>
          <a:lstStyle/>
          <a:p>
            <a:r>
              <a:rPr lang="en-US" dirty="0"/>
              <a:t>Azure Portal: </a:t>
            </a:r>
            <a:r>
              <a:rPr lang="en-US" dirty="0">
                <a:hlinkClick r:id="rId2"/>
              </a:rPr>
              <a:t>https://portal.azure.com</a:t>
            </a:r>
            <a:endParaRPr lang="en-US" dirty="0"/>
          </a:p>
          <a:p>
            <a:r>
              <a:rPr lang="en-US" dirty="0"/>
              <a:t>Azure Online Shell: </a:t>
            </a:r>
            <a:r>
              <a:rPr lang="en-US" dirty="0">
                <a:hlinkClick r:id="rId3"/>
              </a:rPr>
              <a:t>https://shell.azure.com</a:t>
            </a:r>
            <a:endParaRPr lang="en-US" dirty="0"/>
          </a:p>
          <a:p>
            <a:pPr lvl="1"/>
            <a:r>
              <a:rPr lang="en-US" dirty="0"/>
              <a:t>Windows PowerShell, Linux Bash CLI</a:t>
            </a:r>
          </a:p>
          <a:p>
            <a:r>
              <a:rPr lang="en-US" dirty="0"/>
              <a:t>Local</a:t>
            </a:r>
          </a:p>
          <a:p>
            <a:pPr lvl="1"/>
            <a:r>
              <a:rPr lang="en-US" dirty="0"/>
              <a:t>Windows PowerShell or CLI, Linux Bash CLI</a:t>
            </a:r>
          </a:p>
          <a:p>
            <a:r>
              <a:rPr lang="en-US" dirty="0"/>
              <a:t>ARM Template</a:t>
            </a:r>
          </a:p>
          <a:p>
            <a:pPr lvl="1"/>
            <a:r>
              <a:rPr lang="en-US" dirty="0"/>
              <a:t>Declarative JSON Template</a:t>
            </a:r>
          </a:p>
          <a:p>
            <a:r>
              <a:rPr lang="en-US" dirty="0"/>
              <a:t>Azure Resource Explorer: </a:t>
            </a:r>
            <a:r>
              <a:rPr lang="en-US" dirty="0">
                <a:hlinkClick r:id="rId4"/>
              </a:rPr>
              <a:t>https://resources.azure.com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25425776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5693866"/>
          </a:xfrm>
        </p:spPr>
        <p:txBody>
          <a:bodyPr/>
          <a:lstStyle/>
          <a:p>
            <a:r>
              <a:rPr lang="en-US" dirty="0"/>
              <a:t>Rate </a:t>
            </a:r>
            <a:r>
              <a:rPr lang="en-US" sz="3600" dirty="0"/>
              <a:t>My Talk &amp; Download Slides!</a:t>
            </a:r>
          </a:p>
          <a:p>
            <a:pPr marL="342900" lvl="1" indent="0">
              <a:buNone/>
            </a:pPr>
            <a:endParaRPr lang="en-US" sz="2000" b="1" dirty="0"/>
          </a:p>
          <a:p>
            <a:pPr marL="342900" lvl="1" indent="0">
              <a:buNone/>
            </a:pPr>
            <a:r>
              <a:rPr lang="en-US" sz="6000" b="1" dirty="0"/>
              <a:t>	http://bit.ly/RateShawnsTalk</a:t>
            </a:r>
          </a:p>
          <a:p>
            <a:pPr marL="342900" lvl="1" indent="0" algn="ctr">
              <a:buNone/>
            </a:pPr>
            <a:r>
              <a:rPr lang="en-US" sz="3200" dirty="0"/>
              <a:t>(case sensitive)</a:t>
            </a:r>
            <a:r>
              <a:rPr lang="en-US" sz="6000" dirty="0"/>
              <a:t> </a:t>
            </a:r>
          </a:p>
          <a:p>
            <a:r>
              <a:rPr lang="en-US" dirty="0"/>
              <a:t>Contact Information</a:t>
            </a:r>
          </a:p>
          <a:p>
            <a:pPr lvl="1"/>
            <a:r>
              <a:rPr lang="en-US" dirty="0"/>
              <a:t>Email: sweisfel@microsoft.com</a:t>
            </a:r>
          </a:p>
          <a:p>
            <a:pPr lvl="1"/>
            <a:r>
              <a:rPr lang="en-US" dirty="0"/>
              <a:t>Blog: http://www.shawnweisfeld.com</a:t>
            </a:r>
          </a:p>
          <a:p>
            <a:pPr lvl="1"/>
            <a:r>
              <a:rPr lang="en-US" dirty="0"/>
              <a:t>Twitter: @</a:t>
            </a:r>
            <a:r>
              <a:rPr lang="en-US" dirty="0" err="1"/>
              <a:t>shawnweisfeld</a:t>
            </a:r>
            <a:endParaRPr lang="en-US" dirty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! Your Feedback is Important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23237" y="3293034"/>
            <a:ext cx="3438525" cy="3480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1751665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02828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1F702F-02DA-4C30-A940-68FDEA8F5F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day’s Agend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9E2E8C6-0658-4ABB-A5FE-CAE8FAEF003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702" y="1211287"/>
            <a:ext cx="11888787" cy="4505849"/>
          </a:xfrm>
        </p:spPr>
        <p:txBody>
          <a:bodyPr/>
          <a:lstStyle/>
          <a:p>
            <a:r>
              <a:rPr lang="en-US" dirty="0"/>
              <a:t>1:00 PM An </a:t>
            </a:r>
            <a:r>
              <a:rPr lang="en-US" b="1" dirty="0"/>
              <a:t>Introduction to Blockchain on Azure</a:t>
            </a:r>
            <a:r>
              <a:rPr lang="en-US" dirty="0"/>
              <a:t> by Sucharit Reddy Microsoft CSA</a:t>
            </a:r>
          </a:p>
          <a:p>
            <a:r>
              <a:rPr lang="en-US" dirty="0"/>
              <a:t>2:15 PM </a:t>
            </a:r>
            <a:r>
              <a:rPr lang="en-US" b="1" dirty="0"/>
              <a:t>Getting Hands-on with Azure Logic Apps </a:t>
            </a:r>
            <a:r>
              <a:rPr lang="en-US" dirty="0"/>
              <a:t>by Stephen W. Thomas Consultant and Founder of http://www.BizTalkGurus.com</a:t>
            </a:r>
          </a:p>
          <a:p>
            <a:r>
              <a:rPr lang="en-US" dirty="0"/>
              <a:t>3:30 PM </a:t>
            </a:r>
            <a:r>
              <a:rPr lang="en-US" b="1" dirty="0"/>
              <a:t>The Domain Model of Continuous Delivery </a:t>
            </a:r>
            <a:r>
              <a:rPr lang="en-US" dirty="0"/>
              <a:t>by Jeffrey Palermo CEO of Clear Measure and Microsoft MVP</a:t>
            </a:r>
          </a:p>
          <a:p>
            <a:r>
              <a:rPr lang="en-US" dirty="0"/>
              <a:t>4:30 PM Closing Session and Wrap up</a:t>
            </a:r>
          </a:p>
        </p:txBody>
      </p:sp>
    </p:spTree>
    <p:extLst>
      <p:ext uri="{BB962C8B-B14F-4D97-AF65-F5344CB8AC3E}">
        <p14:creationId xmlns:p14="http://schemas.microsoft.com/office/powerpoint/2010/main" val="432912358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B4980C-80EB-48A1-A41C-F4F99F4B68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gistic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49EC8C2-81A1-4DB8-AEF5-DCC916204BB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702" y="1211287"/>
            <a:ext cx="11888787" cy="1902059"/>
          </a:xfrm>
        </p:spPr>
        <p:txBody>
          <a:bodyPr/>
          <a:lstStyle/>
          <a:p>
            <a:r>
              <a:rPr lang="en-US" dirty="0"/>
              <a:t>Restrooms</a:t>
            </a:r>
          </a:p>
          <a:p>
            <a:r>
              <a:rPr lang="en-US" dirty="0"/>
              <a:t>Food</a:t>
            </a:r>
          </a:p>
          <a:p>
            <a:r>
              <a:rPr lang="en-US" dirty="0"/>
              <a:t>Code of Conduct</a:t>
            </a:r>
          </a:p>
        </p:txBody>
      </p:sp>
    </p:spTree>
    <p:extLst>
      <p:ext uri="{BB962C8B-B14F-4D97-AF65-F5344CB8AC3E}">
        <p14:creationId xmlns:p14="http://schemas.microsoft.com/office/powerpoint/2010/main" val="3257301352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32AC85-DC65-4C2A-9C1E-2DD1364FAA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ther Regional Even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ACFFDE-67C4-42FD-A7D1-9C3349A3C2E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702" y="1211287"/>
            <a:ext cx="11888787" cy="1292662"/>
          </a:xfrm>
        </p:spPr>
        <p:txBody>
          <a:bodyPr/>
          <a:lstStyle/>
          <a:p>
            <a:r>
              <a:rPr lang="en-US" b="1" dirty="0"/>
              <a:t>http://aka.ms/AustinEvents</a:t>
            </a:r>
          </a:p>
          <a:p>
            <a:endParaRPr lang="en-US" b="1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71E8646-4200-45CC-82CE-EC4457E49CC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22699" y="2128862"/>
            <a:ext cx="6113176" cy="4301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9107846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8A1272-7E04-49DA-A47A-615796FE34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S Live Austi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01D19A-644A-4C82-B383-8E12E7A17D9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702" y="1211287"/>
            <a:ext cx="11888787" cy="1292662"/>
          </a:xfrm>
        </p:spPr>
        <p:txBody>
          <a:bodyPr/>
          <a:lstStyle/>
          <a:p>
            <a:r>
              <a:rPr lang="en-US" dirty="0"/>
              <a:t>April 30 - May 4, 2018</a:t>
            </a:r>
          </a:p>
          <a:p>
            <a:r>
              <a:rPr lang="en-US" dirty="0"/>
              <a:t>Save $500 with code ATUG02 - </a:t>
            </a:r>
            <a:r>
              <a:rPr lang="en-US" b="1" dirty="0"/>
              <a:t>http://bit.ly/ATUG02Hom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4C4D087-8C67-46A7-ADB2-7D16436F2743}"/>
              </a:ext>
            </a:extLst>
          </p:cNvPr>
          <p:cNvSpPr/>
          <p:nvPr/>
        </p:nvSpPr>
        <p:spPr>
          <a:xfrm>
            <a:off x="7132637" y="6465267"/>
            <a:ext cx="506831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dirty="0"/>
              <a:t>https://aka.ms/2018GABAustinSurvey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A0C446E-7BA9-412D-9F08-F5B4B04708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45320"/>
            <a:ext cx="12436475" cy="303791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C415FB3-CF6C-43D7-BCEA-43C4DF40B9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32437" y="205050"/>
            <a:ext cx="6675436" cy="1330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679337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72B4584-9F97-4C72-AA26-E766C03D98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in 60 minut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2A14C8A-9E1E-42B3-B177-E1A184A07AC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Shawn Weisfeld</a:t>
            </a:r>
          </a:p>
          <a:p>
            <a:r>
              <a:rPr lang="en-US" dirty="0"/>
              <a:t>Cloud Solution Architect</a:t>
            </a:r>
          </a:p>
          <a:p>
            <a:r>
              <a:rPr lang="en-US" dirty="0"/>
              <a:t>Microsoft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3738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bout Me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3"/>
          <a:srcRect l="584" t="9952" r="2677" b="15206"/>
          <a:stretch/>
        </p:blipFill>
        <p:spPr>
          <a:xfrm>
            <a:off x="503237" y="1211262"/>
            <a:ext cx="2514600" cy="2514600"/>
          </a:xfrm>
          <a:custGeom>
            <a:avLst/>
            <a:gdLst>
              <a:gd name="connsiteX0" fmla="*/ 0 w 2514600"/>
              <a:gd name="connsiteY0" fmla="*/ 0 h 2514600"/>
              <a:gd name="connsiteX1" fmla="*/ 2514600 w 2514600"/>
              <a:gd name="connsiteY1" fmla="*/ 0 h 2514600"/>
              <a:gd name="connsiteX2" fmla="*/ 2514600 w 2514600"/>
              <a:gd name="connsiteY2" fmla="*/ 2514600 h 2514600"/>
              <a:gd name="connsiteX3" fmla="*/ 0 w 2514600"/>
              <a:gd name="connsiteY3" fmla="*/ 2514600 h 2514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4600" h="2514600">
                <a:moveTo>
                  <a:pt x="0" y="0"/>
                </a:moveTo>
                <a:lnTo>
                  <a:pt x="2514600" y="0"/>
                </a:lnTo>
                <a:lnTo>
                  <a:pt x="2514600" y="2514600"/>
                </a:lnTo>
                <a:lnTo>
                  <a:pt x="0" y="2514600"/>
                </a:lnTo>
                <a:close/>
              </a:path>
            </a:pathLst>
          </a:custGeom>
        </p:spPr>
      </p:pic>
      <p:sp>
        <p:nvSpPr>
          <p:cNvPr id="12" name="Rectangle 11"/>
          <p:cNvSpPr/>
          <p:nvPr/>
        </p:nvSpPr>
        <p:spPr bwMode="auto">
          <a:xfrm>
            <a:off x="3017837" y="1211262"/>
            <a:ext cx="8382000" cy="251460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000" b="1" dirty="0">
                <a:solidFill>
                  <a:schemeClr val="tx1"/>
                </a:solidFill>
                <a:ea typeface="Segoe UI Light" charset="0"/>
                <a:cs typeface="Segoe UI Light" charset="0"/>
              </a:rPr>
              <a:t>Shawn </a:t>
            </a:r>
            <a:r>
              <a:rPr lang="en-US" sz="2000" b="1" dirty="0" err="1">
                <a:solidFill>
                  <a:schemeClr val="tx1"/>
                </a:solidFill>
                <a:ea typeface="Segoe UI Light" charset="0"/>
                <a:cs typeface="Segoe UI Light" charset="0"/>
              </a:rPr>
              <a:t>Weisfeld</a:t>
            </a:r>
            <a:endParaRPr lang="en-US" sz="2000" b="1" dirty="0">
              <a:solidFill>
                <a:schemeClr val="tx1"/>
              </a:solidFill>
              <a:ea typeface="Segoe UI Light" charset="0"/>
              <a:cs typeface="Segoe UI Light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000" dirty="0">
                <a:solidFill>
                  <a:schemeClr val="tx1"/>
                </a:solidFill>
                <a:ea typeface="Segoe UI Light" charset="0"/>
                <a:cs typeface="Segoe UI Light" charset="0"/>
              </a:rPr>
              <a:t>Cloud Solution Architect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000" dirty="0">
                <a:solidFill>
                  <a:schemeClr val="tx1"/>
                </a:solidFill>
                <a:ea typeface="Segoe UI Light" charset="0"/>
                <a:cs typeface="Segoe UI Light" charset="0"/>
              </a:rPr>
              <a:t>Microsoft – One Commercial Partner Technical Team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000" u="sng" dirty="0">
                <a:solidFill>
                  <a:schemeClr val="bg1"/>
                </a:solidFill>
                <a:hlinkClick r:id="rId4"/>
              </a:rPr>
              <a:t>sweisfel@microsoft.com</a:t>
            </a:r>
            <a:r>
              <a:rPr lang="en-US" sz="2000" u="sng" dirty="0">
                <a:solidFill>
                  <a:schemeClr val="bg1"/>
                </a:solidFill>
              </a:rPr>
              <a:t> </a:t>
            </a:r>
            <a:endParaRPr lang="en-US" sz="2000" dirty="0">
              <a:solidFill>
                <a:schemeClr val="tx1"/>
              </a:solidFill>
              <a:ea typeface="Segoe UI Light" charset="0"/>
              <a:cs typeface="Segoe UI Light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000" dirty="0">
                <a:solidFill>
                  <a:schemeClr val="tx1"/>
                </a:solidFill>
                <a:ea typeface="Segoe UI Light" charset="0"/>
                <a:cs typeface="Segoe UI Light" charset="0"/>
              </a:rPr>
              <a:t>Austin, TX</a:t>
            </a:r>
          </a:p>
        </p:txBody>
      </p:sp>
    </p:spTree>
    <p:extLst>
      <p:ext uri="{BB962C8B-B14F-4D97-AF65-F5344CB8AC3E}">
        <p14:creationId xmlns:p14="http://schemas.microsoft.com/office/powerpoint/2010/main" val="615709689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4400" b="1" dirty="0"/>
              <a:t>Watch User Group presentations for </a:t>
            </a:r>
            <a:r>
              <a:rPr lang="en-US" sz="4800" b="1" dirty="0"/>
              <a:t>FREE </a:t>
            </a:r>
            <a:r>
              <a:rPr lang="en-US" sz="4400" b="1" dirty="0"/>
              <a:t>online!</a:t>
            </a:r>
            <a:br>
              <a:rPr lang="en-US" sz="4400" b="1" dirty="0"/>
            </a:br>
            <a:r>
              <a:rPr lang="en-US" sz="4400" dirty="0"/>
              <a:t>We now have over </a:t>
            </a:r>
            <a:r>
              <a:rPr lang="en-US" b="1" dirty="0"/>
              <a:t>750 </a:t>
            </a:r>
            <a:r>
              <a:rPr lang="en-US" sz="4400" dirty="0"/>
              <a:t>presentations online</a:t>
            </a:r>
            <a:br>
              <a:rPr lang="en-US" sz="4400" dirty="0"/>
            </a:br>
            <a:br>
              <a:rPr lang="en-US" sz="4400" b="1" dirty="0"/>
            </a:br>
            <a:endParaRPr lang="en-US" sz="4400" b="1" dirty="0"/>
          </a:p>
        </p:txBody>
      </p:sp>
      <p:sp>
        <p:nvSpPr>
          <p:cNvPr id="4" name="TextBox 3"/>
          <p:cNvSpPr txBox="1"/>
          <p:nvPr/>
        </p:nvSpPr>
        <p:spPr>
          <a:xfrm>
            <a:off x="427037" y="2049462"/>
            <a:ext cx="451621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n-US" dirty="0"/>
              <a:t>Miss a User Group meeting?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/>
              <a:t>Forget something that you learned?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/>
              <a:t>Want to see content from a User Group not in your area?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/>
              <a:t>Want to share with a buddy?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5511993" y="2197527"/>
            <a:ext cx="294833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We know you cannot make it to every session, </a:t>
            </a:r>
          </a:p>
          <a:p>
            <a:pPr algn="ctr"/>
            <a:r>
              <a:rPr lang="en-US" dirty="0"/>
              <a:t>that is why we post them online for you!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162174" y="3907551"/>
            <a:ext cx="581782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New Content added all the time!</a:t>
            </a:r>
          </a:p>
        </p:txBody>
      </p:sp>
      <p:grpSp>
        <p:nvGrpSpPr>
          <p:cNvPr id="16" name="Group 15"/>
          <p:cNvGrpSpPr/>
          <p:nvPr/>
        </p:nvGrpSpPr>
        <p:grpSpPr>
          <a:xfrm>
            <a:off x="274639" y="5216493"/>
            <a:ext cx="2598276" cy="1446550"/>
            <a:chOff x="5900737" y="4977318"/>
            <a:chExt cx="2598276" cy="1446550"/>
          </a:xfrm>
        </p:grpSpPr>
        <p:sp>
          <p:nvSpPr>
            <p:cNvPr id="7" name="TextBox 6"/>
            <p:cNvSpPr txBox="1"/>
            <p:nvPr/>
          </p:nvSpPr>
          <p:spPr>
            <a:xfrm>
              <a:off x="5900737" y="4977318"/>
              <a:ext cx="2598276" cy="1446550"/>
            </a:xfrm>
            <a:prstGeom prst="rect">
              <a:avLst/>
            </a:prstGeom>
            <a:noFill/>
            <a:ln cmpd="thickThin">
              <a:solidFill>
                <a:schemeClr val="accent1"/>
              </a:solidFill>
            </a:ln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400" dirty="0"/>
                <a:t>For new content announcements</a:t>
              </a:r>
            </a:p>
            <a:p>
              <a:pPr algn="ctr"/>
              <a:endParaRPr lang="en-US" sz="1400" dirty="0"/>
            </a:p>
            <a:p>
              <a:pPr algn="ctr"/>
              <a:endParaRPr lang="en-US" sz="1400" dirty="0"/>
            </a:p>
            <a:p>
              <a:pPr algn="ctr"/>
              <a:endParaRPr lang="en-US" sz="1400" dirty="0"/>
            </a:p>
            <a:p>
              <a:pPr algn="ctr"/>
              <a:endParaRPr lang="en-US" sz="1400" dirty="0"/>
            </a:p>
            <a:p>
              <a:pPr algn="ctr"/>
              <a:r>
                <a:rPr lang="en-US" dirty="0"/>
                <a:t>@</a:t>
              </a:r>
              <a:r>
                <a:rPr lang="en-US" dirty="0" err="1"/>
                <a:t>UserGroupTV</a:t>
              </a:r>
              <a:endParaRPr lang="en-US" dirty="0"/>
            </a:p>
          </p:txBody>
        </p:sp>
        <p:pic>
          <p:nvPicPr>
            <p:cNvPr id="8" name="Picture 3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39712" y="5319593"/>
              <a:ext cx="1707444" cy="7620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9" name="TextBox 8"/>
          <p:cNvSpPr txBox="1"/>
          <p:nvPr/>
        </p:nvSpPr>
        <p:spPr>
          <a:xfrm>
            <a:off x="9029077" y="2184002"/>
            <a:ext cx="3079814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Presentations from the thought leaders on the topics you care about including:</a:t>
            </a:r>
          </a:p>
          <a:p>
            <a:endParaRPr lang="en-US" sz="1200" dirty="0"/>
          </a:p>
          <a:p>
            <a:pPr marL="280121" indent="-280121">
              <a:buFont typeface="Arial" pitchFamily="34" charset="0"/>
              <a:buChar char="•"/>
            </a:pPr>
            <a:r>
              <a:rPr lang="en-US" sz="1200" dirty="0"/>
              <a:t>Agile</a:t>
            </a:r>
          </a:p>
          <a:p>
            <a:pPr marL="280121" indent="-280121">
              <a:buFont typeface="Arial" pitchFamily="34" charset="0"/>
              <a:buChar char="•"/>
            </a:pPr>
            <a:r>
              <a:rPr lang="en-US" sz="1200" dirty="0"/>
              <a:t>Azure</a:t>
            </a:r>
          </a:p>
          <a:p>
            <a:pPr marL="280121" indent="-280121">
              <a:buFont typeface="Arial" pitchFamily="34" charset="0"/>
              <a:buChar char="•"/>
            </a:pPr>
            <a:r>
              <a:rPr lang="en-US" sz="1200" dirty="0"/>
              <a:t>C#</a:t>
            </a:r>
          </a:p>
          <a:p>
            <a:pPr marL="280121" indent="-280121">
              <a:buFont typeface="Arial" pitchFamily="34" charset="0"/>
              <a:buChar char="•"/>
            </a:pPr>
            <a:r>
              <a:rPr lang="en-US" sz="1200" dirty="0"/>
              <a:t>Entity Framework</a:t>
            </a:r>
          </a:p>
          <a:p>
            <a:pPr marL="280121" indent="-280121">
              <a:buFont typeface="Arial" pitchFamily="34" charset="0"/>
              <a:buChar char="•"/>
            </a:pPr>
            <a:r>
              <a:rPr lang="en-US" sz="1200" dirty="0"/>
              <a:t>HTML5</a:t>
            </a:r>
          </a:p>
          <a:p>
            <a:pPr marL="280121" indent="-280121">
              <a:buFont typeface="Arial" pitchFamily="34" charset="0"/>
              <a:buChar char="•"/>
            </a:pPr>
            <a:r>
              <a:rPr lang="en-US" sz="1200" dirty="0"/>
              <a:t>MVC</a:t>
            </a:r>
          </a:p>
          <a:p>
            <a:pPr marL="280121" indent="-280121">
              <a:buFont typeface="Arial" pitchFamily="34" charset="0"/>
              <a:buChar char="•"/>
            </a:pPr>
            <a:r>
              <a:rPr lang="en-US" sz="1200" dirty="0"/>
              <a:t>SQL</a:t>
            </a:r>
          </a:p>
          <a:p>
            <a:pPr marL="280121" indent="-280121">
              <a:buFont typeface="Arial" pitchFamily="34" charset="0"/>
              <a:buChar char="•"/>
            </a:pPr>
            <a:r>
              <a:rPr lang="en-US" sz="1200" dirty="0"/>
              <a:t>jQuery</a:t>
            </a:r>
          </a:p>
          <a:p>
            <a:pPr marL="280121" indent="-280121">
              <a:buFont typeface="Arial" pitchFamily="34" charset="0"/>
              <a:buChar char="•"/>
            </a:pPr>
            <a:r>
              <a:rPr lang="en-US" sz="1200" dirty="0"/>
              <a:t>and Much More!</a:t>
            </a:r>
          </a:p>
          <a:p>
            <a:endParaRPr lang="en-US" sz="1400" dirty="0"/>
          </a:p>
        </p:txBody>
      </p:sp>
      <p:sp>
        <p:nvSpPr>
          <p:cNvPr id="10" name="TextBox 9"/>
          <p:cNvSpPr txBox="1"/>
          <p:nvPr/>
        </p:nvSpPr>
        <p:spPr>
          <a:xfrm>
            <a:off x="3492038" y="6139823"/>
            <a:ext cx="4572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>
                <a:hlinkClick r:id="rId4"/>
              </a:rPr>
              <a:t>http://www.UserGroup.tv</a:t>
            </a:r>
            <a:r>
              <a:rPr lang="en-US" sz="2800" dirty="0"/>
              <a:t> </a:t>
            </a:r>
          </a:p>
        </p:txBody>
      </p:sp>
      <p:pic>
        <p:nvPicPr>
          <p:cNvPr id="15" name="Picture 14" descr="http://www.usergroup.tv/wp-content/uploads/2012/05/Ugtv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07958" y="5750393"/>
            <a:ext cx="3656245" cy="11407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9917507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HITE TEMPLATE">
  <a:themeElements>
    <a:clrScheme name="BT - Blue - white back, gold">
      <a:dk1>
        <a:srgbClr val="353535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2050"/>
      </a:accent2>
      <a:accent3>
        <a:srgbClr val="00BCF2"/>
      </a:accent3>
      <a:accent4>
        <a:srgbClr val="FF8C00"/>
      </a:accent4>
      <a:accent5>
        <a:srgbClr val="737373"/>
      </a:accent5>
      <a:accent6>
        <a:srgbClr val="E6E6E6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BLUE_2017_23.potx" id="{3CE2C9E0-8BDE-4BDF-A6B5-3F883114AF53}" vid="{1D522DD5-C1DC-4C2B-B827-42953E3CF178}"/>
    </a:ext>
  </a:extLst>
</a:theme>
</file>

<file path=ppt/theme/theme2.xml><?xml version="1.0" encoding="utf-8"?>
<a:theme xmlns:a="http://schemas.openxmlformats.org/drawingml/2006/main" name="LIGHT GRAY TEMPLATE">
  <a:themeElements>
    <a:clrScheme name="BT - Blue - White back, gold">
      <a:dk1>
        <a:srgbClr val="353535"/>
      </a:dk1>
      <a:lt1>
        <a:srgbClr val="FFFFFF"/>
      </a:lt1>
      <a:dk2>
        <a:srgbClr val="0078D7"/>
      </a:dk2>
      <a:lt2>
        <a:srgbClr val="E6E6E6"/>
      </a:lt2>
      <a:accent1>
        <a:srgbClr val="0078D7"/>
      </a:accent1>
      <a:accent2>
        <a:srgbClr val="002050"/>
      </a:accent2>
      <a:accent3>
        <a:srgbClr val="00BCF2"/>
      </a:accent3>
      <a:accent4>
        <a:srgbClr val="FF8C00"/>
      </a:accent4>
      <a:accent5>
        <a:srgbClr val="737373"/>
      </a:accent5>
      <a:accent6>
        <a:srgbClr val="D2D2D2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BLUE_2017_23.potx" id="{3CE2C9E0-8BDE-4BDF-A6B5-3F883114AF53}" vid="{EED2195D-7D4D-40A6-B00F-6234A162E793}"/>
    </a:ext>
  </a:extLst>
</a:theme>
</file>

<file path=ppt/theme/theme3.xml><?xml version="1.0" encoding="utf-8"?>
<a:theme xmlns:a="http://schemas.openxmlformats.org/drawingml/2006/main" name="DARK GRAY TEMPLATE">
  <a:themeElements>
    <a:clrScheme name="BT - Blue - dark background">
      <a:dk1>
        <a:srgbClr val="353535"/>
      </a:dk1>
      <a:lt1>
        <a:srgbClr val="FFFFFF"/>
      </a:lt1>
      <a:dk2>
        <a:srgbClr val="0078D7"/>
      </a:dk2>
      <a:lt2>
        <a:srgbClr val="CDF4FF"/>
      </a:lt2>
      <a:accent1>
        <a:srgbClr val="0078D7"/>
      </a:accent1>
      <a:accent2>
        <a:srgbClr val="D2D2D2"/>
      </a:accent2>
      <a:accent3>
        <a:srgbClr val="00BCF2"/>
      </a:accent3>
      <a:accent4>
        <a:srgbClr val="FF8C00"/>
      </a:accent4>
      <a:accent5>
        <a:srgbClr val="B4009E"/>
      </a:accent5>
      <a:accent6>
        <a:srgbClr val="737373"/>
      </a:accent6>
      <a:hlink>
        <a:srgbClr val="00BCF2"/>
      </a:hlink>
      <a:folHlink>
        <a:srgbClr val="00BCF2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BLUE_2017_23.potx" id="{3CE2C9E0-8BDE-4BDF-A6B5-3F883114AF53}" vid="{3CFC6743-B7EC-42D1-BCB7-9BBBD7994DEB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ntro to Azure SQL Data Warehouse</Template>
  <TotalTime>0</TotalTime>
  <Words>1139</Words>
  <Application>Microsoft Office PowerPoint</Application>
  <PresentationFormat>Custom</PresentationFormat>
  <Paragraphs>308</Paragraphs>
  <Slides>25</Slides>
  <Notes>18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9" baseType="lpstr">
      <vt:lpstr>&amp;quot</vt:lpstr>
      <vt:lpstr>Arial</vt:lpstr>
      <vt:lpstr>Calibri</vt:lpstr>
      <vt:lpstr>Consolas</vt:lpstr>
      <vt:lpstr>Franklin Gothic Medium</vt:lpstr>
      <vt:lpstr>Segoe UI</vt:lpstr>
      <vt:lpstr>Segoe UI Light</vt:lpstr>
      <vt:lpstr>Segoe UI Semibold</vt:lpstr>
      <vt:lpstr>Segoe UI Semilight</vt:lpstr>
      <vt:lpstr>Wingdings</vt:lpstr>
      <vt:lpstr>WHITE TEMPLATE</vt:lpstr>
      <vt:lpstr>LIGHT GRAY TEMPLATE</vt:lpstr>
      <vt:lpstr>DARK GRAY TEMPLATE</vt:lpstr>
      <vt:lpstr>think-cell Slide</vt:lpstr>
      <vt:lpstr>Global Azure Bootcamp: Austin</vt:lpstr>
      <vt:lpstr>Today’s Agenda</vt:lpstr>
      <vt:lpstr>Today’s Agenda</vt:lpstr>
      <vt:lpstr>Logistics</vt:lpstr>
      <vt:lpstr>Other Regional Events</vt:lpstr>
      <vt:lpstr>VS Live Austin</vt:lpstr>
      <vt:lpstr>Azure in 60 minutes</vt:lpstr>
      <vt:lpstr>About Me</vt:lpstr>
      <vt:lpstr>Watch User Group presentations for FREE online! We now have over 750 presentations online  </vt:lpstr>
      <vt:lpstr>Overview &amp; features</vt:lpstr>
      <vt:lpstr>Overview Public Cloud Platform</vt:lpstr>
      <vt:lpstr>PowerPoint Presentation</vt:lpstr>
      <vt:lpstr>PowerPoint Presentation</vt:lpstr>
      <vt:lpstr>PowerPoint Presentation</vt:lpstr>
      <vt:lpstr>PowerPoint Presentation</vt:lpstr>
      <vt:lpstr>Azure Stack: an extension of Azure</vt:lpstr>
      <vt:lpstr>PowerPoint Presentation</vt:lpstr>
      <vt:lpstr>PowerPoint Presentation</vt:lpstr>
      <vt:lpstr>Datacenter security</vt:lpstr>
      <vt:lpstr>PowerPoint Presentation</vt:lpstr>
      <vt:lpstr>New Features</vt:lpstr>
      <vt:lpstr>OMG! What Should I Pick? </vt:lpstr>
      <vt:lpstr>Common Options for working with Azure</vt:lpstr>
      <vt:lpstr>Thank you! Your Feedback is Important</vt:lpstr>
      <vt:lpstr>PowerPoint Pre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dcterms:created xsi:type="dcterms:W3CDTF">2018-01-20T18:09:40Z</dcterms:created>
  <dcterms:modified xsi:type="dcterms:W3CDTF">2018-04-20T15:27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Enabled">
    <vt:lpwstr>True</vt:lpwstr>
  </property>
  <property fmtid="{D5CDD505-2E9C-101B-9397-08002B2CF9AE}" pid="3" name="MSIP_Label_f42aa342-8706-4288-bd11-ebb85995028c_SiteId">
    <vt:lpwstr>72f988bf-86f1-41af-91ab-2d7cd011db47</vt:lpwstr>
  </property>
  <property fmtid="{D5CDD505-2E9C-101B-9397-08002B2CF9AE}" pid="4" name="MSIP_Label_f42aa342-8706-4288-bd11-ebb85995028c_Owner">
    <vt:lpwstr>sweisfel@microsoft.com</vt:lpwstr>
  </property>
  <property fmtid="{D5CDD505-2E9C-101B-9397-08002B2CF9AE}" pid="5" name="MSIP_Label_f42aa342-8706-4288-bd11-ebb85995028c_SetDate">
    <vt:lpwstr>2018-01-20T18:10:43.3574795Z</vt:lpwstr>
  </property>
  <property fmtid="{D5CDD505-2E9C-101B-9397-08002B2CF9AE}" pid="6" name="MSIP_Label_f42aa342-8706-4288-bd11-ebb85995028c_Name">
    <vt:lpwstr>General</vt:lpwstr>
  </property>
  <property fmtid="{D5CDD505-2E9C-101B-9397-08002B2CF9AE}" pid="7" name="MSIP_Label_f42aa342-8706-4288-bd11-ebb85995028c_Application">
    <vt:lpwstr>Microsoft Azure Information Protection</vt:lpwstr>
  </property>
  <property fmtid="{D5CDD505-2E9C-101B-9397-08002B2CF9AE}" pid="8" name="MSIP_Label_f42aa342-8706-4288-bd11-ebb85995028c_Extended_MSFT_Method">
    <vt:lpwstr>Automatic</vt:lpwstr>
  </property>
  <property fmtid="{D5CDD505-2E9C-101B-9397-08002B2CF9AE}" pid="9" name="Sensitivity">
    <vt:lpwstr>General</vt:lpwstr>
  </property>
</Properties>
</file>